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ags/tag2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1.xml" ContentType="application/vnd.openxmlformats-officedocument.presentationml.tags+xml"/>
  <Override PartName="/ppt/notesSlides/notesSlide1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6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6" r:id="rId1"/>
    <p:sldMasterId id="2147483928" r:id="rId2"/>
    <p:sldMasterId id="2147483941" r:id="rId3"/>
    <p:sldMasterId id="2147483951" r:id="rId4"/>
    <p:sldMasterId id="2147483961" r:id="rId5"/>
    <p:sldMasterId id="2147483971" r:id="rId6"/>
    <p:sldMasterId id="2147483981" r:id="rId7"/>
    <p:sldMasterId id="2147483991" r:id="rId8"/>
  </p:sldMasterIdLst>
  <p:notesMasterIdLst>
    <p:notesMasterId r:id="rId24"/>
  </p:notesMasterIdLst>
  <p:sldIdLst>
    <p:sldId id="636" r:id="rId9"/>
    <p:sldId id="818" r:id="rId10"/>
    <p:sldId id="819" r:id="rId11"/>
    <p:sldId id="820" r:id="rId12"/>
    <p:sldId id="821" r:id="rId13"/>
    <p:sldId id="633" r:id="rId14"/>
    <p:sldId id="630" r:id="rId15"/>
    <p:sldId id="650" r:id="rId16"/>
    <p:sldId id="780" r:id="rId17"/>
    <p:sldId id="822" r:id="rId18"/>
    <p:sldId id="824" r:id="rId19"/>
    <p:sldId id="817" r:id="rId20"/>
    <p:sldId id="761" r:id="rId21"/>
    <p:sldId id="809" r:id="rId22"/>
    <p:sldId id="823" r:id="rId23"/>
  </p:sldIdLst>
  <p:sldSz cx="12192000" cy="6858000"/>
  <p:notesSz cx="9940925" cy="6808788"/>
  <p:custDataLst>
    <p:tags r:id="rId25"/>
  </p:custDataLst>
  <p:defaultTextStyle>
    <a:defPPr>
      <a:defRPr lang="ru-RU"/>
    </a:defPPr>
    <a:lvl1pPr marL="0" algn="l" defTabSz="71661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1pPr>
    <a:lvl2pPr marL="358308" algn="l" defTabSz="71661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2pPr>
    <a:lvl3pPr marL="716615" algn="l" defTabSz="71661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3pPr>
    <a:lvl4pPr marL="1074923" algn="l" defTabSz="71661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4pPr>
    <a:lvl5pPr marL="1433231" algn="l" defTabSz="71661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5pPr>
    <a:lvl6pPr marL="1791538" algn="l" defTabSz="71661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6pPr>
    <a:lvl7pPr marL="2149846" algn="l" defTabSz="71661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7pPr>
    <a:lvl8pPr marL="2508153" algn="l" defTabSz="71661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8pPr>
    <a:lvl9pPr marL="2866461" algn="l" defTabSz="716615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498500C-8EDA-4D68-BB7C-D903098404B8}">
          <p14:sldIdLst>
            <p14:sldId id="636"/>
            <p14:sldId id="818"/>
            <p14:sldId id="819"/>
            <p14:sldId id="820"/>
            <p14:sldId id="821"/>
            <p14:sldId id="633"/>
            <p14:sldId id="630"/>
            <p14:sldId id="650"/>
            <p14:sldId id="780"/>
            <p14:sldId id="822"/>
            <p14:sldId id="824"/>
            <p14:sldId id="817"/>
            <p14:sldId id="761"/>
            <p14:sldId id="809"/>
            <p14:sldId id="82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612" userDrawn="1">
          <p15:clr>
            <a:srgbClr val="A4A3A4"/>
          </p15:clr>
        </p15:guide>
        <p15:guide id="2" pos="914" userDrawn="1">
          <p15:clr>
            <a:srgbClr val="A4A3A4"/>
          </p15:clr>
        </p15:guide>
        <p15:guide id="3" orient="horz" pos="2546" userDrawn="1">
          <p15:clr>
            <a:srgbClr val="A4A3A4"/>
          </p15:clr>
        </p15:guide>
        <p15:guide id="4" orient="horz" pos="4110" userDrawn="1">
          <p15:clr>
            <a:srgbClr val="A4A3A4"/>
          </p15:clr>
        </p15:guide>
        <p15:guide id="5" orient="horz" pos="278" userDrawn="1">
          <p15:clr>
            <a:srgbClr val="A4A3A4"/>
          </p15:clr>
        </p15:guide>
        <p15:guide id="7" pos="3568" userDrawn="1">
          <p15:clr>
            <a:srgbClr val="A4A3A4"/>
          </p15:clr>
        </p15:guide>
        <p15:guide id="8" orient="horz" pos="454" userDrawn="1">
          <p15:clr>
            <a:srgbClr val="A4A3A4"/>
          </p15:clr>
        </p15:guide>
        <p15:guide id="9" pos="725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aria Kozhinova" initials="MK" lastIdx="5" clrIdx="8">
    <p:extLst>
      <p:ext uri="{19B8F6BF-5375-455C-9EA6-DF929625EA0E}">
        <p15:presenceInfo xmlns:p15="http://schemas.microsoft.com/office/powerpoint/2012/main" userId="f4b7a431e8c0f45c" providerId="Windows Live"/>
      </p:ext>
    </p:extLst>
  </p:cmAuthor>
  <p:cmAuthor id="1" name="Смирнов Игорь Ильич" initials="СИИ" lastIdx="22" clrIdx="0">
    <p:extLst>
      <p:ext uri="{19B8F6BF-5375-455C-9EA6-DF929625EA0E}">
        <p15:presenceInfo xmlns:p15="http://schemas.microsoft.com/office/powerpoint/2012/main" userId="Смирнов Игорь Ильич" providerId="None"/>
      </p:ext>
    </p:extLst>
  </p:cmAuthor>
  <p:cmAuthor id="8" name="Сувейка Ольга Геннадьевна" initials="СОГ" lastIdx="27" clrIdx="9">
    <p:extLst>
      <p:ext uri="{19B8F6BF-5375-455C-9EA6-DF929625EA0E}">
        <p15:presenceInfo xmlns:p15="http://schemas.microsoft.com/office/powerpoint/2012/main" userId="Сувейка Ольга Геннадьевна" providerId="None"/>
      </p:ext>
    </p:extLst>
  </p:cmAuthor>
  <p:cmAuthor id="2" name="Чумичев Игорь Александрович" initials="ЧИА" lastIdx="1" clrIdx="1">
    <p:extLst>
      <p:ext uri="{19B8F6BF-5375-455C-9EA6-DF929625EA0E}">
        <p15:presenceInfo xmlns:p15="http://schemas.microsoft.com/office/powerpoint/2012/main" userId="S-1-5-21-3989785535-4168274036-2173320020-248754" providerId="AD"/>
      </p:ext>
    </p:extLst>
  </p:cmAuthor>
  <p:cmAuthor id="3" name="Нестеренко Владимир Викторович" initials="НВВ" lastIdx="2" clrIdx="4">
    <p:extLst>
      <p:ext uri="{19B8F6BF-5375-455C-9EA6-DF929625EA0E}">
        <p15:presenceInfo xmlns:p15="http://schemas.microsoft.com/office/powerpoint/2012/main" userId="S-1-5-21-3989785535-4168274036-2173320020-233906" providerId="AD"/>
      </p:ext>
    </p:extLst>
  </p:cmAuthor>
  <p:cmAuthor id="4" name="Месропян Мари Марсельевна" initials="МММ" lastIdx="5" clrIdx="5">
    <p:extLst>
      <p:ext uri="{19B8F6BF-5375-455C-9EA6-DF929625EA0E}">
        <p15:presenceInfo xmlns:p15="http://schemas.microsoft.com/office/powerpoint/2012/main" userId="Месропян Мари Марсельевна" providerId="None"/>
      </p:ext>
    </p:extLst>
  </p:cmAuthor>
  <p:cmAuthor id="5" name="Шилина Екатерина Владимировна" initials="ШЕВ" lastIdx="8" clrIdx="6">
    <p:extLst>
      <p:ext uri="{19B8F6BF-5375-455C-9EA6-DF929625EA0E}">
        <p15:presenceInfo xmlns:p15="http://schemas.microsoft.com/office/powerpoint/2012/main" userId="Шилина Екатерина Владимировна" providerId="None"/>
      </p:ext>
    </p:extLst>
  </p:cmAuthor>
  <p:cmAuthor id="6" name="Елена Коковихина" initials="ЕК" lastIdx="11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BC7B"/>
    <a:srgbClr val="2354D6"/>
    <a:srgbClr val="2355D7"/>
    <a:srgbClr val="FFAB78"/>
    <a:srgbClr val="F9806F"/>
    <a:srgbClr val="C0D7FB"/>
    <a:srgbClr val="C15254"/>
    <a:srgbClr val="B4C9FF"/>
    <a:srgbClr val="D50000"/>
    <a:srgbClr val="345C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86" autoAdjust="0"/>
    <p:restoredTop sz="59687" autoAdjust="0"/>
  </p:normalViewPr>
  <p:slideViewPr>
    <p:cSldViewPr snapToGrid="0">
      <p:cViewPr varScale="1">
        <p:scale>
          <a:sx n="60" d="100"/>
          <a:sy n="60" d="100"/>
        </p:scale>
        <p:origin x="2076" y="66"/>
      </p:cViewPr>
      <p:guideLst>
        <p:guide orient="horz" pos="3612"/>
        <p:guide pos="914"/>
        <p:guide orient="horz" pos="2546"/>
        <p:guide orient="horz" pos="4110"/>
        <p:guide orient="horz" pos="278"/>
        <p:guide pos="3568"/>
        <p:guide orient="horz" pos="454"/>
        <p:guide pos="72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72233721641022"/>
          <c:y val="0.16084355089226604"/>
          <c:w val="0.6675742731648393"/>
          <c:h val="0.6507726714352678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Индикатор кредитоспособности компаний 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3C5-4E3A-9223-219605E97FF7}"/>
              </c:ext>
            </c:extLst>
          </c:dPt>
          <c:dPt>
            <c:idx val="1"/>
            <c:bubble3D val="0"/>
            <c:spPr>
              <a:solidFill>
                <a:schemeClr val="accent2">
                  <a:shade val="5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3C5-4E3A-9223-219605E97FF7}"/>
              </c:ext>
            </c:extLst>
          </c:dPt>
          <c:dPt>
            <c:idx val="2"/>
            <c:bubble3D val="0"/>
            <c:spPr>
              <a:solidFill>
                <a:schemeClr val="accent2">
                  <a:shade val="6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3C5-4E3A-9223-219605E97FF7}"/>
              </c:ext>
            </c:extLst>
          </c:dPt>
          <c:dPt>
            <c:idx val="3"/>
            <c:bubble3D val="0"/>
            <c:spPr>
              <a:solidFill>
                <a:schemeClr val="accent2">
                  <a:shade val="7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3C5-4E3A-9223-219605E97FF7}"/>
              </c:ext>
            </c:extLst>
          </c:dPt>
          <c:dPt>
            <c:idx val="4"/>
            <c:bubble3D val="0"/>
            <c:spPr>
              <a:solidFill>
                <a:schemeClr val="accent2">
                  <a:shade val="8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3C5-4E3A-9223-219605E97FF7}"/>
              </c:ext>
            </c:extLst>
          </c:dPt>
          <c:dPt>
            <c:idx val="5"/>
            <c:bubble3D val="0"/>
            <c:spPr>
              <a:solidFill>
                <a:schemeClr val="accent2">
                  <a:shade val="9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3C5-4E3A-9223-219605E97FF7}"/>
              </c:ext>
            </c:extLst>
          </c:dPt>
          <c:dPt>
            <c:idx val="6"/>
            <c:bubble3D val="0"/>
            <c:spPr>
              <a:solidFill>
                <a:schemeClr val="accent2">
                  <a:tint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3C5-4E3A-9223-219605E97FF7}"/>
              </c:ext>
            </c:extLst>
          </c:dPt>
          <c:dPt>
            <c:idx val="7"/>
            <c:bubble3D val="0"/>
            <c:spPr>
              <a:solidFill>
                <a:schemeClr val="accent2">
                  <a:tint val="8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3C5-4E3A-9223-219605E97FF7}"/>
              </c:ext>
            </c:extLst>
          </c:dPt>
          <c:dPt>
            <c:idx val="8"/>
            <c:bubble3D val="0"/>
            <c:spPr>
              <a:solidFill>
                <a:schemeClr val="accent2">
                  <a:tint val="7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3C5-4E3A-9223-219605E97FF7}"/>
              </c:ext>
            </c:extLst>
          </c:dPt>
          <c:dPt>
            <c:idx val="9"/>
            <c:bubble3D val="0"/>
            <c:spPr>
              <a:solidFill>
                <a:schemeClr val="accent2">
                  <a:tint val="6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3C5-4E3A-9223-219605E97FF7}"/>
              </c:ext>
            </c:extLst>
          </c:dPt>
          <c:dPt>
            <c:idx val="10"/>
            <c:bubble3D val="0"/>
            <c:spPr>
              <a:solidFill>
                <a:schemeClr val="accent2">
                  <a:tint val="5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3C5-4E3A-9223-219605E97FF7}"/>
              </c:ext>
            </c:extLst>
          </c:dPt>
          <c:dPt>
            <c:idx val="11"/>
            <c:bubble3D val="0"/>
            <c:spPr>
              <a:solidFill>
                <a:schemeClr val="accent2">
                  <a:tint val="4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B3C5-4E3A-9223-219605E97FF7}"/>
              </c:ext>
            </c:extLst>
          </c:dPt>
          <c:dLbls>
            <c:dLbl>
              <c:idx val="1"/>
              <c:layout>
                <c:manualLayout>
                  <c:x val="-1.4280273452784873E-2"/>
                  <c:y val="1.200121656013101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3C5-4E3A-9223-219605E97FF7}"/>
                </c:ext>
              </c:extLst>
            </c:dLbl>
            <c:dLbl>
              <c:idx val="2"/>
              <c:layout>
                <c:manualLayout>
                  <c:x val="-1.7462440240897225E-2"/>
                  <c:y val="9.1531236604902432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3C5-4E3A-9223-219605E97FF7}"/>
                </c:ext>
              </c:extLst>
            </c:dLbl>
            <c:dLbl>
              <c:idx val="3"/>
              <c:layout>
                <c:manualLayout>
                  <c:x val="-1.104315176768695E-2"/>
                  <c:y val="5.7393438574220449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3C5-4E3A-9223-219605E97FF7}"/>
                </c:ext>
              </c:extLst>
            </c:dLbl>
            <c:dLbl>
              <c:idx val="5"/>
              <c:layout>
                <c:manualLayout>
                  <c:x val="4.3139209720249811E-3"/>
                  <c:y val="1.667397155840578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3C5-4E3A-9223-219605E97FF7}"/>
                </c:ext>
              </c:extLst>
            </c:dLbl>
            <c:dLbl>
              <c:idx val="6"/>
              <c:layout>
                <c:manualLayout>
                  <c:x val="1.7720693475149422E-2"/>
                  <c:y val="-3.4105227330671527E-2"/>
                </c:manualLayout>
              </c:layout>
              <c:spPr>
                <a:solidFill>
                  <a:schemeClr val="lt1"/>
                </a:solidFill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0652116090521528"/>
                      <c:h val="0.1360701653445593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B3C5-4E3A-9223-219605E97FF7}"/>
                </c:ext>
              </c:extLst>
            </c:dLbl>
            <c:dLbl>
              <c:idx val="7"/>
              <c:layout>
                <c:manualLayout>
                  <c:x val="-4.4250083041023132E-2"/>
                  <c:y val="-7.078960943765061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3C5-4E3A-9223-219605E97FF7}"/>
                </c:ext>
              </c:extLst>
            </c:dLbl>
            <c:dLbl>
              <c:idx val="9"/>
              <c:layout>
                <c:manualLayout>
                  <c:x val="1.5098723402087157E-2"/>
                  <c:y val="-2.7789952597343064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3C5-4E3A-9223-219605E97FF7}"/>
                </c:ext>
              </c:extLst>
            </c:dLbl>
            <c:dLbl>
              <c:idx val="10"/>
              <c:layout>
                <c:manualLayout>
                  <c:x val="8.6278419440498234E-3"/>
                  <c:y val="-2.223196207787445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B3C5-4E3A-9223-219605E97FF7}"/>
                </c:ext>
              </c:extLst>
            </c:dLbl>
            <c:dLbl>
              <c:idx val="11"/>
              <c:layout>
                <c:manualLayout>
                  <c:x val="1.8241549823249291E-2"/>
                  <c:y val="1.352111728429583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B3C5-4E3A-9223-219605E97FF7}"/>
                </c:ext>
              </c:extLst>
            </c:dLbl>
            <c:spPr>
              <a:solidFill>
                <a:schemeClr val="lt1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Лист1!$A$2:$A$13</c:f>
              <c:strCache>
                <c:ptCount val="12"/>
                <c:pt idx="0">
                  <c:v>Низкий риск</c:v>
                </c:pt>
                <c:pt idx="1">
                  <c:v>AAA</c:v>
                </c:pt>
                <c:pt idx="2">
                  <c:v>AA</c:v>
                </c:pt>
                <c:pt idx="3">
                  <c:v>A</c:v>
                </c:pt>
                <c:pt idx="4">
                  <c:v>Средний риск</c:v>
                </c:pt>
                <c:pt idx="5">
                  <c:v>BBB</c:v>
                </c:pt>
                <c:pt idx="6">
                  <c:v>BB</c:v>
                </c:pt>
                <c:pt idx="7">
                  <c:v>B</c:v>
                </c:pt>
                <c:pt idx="8">
                  <c:v>Высокий риск</c:v>
                </c:pt>
                <c:pt idx="9">
                  <c:v>CCC</c:v>
                </c:pt>
                <c:pt idx="10">
                  <c:v>CC</c:v>
                </c:pt>
                <c:pt idx="11">
                  <c:v>C</c:v>
                </c:pt>
              </c:strCache>
            </c:strRef>
          </c:cat>
          <c:val>
            <c:numRef>
              <c:f>Лист1!$B$2:$B$13</c:f>
              <c:numCache>
                <c:formatCode>0%</c:formatCode>
                <c:ptCount val="12"/>
                <c:pt idx="1">
                  <c:v>0.03</c:v>
                </c:pt>
                <c:pt idx="2">
                  <c:v>0.05</c:v>
                </c:pt>
                <c:pt idx="3">
                  <c:v>0.05</c:v>
                </c:pt>
                <c:pt idx="5">
                  <c:v>0.13</c:v>
                </c:pt>
                <c:pt idx="6">
                  <c:v>0.2</c:v>
                </c:pt>
                <c:pt idx="7">
                  <c:v>0.27</c:v>
                </c:pt>
                <c:pt idx="9">
                  <c:v>7.0000000000000007E-2</c:v>
                </c:pt>
                <c:pt idx="10">
                  <c:v>0.08</c:v>
                </c:pt>
                <c:pt idx="11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B3C5-4E3A-9223-219605E97F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 sz="1200" b="1" kern="1200" dirty="0">
              <a:solidFill>
                <a:schemeClr val="tx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c:rich>
      </c:tx>
      <c:layout>
        <c:manualLayout>
          <c:xMode val="edge"/>
          <c:yMode val="edge"/>
          <c:x val="0.29199444380012857"/>
          <c:y val="3.50077940580865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0"/>
      <c:rotY val="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line3D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(в текущих ценах; миллионов долларов США*)</c:v>
                </c:pt>
              </c:strCache>
            </c:strRef>
          </c:tx>
          <c:spPr>
            <a:solidFill>
              <a:srgbClr val="4478FF"/>
            </a:solidFill>
            <a:ln>
              <a:solidFill>
                <a:srgbClr val="F97B6E"/>
              </a:solidFill>
              <a:prstDash val="lgDash"/>
            </a:ln>
            <a:effectLst/>
            <a:sp3d>
              <a:contourClr>
                <a:srgbClr val="F97B6E"/>
              </a:contourClr>
            </a:sp3d>
          </c:spPr>
          <c:dPt>
            <c:idx val="0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7E36-4974-8CE4-9272CB95C4DE}"/>
              </c:ext>
            </c:extLst>
          </c:dPt>
          <c:dPt>
            <c:idx val="1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7E36-4974-8CE4-9272CB95C4DE}"/>
              </c:ext>
            </c:extLst>
          </c:dPt>
          <c:dPt>
            <c:idx val="2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7E36-4974-8CE4-9272CB95C4DE}"/>
              </c:ext>
            </c:extLst>
          </c:dPt>
          <c:dPt>
            <c:idx val="3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7E36-4974-8CE4-9272CB95C4DE}"/>
              </c:ext>
            </c:extLst>
          </c:dPt>
          <c:dPt>
            <c:idx val="4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7E36-4974-8CE4-9272CB95C4DE}"/>
              </c:ext>
            </c:extLst>
          </c:dPt>
          <c:dPt>
            <c:idx val="5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7E36-4974-8CE4-9272CB95C4DE}"/>
              </c:ext>
            </c:extLst>
          </c:dPt>
          <c:dPt>
            <c:idx val="6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7E36-4974-8CE4-9272CB95C4DE}"/>
              </c:ext>
            </c:extLst>
          </c:dPt>
          <c:dPt>
            <c:idx val="7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F-7E36-4974-8CE4-9272CB95C4DE}"/>
              </c:ext>
            </c:extLst>
          </c:dPt>
          <c:dPt>
            <c:idx val="8"/>
            <c:bubble3D val="0"/>
            <c:spPr>
              <a:solidFill>
                <a:srgbClr val="345CC2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7E36-4974-8CE4-9272CB95C4DE}"/>
              </c:ext>
            </c:extLst>
          </c:dPt>
          <c:dPt>
            <c:idx val="9"/>
            <c:bubble3D val="0"/>
            <c:spPr>
              <a:solidFill>
                <a:srgbClr val="FF0000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3-7E36-4974-8CE4-9272CB95C4DE}"/>
              </c:ext>
            </c:extLst>
          </c:dPt>
          <c:dPt>
            <c:idx val="10"/>
            <c:bubble3D val="0"/>
            <c:spPr>
              <a:solidFill>
                <a:srgbClr val="FF0000"/>
              </a:solidFill>
              <a:ln w="31750"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5-7E36-4974-8CE4-9272CB95C4DE}"/>
              </c:ext>
            </c:extLst>
          </c:dPt>
          <c:dPt>
            <c:idx val="11"/>
            <c:bubble3D val="0"/>
            <c:spPr>
              <a:solidFill>
                <a:srgbClr val="FF0000"/>
              </a:solidFill>
              <a:ln w="31750"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7-7E36-4974-8CE4-9272CB95C4DE}"/>
              </c:ext>
            </c:extLst>
          </c:dPt>
          <c:dPt>
            <c:idx val="12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9-7E36-4974-8CE4-9272CB95C4DE}"/>
              </c:ext>
            </c:extLst>
          </c:dPt>
          <c:dPt>
            <c:idx val="13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B-7E36-4974-8CE4-9272CB95C4DE}"/>
              </c:ext>
            </c:extLst>
          </c:dPt>
          <c:dPt>
            <c:idx val="14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D-7E36-4974-8CE4-9272CB95C4DE}"/>
              </c:ext>
            </c:extLst>
          </c:dPt>
          <c:dPt>
            <c:idx val="15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F-7E36-4974-8CE4-9272CB95C4DE}"/>
              </c:ext>
            </c:extLst>
          </c:dPt>
          <c:dPt>
            <c:idx val="16"/>
            <c:bubble3D val="0"/>
            <c:spPr>
              <a:solidFill>
                <a:srgbClr val="4478FF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1-7E36-4974-8CE4-9272CB95C4DE}"/>
              </c:ext>
            </c:extLst>
          </c:dPt>
          <c:dPt>
            <c:idx val="17"/>
            <c:bubble3D val="0"/>
            <c:spPr>
              <a:solidFill>
                <a:srgbClr val="345CC2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3-7E36-4974-8CE4-9272CB95C4DE}"/>
              </c:ext>
            </c:extLst>
          </c:dPt>
          <c:dPt>
            <c:idx val="18"/>
            <c:bubble3D val="0"/>
            <c:spPr>
              <a:solidFill>
                <a:srgbClr val="FF0000"/>
              </a:solidFill>
              <a:ln>
                <a:noFill/>
                <a:prstDash val="lg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5-7E36-4974-8CE4-9272CB95C4DE}"/>
              </c:ext>
            </c:extLst>
          </c:dPt>
          <c:dPt>
            <c:idx val="19"/>
            <c:bubble3D val="0"/>
            <c:spPr>
              <a:solidFill>
                <a:srgbClr val="FF0000"/>
              </a:solidFill>
              <a:ln w="38100">
                <a:noFill/>
                <a:prstDash val="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7-7E36-4974-8CE4-9272CB95C4DE}"/>
              </c:ext>
            </c:extLst>
          </c:dPt>
          <c:dPt>
            <c:idx val="20"/>
            <c:bubble3D val="0"/>
            <c:spPr>
              <a:solidFill>
                <a:srgbClr val="FF0000"/>
              </a:solidFill>
              <a:ln w="38100">
                <a:noFill/>
                <a:prstDash val="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9-7E36-4974-8CE4-9272CB95C4DE}"/>
              </c:ext>
            </c:extLst>
          </c:dPt>
          <c:dLbls>
            <c:dLbl>
              <c:idx val="8"/>
              <c:layout>
                <c:manualLayout>
                  <c:x val="-4.9711179352716142E-2"/>
                  <c:y val="-0.15384630495487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7E36-4974-8CE4-9272CB95C4DE}"/>
                </c:ext>
              </c:extLst>
            </c:dLbl>
            <c:dLbl>
              <c:idx val="11"/>
              <c:layout>
                <c:manualLayout>
                  <c:x val="-4.6397100729201619E-2"/>
                  <c:y val="-0.149688296712848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7E36-4974-8CE4-9272CB95C4DE}"/>
                </c:ext>
              </c:extLst>
            </c:dLbl>
            <c:dLbl>
              <c:idx val="17"/>
              <c:layout>
                <c:manualLayout>
                  <c:x val="-4.6397100729201675E-2"/>
                  <c:y val="-0.1413722802288017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7E36-4974-8CE4-9272CB95C4DE}"/>
                </c:ext>
              </c:extLst>
            </c:dLbl>
            <c:dLbl>
              <c:idx val="20"/>
              <c:layout>
                <c:manualLayout>
                  <c:x val="-4.9711179352716081E-3"/>
                  <c:y val="-0.1413722802288018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7E36-4974-8CE4-9272CB95C4D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22</c:f>
              <c:numCache>
                <c:formatCode>General</c:formatCode>
                <c:ptCount val="2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</c:numCache>
            </c:numRef>
          </c:cat>
          <c:val>
            <c:numRef>
              <c:f>Лист1!$B$2:$B$22</c:f>
              <c:numCache>
                <c:formatCode>#,##0</c:formatCode>
                <c:ptCount val="21"/>
                <c:pt idx="0">
                  <c:v>127691</c:v>
                </c:pt>
                <c:pt idx="1">
                  <c:v>174026</c:v>
                </c:pt>
                <c:pt idx="2">
                  <c:v>262660</c:v>
                </c:pt>
                <c:pt idx="3">
                  <c:v>353955</c:v>
                </c:pt>
                <c:pt idx="4">
                  <c:v>251768</c:v>
                </c:pt>
                <c:pt idx="5">
                  <c:v>301452</c:v>
                </c:pt>
                <c:pt idx="6">
                  <c:v>376002</c:v>
                </c:pt>
                <c:pt idx="7">
                  <c:v>405088</c:v>
                </c:pt>
                <c:pt idx="8">
                  <c:v>422698</c:v>
                </c:pt>
                <c:pt idx="9">
                  <c:v>366148</c:v>
                </c:pt>
                <c:pt idx="10">
                  <c:v>229100</c:v>
                </c:pt>
                <c:pt idx="11">
                  <c:v>220461</c:v>
                </c:pt>
                <c:pt idx="12">
                  <c:v>274769</c:v>
                </c:pt>
                <c:pt idx="13">
                  <c:v>284330</c:v>
                </c:pt>
                <c:pt idx="14">
                  <c:v>298610</c:v>
                </c:pt>
                <c:pt idx="15">
                  <c:v>283483</c:v>
                </c:pt>
                <c:pt idx="16">
                  <c:v>315540</c:v>
                </c:pt>
                <c:pt idx="17">
                  <c:v>421196</c:v>
                </c:pt>
                <c:pt idx="18">
                  <c:v>402036</c:v>
                </c:pt>
                <c:pt idx="19">
                  <c:v>265965</c:v>
                </c:pt>
                <c:pt idx="20">
                  <c:v>229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7E36-4974-8CE4-9272CB95C4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Depth val="101"/>
        <c:axId val="402872232"/>
        <c:axId val="402877152"/>
        <c:axId val="21358016"/>
      </c:line3DChart>
      <c:catAx>
        <c:axId val="402872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02877152"/>
        <c:crosses val="autoZero"/>
        <c:auto val="0"/>
        <c:lblAlgn val="ctr"/>
        <c:lblOffset val="100"/>
        <c:noMultiLvlLbl val="0"/>
      </c:catAx>
      <c:valAx>
        <c:axId val="402877152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402872232"/>
        <c:crosses val="autoZero"/>
        <c:crossBetween val="between"/>
      </c:valAx>
      <c:serAx>
        <c:axId val="21358016"/>
        <c:scaling>
          <c:orientation val="minMax"/>
        </c:scaling>
        <c:delete val="1"/>
        <c:axPos val="b"/>
        <c:majorTickMark val="out"/>
        <c:minorTickMark val="none"/>
        <c:tickLblPos val="nextTo"/>
        <c:crossAx val="402877152"/>
        <c:crosses val="autoZero"/>
      </c:ser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aseline="0" dirty="0" smtClean="0">
                <a:solidFill>
                  <a:srgbClr val="F86E6C"/>
                </a:solidFill>
              </a:rPr>
              <a:t> </a:t>
            </a:r>
            <a:endParaRPr lang="ru-RU" dirty="0">
              <a:solidFill>
                <a:srgbClr val="F86E6C"/>
              </a:solidFill>
            </a:endParaRPr>
          </a:p>
        </c:rich>
      </c:tx>
      <c:layout>
        <c:manualLayout>
          <c:xMode val="edge"/>
          <c:yMode val="edge"/>
          <c:x val="5.9916542412664301E-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0"/>
      <c:rotY val="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 w="25400">
          <a:noFill/>
        </a:ln>
        <a:effectLst/>
        <a:sp3d/>
      </c:spPr>
    </c:sideWall>
    <c:backWall>
      <c:thickness val="0"/>
      <c:spPr>
        <a:noFill/>
        <a:ln w="25400">
          <a:noFill/>
        </a:ln>
        <a:effectLst/>
        <a:sp3d/>
      </c:spPr>
    </c:backWall>
    <c:plotArea>
      <c:layout/>
      <c:line3D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 1</c:v>
                </c:pt>
              </c:strCache>
            </c:strRef>
          </c:tx>
          <c:spPr>
            <a:solidFill>
              <a:srgbClr val="4478FF"/>
            </a:solidFill>
            <a:ln>
              <a:noFill/>
            </a:ln>
            <a:effectLst/>
            <a:sp3d>
              <a:contourClr>
                <a:schemeClr val="bg1"/>
              </a:contourClr>
            </a:sp3d>
          </c:spPr>
          <c:dPt>
            <c:idx val="0"/>
            <c:bubble3D val="0"/>
            <c:spPr>
              <a:solidFill>
                <a:srgbClr val="4478FF"/>
              </a:solidFill>
              <a:ln>
                <a:noFill/>
              </a:ln>
              <a:effectLst/>
              <a:sp3d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020-410C-80F7-49494B645C42}"/>
              </c:ext>
            </c:extLst>
          </c:dPt>
          <c:dPt>
            <c:idx val="3"/>
            <c:bubble3D val="0"/>
            <c:spPr>
              <a:solidFill>
                <a:srgbClr val="4478FF"/>
              </a:solidFill>
              <a:ln>
                <a:noFill/>
              </a:ln>
              <a:effectLst/>
              <a:sp3d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020-410C-80F7-49494B645C42}"/>
              </c:ext>
            </c:extLst>
          </c:dPt>
          <c:dPt>
            <c:idx val="5"/>
            <c:bubble3D val="0"/>
            <c:spPr>
              <a:solidFill>
                <a:srgbClr val="FF0000"/>
              </a:solidFill>
              <a:ln>
                <a:noFill/>
              </a:ln>
              <a:effectLst/>
              <a:sp3d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020-410C-80F7-49494B645C42}"/>
              </c:ext>
            </c:extLst>
          </c:dPt>
          <c:dPt>
            <c:idx val="6"/>
            <c:bubble3D val="0"/>
            <c:spPr>
              <a:solidFill>
                <a:srgbClr val="FF0000"/>
              </a:solidFill>
              <a:ln>
                <a:noFill/>
              </a:ln>
              <a:effectLst/>
              <a:sp3d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020-410C-80F7-49494B645C42}"/>
              </c:ext>
            </c:extLst>
          </c:dPt>
          <c:dPt>
            <c:idx val="7"/>
            <c:bubble3D val="0"/>
            <c:spPr>
              <a:solidFill>
                <a:srgbClr val="FF0000"/>
              </a:solidFill>
              <a:ln>
                <a:noFill/>
              </a:ln>
              <a:effectLst/>
              <a:sp3d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D020-410C-80F7-49494B645C42}"/>
              </c:ext>
            </c:extLst>
          </c:dPt>
          <c:dPt>
            <c:idx val="8"/>
            <c:bubble3D val="0"/>
            <c:spPr>
              <a:solidFill>
                <a:srgbClr val="FF0000"/>
              </a:solidFill>
              <a:ln>
                <a:noFill/>
              </a:ln>
              <a:effectLst/>
              <a:sp3d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D020-410C-80F7-49494B645C42}"/>
              </c:ext>
            </c:extLst>
          </c:dPt>
          <c:dPt>
            <c:idx val="11"/>
            <c:bubble3D val="0"/>
            <c:spPr>
              <a:solidFill>
                <a:srgbClr val="4478FF"/>
              </a:solidFill>
              <a:ln w="28575">
                <a:noFill/>
                <a:prstDash val="dash"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D020-410C-80F7-49494B645C42}"/>
              </c:ext>
            </c:extLst>
          </c:dPt>
          <c:dPt>
            <c:idx val="16"/>
            <c:bubble3D val="0"/>
            <c:spPr>
              <a:solidFill>
                <a:srgbClr val="FF0000"/>
              </a:solidFill>
              <a:ln>
                <a:noFill/>
              </a:ln>
              <a:effectLst/>
              <a:sp3d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D020-410C-80F7-49494B645C42}"/>
              </c:ext>
            </c:extLst>
          </c:dPt>
          <c:dPt>
            <c:idx val="17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D020-410C-80F7-49494B645C42}"/>
              </c:ext>
            </c:extLst>
          </c:dPt>
          <c:dLbls>
            <c:dLbl>
              <c:idx val="7"/>
              <c:layout>
                <c:manualLayout>
                  <c:x val="-4.9459168134275859E-2"/>
                  <c:y val="-0.1057135246720383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020-410C-80F7-49494B645C42}"/>
                </c:ext>
              </c:extLst>
            </c:dLbl>
            <c:dLbl>
              <c:idx val="15"/>
              <c:layout>
                <c:manualLayout>
                  <c:x val="-4.3557444141642983E-2"/>
                  <c:y val="-0.114522985061374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D020-410C-80F7-49494B645C42}"/>
                </c:ext>
              </c:extLst>
            </c:dLbl>
            <c:dLbl>
              <c:idx val="17"/>
              <c:layout>
                <c:manualLayout>
                  <c:x val="-1.4769494011109706E-2"/>
                  <c:y val="-8.80946038933652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D020-410C-80F7-49494B645C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9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Лист1!$B$2:$B$19</c:f>
              <c:numCache>
                <c:formatCode>#,##0</c:formatCode>
                <c:ptCount val="18"/>
                <c:pt idx="0">
                  <c:v>6442</c:v>
                </c:pt>
                <c:pt idx="1">
                  <c:v>11577</c:v>
                </c:pt>
                <c:pt idx="2">
                  <c:v>12519</c:v>
                </c:pt>
                <c:pt idx="3">
                  <c:v>6650</c:v>
                </c:pt>
                <c:pt idx="4">
                  <c:v>10040</c:v>
                </c:pt>
                <c:pt idx="5">
                  <c:v>10762</c:v>
                </c:pt>
                <c:pt idx="6">
                  <c:v>12923</c:v>
                </c:pt>
                <c:pt idx="7">
                  <c:v>13044</c:v>
                </c:pt>
                <c:pt idx="8">
                  <c:v>12549</c:v>
                </c:pt>
                <c:pt idx="9">
                  <c:v>13541</c:v>
                </c:pt>
                <c:pt idx="10">
                  <c:v>13117</c:v>
                </c:pt>
                <c:pt idx="11">
                  <c:v>11956</c:v>
                </c:pt>
                <c:pt idx="12">
                  <c:v>9707</c:v>
                </c:pt>
                <c:pt idx="13">
                  <c:v>10319</c:v>
                </c:pt>
                <c:pt idx="14">
                  <c:v>9055</c:v>
                </c:pt>
                <c:pt idx="15">
                  <c:v>7440</c:v>
                </c:pt>
                <c:pt idx="16">
                  <c:v>9300</c:v>
                </c:pt>
                <c:pt idx="17">
                  <c:v>14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D020-410C-80F7-49494B645C4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 2</c:v>
                </c:pt>
              </c:strCache>
            </c:strRef>
          </c:tx>
          <c:spPr>
            <a:solidFill>
              <a:srgbClr val="F8696B"/>
            </a:solidFill>
            <a:ln>
              <a:noFill/>
            </a:ln>
            <a:effectLst/>
            <a:sp3d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9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Лист1!$C$2:$C$19</c:f>
              <c:numCache>
                <c:formatCode>General</c:formatCode>
                <c:ptCount val="1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D020-410C-80F7-49494B645C4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409538208"/>
        <c:axId val="409543456"/>
        <c:axId val="531984624"/>
      </c:line3DChart>
      <c:dateAx>
        <c:axId val="409538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09543456"/>
        <c:crosses val="autoZero"/>
        <c:auto val="0"/>
        <c:lblOffset val="100"/>
        <c:baseTimeUnit val="days"/>
      </c:dateAx>
      <c:valAx>
        <c:axId val="409543456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409538208"/>
        <c:crosses val="autoZero"/>
        <c:crossBetween val="between"/>
      </c:valAx>
      <c:serAx>
        <c:axId val="531984624"/>
        <c:scaling>
          <c:orientation val="minMax"/>
        </c:scaling>
        <c:delete val="1"/>
        <c:axPos val="b"/>
        <c:majorTickMark val="out"/>
        <c:minorTickMark val="none"/>
        <c:tickLblPos val="nextTo"/>
        <c:crossAx val="409543456"/>
        <c:crosses val="autoZero"/>
      </c:ser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90500"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3">
                <a:lumMod val="90000"/>
              </a:schemeClr>
            </a:solidFill>
            <a:ln w="12700"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3">
                  <a:lumMod val="90000"/>
                </a:schemeClr>
              </a:solidFill>
              <a:ln w="12700">
                <a:solidFill>
                  <a:schemeClr val="lt1"/>
                </a:solidFill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11A-4145-AE68-D68A8F38821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2700">
                <a:solidFill>
                  <a:schemeClr val="lt1"/>
                </a:solidFill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E11A-4145-AE68-D68A8F38821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2700">
                <a:solidFill>
                  <a:schemeClr val="lt1"/>
                </a:solidFill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11A-4145-AE68-D68A8F38821C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2700">
                <a:solidFill>
                  <a:schemeClr val="lt1"/>
                </a:solidFill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E11A-4145-AE68-D68A8F38821C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12700">
                <a:solidFill>
                  <a:schemeClr val="lt1"/>
                </a:solidFill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E11A-4145-AE68-D68A8F38821C}"/>
              </c:ext>
            </c:extLst>
          </c:dPt>
          <c:dPt>
            <c:idx val="5"/>
            <c:bubble3D val="0"/>
            <c:spPr>
              <a:solidFill>
                <a:schemeClr val="accent3">
                  <a:lumMod val="90000"/>
                </a:schemeClr>
              </a:solidFill>
              <a:ln w="12700">
                <a:solidFill>
                  <a:schemeClr val="lt1"/>
                </a:solidFill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2236-44D4-A595-6E562771533D}"/>
              </c:ext>
            </c:extLst>
          </c:dPt>
          <c:dPt>
            <c:idx val="6"/>
            <c:bubble3D val="0"/>
            <c:spPr>
              <a:solidFill>
                <a:schemeClr val="accent3">
                  <a:lumMod val="90000"/>
                </a:schemeClr>
              </a:solidFill>
              <a:ln w="12700">
                <a:solidFill>
                  <a:schemeClr val="lt1"/>
                </a:solidFill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2236-44D4-A595-6E562771533D}"/>
              </c:ext>
            </c:extLst>
          </c:dPt>
          <c:dPt>
            <c:idx val="7"/>
            <c:bubble3D val="0"/>
            <c:spPr>
              <a:solidFill>
                <a:schemeClr val="accent3">
                  <a:lumMod val="90000"/>
                </a:schemeClr>
              </a:solidFill>
              <a:ln w="12700">
                <a:solidFill>
                  <a:schemeClr val="lt1"/>
                </a:solidFill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F-2236-44D4-A595-6E562771533D}"/>
              </c:ext>
            </c:extLst>
          </c:dPt>
          <c:cat>
            <c:strRef>
              <c:f>Лист1!$A$2:$A$9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25</c:v>
                </c:pt>
                <c:pt idx="7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1A-4145-AE68-D68A8F3882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9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95174793617423"/>
          <c:y val="4.4015252603877085E-2"/>
          <c:w val="0.67382976560565067"/>
          <c:h val="0.95632795982797458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F5-46F3-9A6C-3F33D40E812B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F5-46F3-9A6C-3F33D40E812B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F5-46F3-9A6C-3F33D40E812B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0F5-46F3-9A6C-3F33D40E812B}"/>
              </c:ext>
            </c:extLst>
          </c:dPt>
          <c:dPt>
            <c:idx val="4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2F1B-42B1-B49D-15954278097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0F5-46F3-9A6C-3F33D40E812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0F5-46F3-9A6C-3F33D40E812B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0F5-46F3-9A6C-3F33D40E812B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0F5-46F3-9A6C-3F33D40E812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F1B-42B1-B49D-159542780970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F1B-42B1-B49D-159542780970}"/>
                </c:ext>
              </c:extLst>
            </c:dLbl>
            <c:dLbl>
              <c:idx val="6"/>
              <c:layout>
                <c:manualLayout>
                  <c:x val="-0.18220611689311494"/>
                  <c:y val="-0.1084416916708730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F1B-42B1-B49D-159542780970}"/>
                </c:ext>
              </c:extLst>
            </c:dLbl>
            <c:dLbl>
              <c:idx val="7"/>
              <c:layout>
                <c:manualLayout>
                  <c:x val="-1.6554593660763832E-2"/>
                  <c:y val="1.595186305513968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F1B-42B1-B49D-1595427809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Государственные контракты</c:v>
                </c:pt>
                <c:pt idx="1">
                  <c:v>Строительные контракты</c:v>
                </c:pt>
                <c:pt idx="2">
                  <c:v>Нефтехимические контракты</c:v>
                </c:pt>
                <c:pt idx="3">
                  <c:v>Газовые контракты</c:v>
                </c:pt>
                <c:pt idx="4">
                  <c:v>Контракты атомной отрасли, силовых ведомств, международные проекты</c:v>
                </c:pt>
              </c:strCache>
            </c:strRef>
          </c:cat>
          <c:val>
            <c:numRef>
              <c:f>Лист1!$B$2:$B$6</c:f>
              <c:numCache>
                <c:formatCode>0.00%</c:formatCode>
                <c:ptCount val="5"/>
                <c:pt idx="0">
                  <c:v>7.6499999999999999E-2</c:v>
                </c:pt>
                <c:pt idx="1">
                  <c:v>0.19</c:v>
                </c:pt>
                <c:pt idx="2">
                  <c:v>0.2019</c:v>
                </c:pt>
                <c:pt idx="3">
                  <c:v>0.48659999999999998</c:v>
                </c:pt>
                <c:pt idx="4">
                  <c:v>4.4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0F5-46F3-9A6C-3F33D40E812B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43"/>
        <c:holeSize val="75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8005" cy="340934"/>
          </a:xfrm>
          <a:prstGeom prst="rect">
            <a:avLst/>
          </a:prstGeom>
        </p:spPr>
        <p:txBody>
          <a:bodyPr vert="horz" lIns="63059" tIns="31530" rIns="63059" bIns="31530" rtlCol="0"/>
          <a:lstStyle>
            <a:lvl1pPr algn="l">
              <a:defRPr sz="8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30889" y="0"/>
            <a:ext cx="4308005" cy="340934"/>
          </a:xfrm>
          <a:prstGeom prst="rect">
            <a:avLst/>
          </a:prstGeom>
        </p:spPr>
        <p:txBody>
          <a:bodyPr vert="horz" lIns="63059" tIns="31530" rIns="63059" bIns="31530" rtlCol="0"/>
          <a:lstStyle>
            <a:lvl1pPr algn="r">
              <a:defRPr sz="800"/>
            </a:lvl1pPr>
          </a:lstStyle>
          <a:p>
            <a:fld id="{A8C329A0-BA99-46D0-89F2-CDEB25D8B8AE}" type="datetimeFigureOut">
              <a:rPr lang="ru-RU" smtClean="0"/>
              <a:t>27.05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8938" y="850900"/>
            <a:ext cx="4083050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3059" tIns="31530" rIns="63059" bIns="3153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3687" y="3277162"/>
            <a:ext cx="7953553" cy="2680528"/>
          </a:xfrm>
          <a:prstGeom prst="rect">
            <a:avLst/>
          </a:prstGeom>
        </p:spPr>
        <p:txBody>
          <a:bodyPr vert="horz" lIns="63059" tIns="31530" rIns="63059" bIns="3153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6467854"/>
            <a:ext cx="4308005" cy="340934"/>
          </a:xfrm>
          <a:prstGeom prst="rect">
            <a:avLst/>
          </a:prstGeom>
        </p:spPr>
        <p:txBody>
          <a:bodyPr vert="horz" lIns="63059" tIns="31530" rIns="63059" bIns="31530" rtlCol="0" anchor="b"/>
          <a:lstStyle>
            <a:lvl1pPr algn="l">
              <a:defRPr sz="8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30889" y="6467854"/>
            <a:ext cx="4308005" cy="340934"/>
          </a:xfrm>
          <a:prstGeom prst="rect">
            <a:avLst/>
          </a:prstGeom>
        </p:spPr>
        <p:txBody>
          <a:bodyPr vert="horz" lIns="63059" tIns="31530" rIns="63059" bIns="31530" rtlCol="0" anchor="b"/>
          <a:lstStyle>
            <a:lvl1pPr algn="r">
              <a:defRPr sz="800"/>
            </a:lvl1pPr>
          </a:lstStyle>
          <a:p>
            <a:fld id="{943B9F77-43BE-4BB3-93DD-E826840C60D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4352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6615" rtl="0" eaLnBrk="1" latinLnBrk="0" hangingPunct="1">
      <a:defRPr sz="940" kern="1200">
        <a:solidFill>
          <a:schemeClr val="tx1"/>
        </a:solidFill>
        <a:latin typeface="+mn-lt"/>
        <a:ea typeface="+mn-ea"/>
        <a:cs typeface="+mn-cs"/>
      </a:defRPr>
    </a:lvl1pPr>
    <a:lvl2pPr marL="358308" algn="l" defTabSz="716615" rtl="0" eaLnBrk="1" latinLnBrk="0" hangingPunct="1">
      <a:defRPr sz="940" kern="1200">
        <a:solidFill>
          <a:schemeClr val="tx1"/>
        </a:solidFill>
        <a:latin typeface="+mn-lt"/>
        <a:ea typeface="+mn-ea"/>
        <a:cs typeface="+mn-cs"/>
      </a:defRPr>
    </a:lvl2pPr>
    <a:lvl3pPr marL="716615" algn="l" defTabSz="716615" rtl="0" eaLnBrk="1" latinLnBrk="0" hangingPunct="1">
      <a:defRPr sz="940" kern="1200">
        <a:solidFill>
          <a:schemeClr val="tx1"/>
        </a:solidFill>
        <a:latin typeface="+mn-lt"/>
        <a:ea typeface="+mn-ea"/>
        <a:cs typeface="+mn-cs"/>
      </a:defRPr>
    </a:lvl3pPr>
    <a:lvl4pPr marL="1074923" algn="l" defTabSz="716615" rtl="0" eaLnBrk="1" latinLnBrk="0" hangingPunct="1">
      <a:defRPr sz="940" kern="1200">
        <a:solidFill>
          <a:schemeClr val="tx1"/>
        </a:solidFill>
        <a:latin typeface="+mn-lt"/>
        <a:ea typeface="+mn-ea"/>
        <a:cs typeface="+mn-cs"/>
      </a:defRPr>
    </a:lvl4pPr>
    <a:lvl5pPr marL="1433231" algn="l" defTabSz="716615" rtl="0" eaLnBrk="1" latinLnBrk="0" hangingPunct="1">
      <a:defRPr sz="940" kern="1200">
        <a:solidFill>
          <a:schemeClr val="tx1"/>
        </a:solidFill>
        <a:latin typeface="+mn-lt"/>
        <a:ea typeface="+mn-ea"/>
        <a:cs typeface="+mn-cs"/>
      </a:defRPr>
    </a:lvl5pPr>
    <a:lvl6pPr marL="1791538" algn="l" defTabSz="716615" rtl="0" eaLnBrk="1" latinLnBrk="0" hangingPunct="1">
      <a:defRPr sz="940" kern="1200">
        <a:solidFill>
          <a:schemeClr val="tx1"/>
        </a:solidFill>
        <a:latin typeface="+mn-lt"/>
        <a:ea typeface="+mn-ea"/>
        <a:cs typeface="+mn-cs"/>
      </a:defRPr>
    </a:lvl6pPr>
    <a:lvl7pPr marL="2149846" algn="l" defTabSz="716615" rtl="0" eaLnBrk="1" latinLnBrk="0" hangingPunct="1">
      <a:defRPr sz="940" kern="1200">
        <a:solidFill>
          <a:schemeClr val="tx1"/>
        </a:solidFill>
        <a:latin typeface="+mn-lt"/>
        <a:ea typeface="+mn-ea"/>
        <a:cs typeface="+mn-cs"/>
      </a:defRPr>
    </a:lvl7pPr>
    <a:lvl8pPr marL="2508153" algn="l" defTabSz="716615" rtl="0" eaLnBrk="1" latinLnBrk="0" hangingPunct="1">
      <a:defRPr sz="940" kern="1200">
        <a:solidFill>
          <a:schemeClr val="tx1"/>
        </a:solidFill>
        <a:latin typeface="+mn-lt"/>
        <a:ea typeface="+mn-ea"/>
        <a:cs typeface="+mn-cs"/>
      </a:defRPr>
    </a:lvl8pPr>
    <a:lvl9pPr marL="2866461" algn="l" defTabSz="716615" rtl="0" eaLnBrk="1" latinLnBrk="0" hangingPunct="1">
      <a:defRPr sz="9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B9F77-43BE-4BB3-93DD-E826840C60DF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24636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B9F77-43BE-4BB3-93DD-E826840C60DF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02203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30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54B8AB-1006-4248-884A-68E8DF3E082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30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2835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B9F77-43BE-4BB3-93DD-E826840C60DF}" type="slidenum">
              <a:rPr lang="ru-RU" smtClean="0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38363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63736A-7173-9C43-8E8D-FA99937EA50F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05767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166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3B9F77-43BE-4BB3-93DD-E826840C60DF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166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4827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B9F77-43BE-4BB3-93DD-E826840C60DF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6591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983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54B8AB-1006-4248-884A-68E8DF3E082F}" type="slidenum">
              <a:rPr kumimoji="0" lang="ru-RU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98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00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B9F77-43BE-4BB3-93DD-E826840C60DF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49161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B9F77-43BE-4BB3-93DD-E826840C60DF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13939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54B8AB-1006-4248-884A-68E8DF3E082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2667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B9F77-43BE-4BB3-93DD-E826840C60DF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43354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B9F77-43BE-4BB3-93DD-E826840C60DF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19392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B9F77-43BE-4BB3-93DD-E826840C60DF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4557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svg"/><Relationship Id="rId5" Type="http://schemas.openxmlformats.org/officeDocument/2006/relationships/image" Target="../media/image14.png"/><Relationship Id="rId4" Type="http://schemas.openxmlformats.org/officeDocument/2006/relationships/image" Target="../media/image14.svg"/><Relationship Id="rId9" Type="http://schemas.openxmlformats.org/officeDocument/2006/relationships/image" Target="../media/image16.png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25.svg"/><Relationship Id="rId7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27.svg"/><Relationship Id="rId4" Type="http://schemas.openxmlformats.org/officeDocument/2006/relationships/image" Target="../media/image18.png"/><Relationship Id="rId9" Type="http://schemas.openxmlformats.org/officeDocument/2006/relationships/image" Target="../media/image16.png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9.png"/><Relationship Id="rId7" Type="http://schemas.openxmlformats.org/officeDocument/2006/relationships/image" Target="../media/image1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1.svg"/><Relationship Id="rId5" Type="http://schemas.openxmlformats.org/officeDocument/2006/relationships/image" Target="../media/image20.png"/><Relationship Id="rId4" Type="http://schemas.openxmlformats.org/officeDocument/2006/relationships/image" Target="../media/image29.svg"/><Relationship Id="rId9" Type="http://schemas.openxmlformats.org/officeDocument/2006/relationships/image" Target="../media/image18.svg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5.svg"/><Relationship Id="rId7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27.svg"/><Relationship Id="rId4" Type="http://schemas.openxmlformats.org/officeDocument/2006/relationships/image" Target="../media/image18.png"/><Relationship Id="rId9" Type="http://schemas.openxmlformats.org/officeDocument/2006/relationships/image" Target="../media/image18.sv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13.png"/><Relationship Id="rId4" Type="http://schemas.openxmlformats.org/officeDocument/2006/relationships/image" Target="../media/image2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svg"/><Relationship Id="rId5" Type="http://schemas.openxmlformats.org/officeDocument/2006/relationships/image" Target="../media/image23.png"/><Relationship Id="rId4" Type="http://schemas.openxmlformats.org/officeDocument/2006/relationships/image" Target="../media/image14.sv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13.png"/><Relationship Id="rId4" Type="http://schemas.openxmlformats.org/officeDocument/2006/relationships/image" Target="../media/image22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svg"/><Relationship Id="rId5" Type="http://schemas.openxmlformats.org/officeDocument/2006/relationships/image" Target="../media/image23.png"/><Relationship Id="rId4" Type="http://schemas.openxmlformats.org/officeDocument/2006/relationships/image" Target="../media/image14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13.png"/><Relationship Id="rId4" Type="http://schemas.openxmlformats.org/officeDocument/2006/relationships/image" Target="../media/image22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svg"/><Relationship Id="rId5" Type="http://schemas.openxmlformats.org/officeDocument/2006/relationships/image" Target="../media/image23.png"/><Relationship Id="rId4" Type="http://schemas.openxmlformats.org/officeDocument/2006/relationships/image" Target="../media/image14.sv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png"/><Relationship Id="rId5" Type="http://schemas.openxmlformats.org/officeDocument/2006/relationships/image" Target="../media/image18.svg"/><Relationship Id="rId4" Type="http://schemas.openxmlformats.org/officeDocument/2006/relationships/image" Target="../media/image13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svg"/><Relationship Id="rId5" Type="http://schemas.openxmlformats.org/officeDocument/2006/relationships/image" Target="../media/image23.png"/><Relationship Id="rId4" Type="http://schemas.openxmlformats.org/officeDocument/2006/relationships/image" Target="../media/image14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14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14.sv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14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14.sv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33.svg"/><Relationship Id="rId4" Type="http://schemas.openxmlformats.org/officeDocument/2006/relationships/image" Target="../media/image21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7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39.svg"/><Relationship Id="rId4" Type="http://schemas.openxmlformats.org/officeDocument/2006/relationships/image" Target="../media/image25.pn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7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7.pn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7.pn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pn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pn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8.png"/><Relationship Id="rId4" Type="http://schemas.openxmlformats.org/officeDocument/2006/relationships/image" Target="../media/image29.pn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8.png"/><Relationship Id="rId4" Type="http://schemas.openxmlformats.org/officeDocument/2006/relationships/image" Target="../media/image29.pn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pn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2.pn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2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18.svg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0.sv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7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33.svg"/><Relationship Id="rId4" Type="http://schemas.openxmlformats.org/officeDocument/2006/relationships/image" Target="../media/image21.pn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svg"/><Relationship Id="rId5" Type="http://schemas.openxmlformats.org/officeDocument/2006/relationships/image" Target="../media/image23.png"/><Relationship Id="rId4" Type="http://schemas.openxmlformats.org/officeDocument/2006/relationships/image" Target="../media/image14.sv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33.svg"/><Relationship Id="rId4" Type="http://schemas.openxmlformats.org/officeDocument/2006/relationships/image" Target="../media/image21.pn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svg"/><Relationship Id="rId5" Type="http://schemas.openxmlformats.org/officeDocument/2006/relationships/image" Target="../media/image23.png"/><Relationship Id="rId4" Type="http://schemas.openxmlformats.org/officeDocument/2006/relationships/image" Target="../media/image14.sv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39.svg"/><Relationship Id="rId4" Type="http://schemas.openxmlformats.org/officeDocument/2006/relationships/image" Target="../media/image25.pn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7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0.sv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NUL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0.sv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7" Type="http://schemas.openxmlformats.org/officeDocument/2006/relationships/image" Target="../media/image7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0.sv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7" Type="http://schemas.openxmlformats.org/officeDocument/2006/relationships/image" Target="../media/image7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svg"/><Relationship Id="rId7" Type="http://schemas.openxmlformats.org/officeDocument/2006/relationships/image" Target="../media/image7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7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0.svg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svg"/><Relationship Id="rId7" Type="http://schemas.openxmlformats.org/officeDocument/2006/relationships/image" Target="../media/image7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0.svg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png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pn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svg"/><Relationship Id="rId7" Type="http://schemas.openxmlformats.org/officeDocument/2006/relationships/image" Target="../media/image7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0.svg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82.sv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.pn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7" Type="http://schemas.openxmlformats.org/officeDocument/2006/relationships/image" Target="../media/image7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svg"/><Relationship Id="rId7" Type="http://schemas.openxmlformats.org/officeDocument/2006/relationships/image" Target="../media/image7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0.sv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81.sv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41.svg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0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0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0.svg"/><Relationship Id="rId5" Type="http://schemas.openxmlformats.org/officeDocument/2006/relationships/image" Target="../media/image14.png"/><Relationship Id="rId4" Type="http://schemas.openxmlformats.org/officeDocument/2006/relationships/image" Target="../media/image140.svg"/><Relationship Id="rId9" Type="http://schemas.openxmlformats.org/officeDocument/2006/relationships/image" Target="../media/image16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svg"/><Relationship Id="rId3" Type="http://schemas.openxmlformats.org/officeDocument/2006/relationships/image" Target="../media/image250.svg"/><Relationship Id="rId7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270.svg"/><Relationship Id="rId4" Type="http://schemas.openxmlformats.org/officeDocument/2006/relationships/image" Target="../media/image18.png"/><Relationship Id="rId9" Type="http://schemas.openxmlformats.org/officeDocument/2006/relationships/image" Target="../media/image16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9.png"/><Relationship Id="rId7" Type="http://schemas.openxmlformats.org/officeDocument/2006/relationships/image" Target="../media/image1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10.svg"/><Relationship Id="rId5" Type="http://schemas.openxmlformats.org/officeDocument/2006/relationships/image" Target="../media/image20.png"/><Relationship Id="rId4" Type="http://schemas.openxmlformats.org/officeDocument/2006/relationships/image" Target="../media/image290.svg"/><Relationship Id="rId9" Type="http://schemas.openxmlformats.org/officeDocument/2006/relationships/image" Target="../media/image180.sv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50.svg"/><Relationship Id="rId7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270.svg"/><Relationship Id="rId4" Type="http://schemas.openxmlformats.org/officeDocument/2006/relationships/image" Target="../media/image18.png"/><Relationship Id="rId9" Type="http://schemas.openxmlformats.org/officeDocument/2006/relationships/image" Target="../media/image180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0.svg"/><Relationship Id="rId5" Type="http://schemas.openxmlformats.org/officeDocument/2006/relationships/image" Target="../media/image13.png"/><Relationship Id="rId4" Type="http://schemas.openxmlformats.org/officeDocument/2006/relationships/image" Target="../media/image2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0.svg"/><Relationship Id="rId5" Type="http://schemas.openxmlformats.org/officeDocument/2006/relationships/image" Target="../media/image23.png"/><Relationship Id="rId4" Type="http://schemas.openxmlformats.org/officeDocument/2006/relationships/image" Target="../media/image140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0.svg"/><Relationship Id="rId5" Type="http://schemas.openxmlformats.org/officeDocument/2006/relationships/image" Target="../media/image13.png"/><Relationship Id="rId4" Type="http://schemas.openxmlformats.org/officeDocument/2006/relationships/image" Target="../media/image2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0.svg"/><Relationship Id="rId5" Type="http://schemas.openxmlformats.org/officeDocument/2006/relationships/image" Target="../media/image23.png"/><Relationship Id="rId4" Type="http://schemas.openxmlformats.org/officeDocument/2006/relationships/image" Target="../media/image140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0.svg"/><Relationship Id="rId5" Type="http://schemas.openxmlformats.org/officeDocument/2006/relationships/image" Target="../media/image13.png"/><Relationship Id="rId4" Type="http://schemas.openxmlformats.org/officeDocument/2006/relationships/image" Target="../media/image2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0.svg"/><Relationship Id="rId5" Type="http://schemas.openxmlformats.org/officeDocument/2006/relationships/image" Target="../media/image23.png"/><Relationship Id="rId4" Type="http://schemas.openxmlformats.org/officeDocument/2006/relationships/image" Target="../media/image140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svg"/><Relationship Id="rId7" Type="http://schemas.openxmlformats.org/officeDocument/2006/relationships/image" Target="../media/image7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png"/><Relationship Id="rId5" Type="http://schemas.openxmlformats.org/officeDocument/2006/relationships/image" Target="../media/image180.svg"/><Relationship Id="rId4" Type="http://schemas.openxmlformats.org/officeDocument/2006/relationships/image" Target="../media/image1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0.svg"/><Relationship Id="rId5" Type="http://schemas.openxmlformats.org/officeDocument/2006/relationships/image" Target="../media/image23.png"/><Relationship Id="rId4" Type="http://schemas.openxmlformats.org/officeDocument/2006/relationships/image" Target="../media/image140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140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140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140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140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330.svg"/><Relationship Id="rId4" Type="http://schemas.openxmlformats.org/officeDocument/2006/relationships/image" Target="../media/image21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0.svg"/><Relationship Id="rId7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0.sv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390.svg"/><Relationship Id="rId4" Type="http://schemas.openxmlformats.org/officeDocument/2006/relationships/image" Target="../media/image2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0.svg"/><Relationship Id="rId7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0.sv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7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0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7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8.png"/><Relationship Id="rId4" Type="http://schemas.openxmlformats.org/officeDocument/2006/relationships/image" Target="../media/image29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8.png"/><Relationship Id="rId4" Type="http://schemas.openxmlformats.org/officeDocument/2006/relationships/image" Target="../media/image29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2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0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180.svg"/><Relationship Id="rId4" Type="http://schemas.openxmlformats.org/officeDocument/2006/relationships/image" Target="../media/image13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0.svg"/><Relationship Id="rId7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0.sv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330.svg"/><Relationship Id="rId4" Type="http://schemas.openxmlformats.org/officeDocument/2006/relationships/image" Target="../media/image21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0.svg"/><Relationship Id="rId5" Type="http://schemas.openxmlformats.org/officeDocument/2006/relationships/image" Target="../media/image23.png"/><Relationship Id="rId4" Type="http://schemas.openxmlformats.org/officeDocument/2006/relationships/image" Target="../media/image140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330.svg"/><Relationship Id="rId4" Type="http://schemas.openxmlformats.org/officeDocument/2006/relationships/image" Target="../media/image21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0.svg"/><Relationship Id="rId5" Type="http://schemas.openxmlformats.org/officeDocument/2006/relationships/image" Target="../media/image23.png"/><Relationship Id="rId4" Type="http://schemas.openxmlformats.org/officeDocument/2006/relationships/image" Target="../media/image140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390.svg"/><Relationship Id="rId4" Type="http://schemas.openxmlformats.org/officeDocument/2006/relationships/image" Target="../media/image25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0.svg"/><Relationship Id="rId7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0.sv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image" Target="../media/image7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7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_ Узкая графика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37A98B0-9C0D-4077-BE41-961AF4D2C8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537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Раздел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024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Раздел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92C2900-829E-4F4D-A685-A45E97C0B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011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Раздел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92C2900-829E-4F4D-A685-A45E97C0B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87326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в одну строку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5065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рафики и данны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6" name="Прямоугольник: скругленные углы 19">
            <a:extLst>
              <a:ext uri="{FF2B5EF4-FFF2-40B4-BE49-F238E27FC236}">
                <a16:creationId xmlns:a16="http://schemas.microsoft.com/office/drawing/2014/main" id="{02B0A353-BD63-460A-9BC0-CC374568DACC}"/>
              </a:ext>
            </a:extLst>
          </p:cNvPr>
          <p:cNvSpPr/>
          <p:nvPr userDrawn="1"/>
        </p:nvSpPr>
        <p:spPr>
          <a:xfrm>
            <a:off x="8077200" y="3302002"/>
            <a:ext cx="3781425" cy="2927959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: скругленные углы 10">
            <a:extLst>
              <a:ext uri="{FF2B5EF4-FFF2-40B4-BE49-F238E27FC236}">
                <a16:creationId xmlns:a16="http://schemas.microsoft.com/office/drawing/2014/main" id="{F9B6AA45-2A8C-4969-AC3D-6EC3ACFE95EC}"/>
              </a:ext>
            </a:extLst>
          </p:cNvPr>
          <p:cNvSpPr/>
          <p:nvPr userDrawn="1"/>
        </p:nvSpPr>
        <p:spPr>
          <a:xfrm>
            <a:off x="4204492" y="1063625"/>
            <a:ext cx="3781425" cy="2138367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8">
            <a:extLst>
              <a:ext uri="{FF2B5EF4-FFF2-40B4-BE49-F238E27FC236}">
                <a16:creationId xmlns:a16="http://schemas.microsoft.com/office/drawing/2014/main" id="{69C268C1-FA58-45D0-8861-22E87EFC72A5}"/>
              </a:ext>
            </a:extLst>
          </p:cNvPr>
          <p:cNvSpPr/>
          <p:nvPr userDrawn="1"/>
        </p:nvSpPr>
        <p:spPr>
          <a:xfrm>
            <a:off x="8077200" y="1063625"/>
            <a:ext cx="3781425" cy="2138367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11">
            <a:extLst>
              <a:ext uri="{FF2B5EF4-FFF2-40B4-BE49-F238E27FC236}">
                <a16:creationId xmlns:a16="http://schemas.microsoft.com/office/drawing/2014/main" id="{41C49358-DEBC-41E6-B32D-4166FAA7DEE7}"/>
              </a:ext>
            </a:extLst>
          </p:cNvPr>
          <p:cNvSpPr/>
          <p:nvPr userDrawn="1"/>
        </p:nvSpPr>
        <p:spPr>
          <a:xfrm>
            <a:off x="4204492" y="3302002"/>
            <a:ext cx="3781425" cy="2927959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1">
            <a:extLst>
              <a:ext uri="{FF2B5EF4-FFF2-40B4-BE49-F238E27FC236}">
                <a16:creationId xmlns:a16="http://schemas.microsoft.com/office/drawing/2014/main" id="{D15722C8-C181-4D21-9A44-1C84F0EC5044}"/>
              </a:ext>
            </a:extLst>
          </p:cNvPr>
          <p:cNvSpPr/>
          <p:nvPr userDrawn="1"/>
        </p:nvSpPr>
        <p:spPr>
          <a:xfrm>
            <a:off x="486197" y="1063625"/>
            <a:ext cx="3628603" cy="5166335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647338" y="1212545"/>
            <a:ext cx="3297600" cy="4752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4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4366417" y="1142208"/>
            <a:ext cx="3456000" cy="1980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6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4366417" y="3577738"/>
            <a:ext cx="3456000" cy="2376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7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8247063" y="1142208"/>
            <a:ext cx="3456000" cy="1980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8" name="Диаграмма 2"/>
          <p:cNvSpPr>
            <a:spLocks noGrp="1"/>
          </p:cNvSpPr>
          <p:nvPr>
            <p:ph type="chart" sz="quarter" idx="21" hasCustomPrompt="1"/>
          </p:nvPr>
        </p:nvSpPr>
        <p:spPr>
          <a:xfrm>
            <a:off x="8247063" y="3577738"/>
            <a:ext cx="3456000" cy="2376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3704022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рафики и данные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Прямоугольник: скругленные углы 19">
            <a:extLst>
              <a:ext uri="{FF2B5EF4-FFF2-40B4-BE49-F238E27FC236}">
                <a16:creationId xmlns:a16="http://schemas.microsoft.com/office/drawing/2014/main" id="{02B0A353-BD63-460A-9BC0-CC374568DACC}"/>
              </a:ext>
            </a:extLst>
          </p:cNvPr>
          <p:cNvSpPr/>
          <p:nvPr userDrawn="1"/>
        </p:nvSpPr>
        <p:spPr>
          <a:xfrm>
            <a:off x="8077200" y="3302002"/>
            <a:ext cx="3781425" cy="2927959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10">
            <a:extLst>
              <a:ext uri="{FF2B5EF4-FFF2-40B4-BE49-F238E27FC236}">
                <a16:creationId xmlns:a16="http://schemas.microsoft.com/office/drawing/2014/main" id="{F9B6AA45-2A8C-4969-AC3D-6EC3ACFE95EC}"/>
              </a:ext>
            </a:extLst>
          </p:cNvPr>
          <p:cNvSpPr/>
          <p:nvPr userDrawn="1"/>
        </p:nvSpPr>
        <p:spPr>
          <a:xfrm>
            <a:off x="4204492" y="1063625"/>
            <a:ext cx="3781425" cy="2138367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8">
            <a:extLst>
              <a:ext uri="{FF2B5EF4-FFF2-40B4-BE49-F238E27FC236}">
                <a16:creationId xmlns:a16="http://schemas.microsoft.com/office/drawing/2014/main" id="{69C268C1-FA58-45D0-8861-22E87EFC72A5}"/>
              </a:ext>
            </a:extLst>
          </p:cNvPr>
          <p:cNvSpPr/>
          <p:nvPr userDrawn="1"/>
        </p:nvSpPr>
        <p:spPr>
          <a:xfrm>
            <a:off x="8077200" y="1063625"/>
            <a:ext cx="3781425" cy="2138367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11">
            <a:extLst>
              <a:ext uri="{FF2B5EF4-FFF2-40B4-BE49-F238E27FC236}">
                <a16:creationId xmlns:a16="http://schemas.microsoft.com/office/drawing/2014/main" id="{41C49358-DEBC-41E6-B32D-4166FAA7DEE7}"/>
              </a:ext>
            </a:extLst>
          </p:cNvPr>
          <p:cNvSpPr/>
          <p:nvPr userDrawn="1"/>
        </p:nvSpPr>
        <p:spPr>
          <a:xfrm>
            <a:off x="4204492" y="3302002"/>
            <a:ext cx="3781425" cy="2927959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1">
            <a:extLst>
              <a:ext uri="{FF2B5EF4-FFF2-40B4-BE49-F238E27FC236}">
                <a16:creationId xmlns:a16="http://schemas.microsoft.com/office/drawing/2014/main" id="{D15722C8-C181-4D21-9A44-1C84F0EC5044}"/>
              </a:ext>
            </a:extLst>
          </p:cNvPr>
          <p:cNvSpPr/>
          <p:nvPr userDrawn="1"/>
        </p:nvSpPr>
        <p:spPr>
          <a:xfrm>
            <a:off x="486197" y="1063625"/>
            <a:ext cx="3628603" cy="5166335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647338" y="1212545"/>
            <a:ext cx="3297600" cy="4752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6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4366417" y="1142208"/>
            <a:ext cx="3456000" cy="1980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7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4366417" y="3577738"/>
            <a:ext cx="3456000" cy="2376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8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8247063" y="1142208"/>
            <a:ext cx="3456000" cy="1980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9" name="Диаграмма 2"/>
          <p:cNvSpPr>
            <a:spLocks noGrp="1"/>
          </p:cNvSpPr>
          <p:nvPr>
            <p:ph type="chart" sz="quarter" idx="21" hasCustomPrompt="1"/>
          </p:nvPr>
        </p:nvSpPr>
        <p:spPr>
          <a:xfrm>
            <a:off x="8247063" y="3577738"/>
            <a:ext cx="3456000" cy="2376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28800374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рафики и данные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6" name="Прямоугольник: скругленные углы 44">
            <a:extLst>
              <a:ext uri="{FF2B5EF4-FFF2-40B4-BE49-F238E27FC236}">
                <a16:creationId xmlns:a16="http://schemas.microsoft.com/office/drawing/2014/main" id="{D4CBCAE8-A1CD-402C-BC53-AAA158F537FF}"/>
              </a:ext>
            </a:extLst>
          </p:cNvPr>
          <p:cNvSpPr/>
          <p:nvPr userDrawn="1"/>
        </p:nvSpPr>
        <p:spPr>
          <a:xfrm>
            <a:off x="8591550" y="1066800"/>
            <a:ext cx="3267075" cy="2138367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46">
            <a:extLst>
              <a:ext uri="{FF2B5EF4-FFF2-40B4-BE49-F238E27FC236}">
                <a16:creationId xmlns:a16="http://schemas.microsoft.com/office/drawing/2014/main" id="{41B41D4F-3181-4463-8BF0-27BBB17CDB03}"/>
              </a:ext>
            </a:extLst>
          </p:cNvPr>
          <p:cNvSpPr/>
          <p:nvPr userDrawn="1"/>
        </p:nvSpPr>
        <p:spPr>
          <a:xfrm>
            <a:off x="8591550" y="3305177"/>
            <a:ext cx="3267075" cy="2927959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: скругленные углы 47">
            <a:extLst>
              <a:ext uri="{FF2B5EF4-FFF2-40B4-BE49-F238E27FC236}">
                <a16:creationId xmlns:a16="http://schemas.microsoft.com/office/drawing/2014/main" id="{A99FAD78-BB3B-4BE6-98F8-2078A1EACFB3}"/>
              </a:ext>
            </a:extLst>
          </p:cNvPr>
          <p:cNvSpPr/>
          <p:nvPr userDrawn="1"/>
        </p:nvSpPr>
        <p:spPr>
          <a:xfrm>
            <a:off x="5445660" y="1066800"/>
            <a:ext cx="3044289" cy="2138367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: скругленные углы 48">
            <a:extLst>
              <a:ext uri="{FF2B5EF4-FFF2-40B4-BE49-F238E27FC236}">
                <a16:creationId xmlns:a16="http://schemas.microsoft.com/office/drawing/2014/main" id="{AF2296AF-820D-4E72-9EAB-BA72DD4CAA0E}"/>
              </a:ext>
            </a:extLst>
          </p:cNvPr>
          <p:cNvSpPr/>
          <p:nvPr userDrawn="1"/>
        </p:nvSpPr>
        <p:spPr>
          <a:xfrm>
            <a:off x="5445660" y="3305178"/>
            <a:ext cx="3044289" cy="2927958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: скругленные углы 49">
            <a:extLst>
              <a:ext uri="{FF2B5EF4-FFF2-40B4-BE49-F238E27FC236}">
                <a16:creationId xmlns:a16="http://schemas.microsoft.com/office/drawing/2014/main" id="{176297F8-53AD-4378-BFB0-FC6BF08D077B}"/>
              </a:ext>
            </a:extLst>
          </p:cNvPr>
          <p:cNvSpPr/>
          <p:nvPr userDrawn="1"/>
        </p:nvSpPr>
        <p:spPr>
          <a:xfrm>
            <a:off x="486198" y="1066800"/>
            <a:ext cx="4835478" cy="5166335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835737" y="1477367"/>
            <a:ext cx="4136400" cy="43452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3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5527804" y="1145983"/>
            <a:ext cx="2880000" cy="1980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5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5527804" y="3412546"/>
            <a:ext cx="2880000" cy="2683454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9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8674944" y="1145983"/>
            <a:ext cx="3097956" cy="1980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31" name="Объект 30"/>
          <p:cNvSpPr>
            <a:spLocks noGrp="1"/>
          </p:cNvSpPr>
          <p:nvPr>
            <p:ph sz="quarter" idx="21" hasCustomPrompt="1"/>
          </p:nvPr>
        </p:nvSpPr>
        <p:spPr>
          <a:xfrm>
            <a:off x="8675688" y="3412546"/>
            <a:ext cx="3097212" cy="2683453"/>
          </a:xfrm>
        </p:spPr>
        <p:txBody>
          <a:bodyPr tIns="100800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15979370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рафики и данные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0" name="Прямоугольник: скругленные углы 44">
            <a:extLst>
              <a:ext uri="{FF2B5EF4-FFF2-40B4-BE49-F238E27FC236}">
                <a16:creationId xmlns:a16="http://schemas.microsoft.com/office/drawing/2014/main" id="{D4CBCAE8-A1CD-402C-BC53-AAA158F537FF}"/>
              </a:ext>
            </a:extLst>
          </p:cNvPr>
          <p:cNvSpPr/>
          <p:nvPr userDrawn="1"/>
        </p:nvSpPr>
        <p:spPr>
          <a:xfrm>
            <a:off x="8591550" y="1066800"/>
            <a:ext cx="3267075" cy="2138367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: скругленные углы 46">
            <a:extLst>
              <a:ext uri="{FF2B5EF4-FFF2-40B4-BE49-F238E27FC236}">
                <a16:creationId xmlns:a16="http://schemas.microsoft.com/office/drawing/2014/main" id="{41B41D4F-3181-4463-8BF0-27BBB17CDB03}"/>
              </a:ext>
            </a:extLst>
          </p:cNvPr>
          <p:cNvSpPr/>
          <p:nvPr userDrawn="1"/>
        </p:nvSpPr>
        <p:spPr>
          <a:xfrm>
            <a:off x="8591550" y="3305177"/>
            <a:ext cx="3267075" cy="2927959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: скругленные углы 47">
            <a:extLst>
              <a:ext uri="{FF2B5EF4-FFF2-40B4-BE49-F238E27FC236}">
                <a16:creationId xmlns:a16="http://schemas.microsoft.com/office/drawing/2014/main" id="{A99FAD78-BB3B-4BE6-98F8-2078A1EACFB3}"/>
              </a:ext>
            </a:extLst>
          </p:cNvPr>
          <p:cNvSpPr/>
          <p:nvPr userDrawn="1"/>
        </p:nvSpPr>
        <p:spPr>
          <a:xfrm>
            <a:off x="5445660" y="1066800"/>
            <a:ext cx="3044289" cy="2138367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: скругленные углы 48">
            <a:extLst>
              <a:ext uri="{FF2B5EF4-FFF2-40B4-BE49-F238E27FC236}">
                <a16:creationId xmlns:a16="http://schemas.microsoft.com/office/drawing/2014/main" id="{AF2296AF-820D-4E72-9EAB-BA72DD4CAA0E}"/>
              </a:ext>
            </a:extLst>
          </p:cNvPr>
          <p:cNvSpPr/>
          <p:nvPr userDrawn="1"/>
        </p:nvSpPr>
        <p:spPr>
          <a:xfrm>
            <a:off x="5445660" y="3305178"/>
            <a:ext cx="3044289" cy="2927958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: скругленные углы 49">
            <a:extLst>
              <a:ext uri="{FF2B5EF4-FFF2-40B4-BE49-F238E27FC236}">
                <a16:creationId xmlns:a16="http://schemas.microsoft.com/office/drawing/2014/main" id="{176297F8-53AD-4378-BFB0-FC6BF08D077B}"/>
              </a:ext>
            </a:extLst>
          </p:cNvPr>
          <p:cNvSpPr/>
          <p:nvPr userDrawn="1"/>
        </p:nvSpPr>
        <p:spPr>
          <a:xfrm>
            <a:off x="486198" y="1066800"/>
            <a:ext cx="4835478" cy="5166335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835737" y="1477367"/>
            <a:ext cx="4136400" cy="43452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6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5527804" y="1145983"/>
            <a:ext cx="2880000" cy="1980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7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5527804" y="3412546"/>
            <a:ext cx="2880000" cy="2683454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8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8674944" y="1145983"/>
            <a:ext cx="3097956" cy="1980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30" name="Объект 30"/>
          <p:cNvSpPr>
            <a:spLocks noGrp="1"/>
          </p:cNvSpPr>
          <p:nvPr>
            <p:ph sz="quarter" idx="21" hasCustomPrompt="1"/>
          </p:nvPr>
        </p:nvSpPr>
        <p:spPr>
          <a:xfrm>
            <a:off x="8675688" y="3412546"/>
            <a:ext cx="3097212" cy="2683453"/>
          </a:xfrm>
        </p:spPr>
        <p:txBody>
          <a:bodyPr tIns="100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6129408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рафики и данные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31" name="Объект 30"/>
          <p:cNvSpPr>
            <a:spLocks noGrp="1"/>
          </p:cNvSpPr>
          <p:nvPr>
            <p:ph sz="quarter" idx="21" hasCustomPrompt="1"/>
          </p:nvPr>
        </p:nvSpPr>
        <p:spPr>
          <a:xfrm>
            <a:off x="6936530" y="1807583"/>
            <a:ext cx="4762800" cy="3960000"/>
          </a:xfrm>
        </p:spPr>
        <p:txBody>
          <a:bodyPr tIns="100800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17725728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рафики и данные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6" name="Объект 30"/>
          <p:cNvSpPr>
            <a:spLocks noGrp="1"/>
          </p:cNvSpPr>
          <p:nvPr>
            <p:ph sz="quarter" idx="21" hasCustomPrompt="1"/>
          </p:nvPr>
        </p:nvSpPr>
        <p:spPr>
          <a:xfrm>
            <a:off x="6936530" y="1807583"/>
            <a:ext cx="4762800" cy="3960000"/>
          </a:xfrm>
        </p:spPr>
        <p:txBody>
          <a:bodyPr tIns="100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41966861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рафики и данные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: скругленные углы 18">
            <a:extLst>
              <a:ext uri="{FF2B5EF4-FFF2-40B4-BE49-F238E27FC236}">
                <a16:creationId xmlns:a16="http://schemas.microsoft.com/office/drawing/2014/main" id="{59B3632B-C17D-4C6B-9CA4-B5B26A60E3C6}"/>
              </a:ext>
            </a:extLst>
          </p:cNvPr>
          <p:cNvSpPr/>
          <p:nvPr userDrawn="1"/>
        </p:nvSpPr>
        <p:spPr>
          <a:xfrm>
            <a:off x="486197" y="3704416"/>
            <a:ext cx="8162502" cy="2606675"/>
          </a:xfrm>
          <a:prstGeom prst="roundRect">
            <a:avLst>
              <a:gd name="adj" fmla="val 552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: скругленные углы 19">
            <a:extLst>
              <a:ext uri="{FF2B5EF4-FFF2-40B4-BE49-F238E27FC236}">
                <a16:creationId xmlns:a16="http://schemas.microsoft.com/office/drawing/2014/main" id="{E87147A8-451A-4699-9ACA-DE475A103D5D}"/>
              </a:ext>
            </a:extLst>
          </p:cNvPr>
          <p:cNvSpPr/>
          <p:nvPr userDrawn="1"/>
        </p:nvSpPr>
        <p:spPr>
          <a:xfrm>
            <a:off x="486196" y="901700"/>
            <a:ext cx="8162503" cy="2606675"/>
          </a:xfrm>
          <a:prstGeom prst="roundRect">
            <a:avLst>
              <a:gd name="adj" fmla="val 552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: скругленные углы 11">
            <a:extLst>
              <a:ext uri="{FF2B5EF4-FFF2-40B4-BE49-F238E27FC236}">
                <a16:creationId xmlns:a16="http://schemas.microsoft.com/office/drawing/2014/main" id="{8E2AF2DE-5C87-4EAF-BF66-B97003E95967}"/>
              </a:ext>
            </a:extLst>
          </p:cNvPr>
          <p:cNvSpPr/>
          <p:nvPr userDrawn="1"/>
        </p:nvSpPr>
        <p:spPr>
          <a:xfrm>
            <a:off x="8801101" y="3704416"/>
            <a:ext cx="2911474" cy="2606675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: скругленные углы 17">
            <a:extLst>
              <a:ext uri="{FF2B5EF4-FFF2-40B4-BE49-F238E27FC236}">
                <a16:creationId xmlns:a16="http://schemas.microsoft.com/office/drawing/2014/main" id="{12161821-918A-4DAD-85BC-6B70A781E53E}"/>
              </a:ext>
            </a:extLst>
          </p:cNvPr>
          <p:cNvSpPr/>
          <p:nvPr userDrawn="1"/>
        </p:nvSpPr>
        <p:spPr>
          <a:xfrm>
            <a:off x="8801101" y="901700"/>
            <a:ext cx="2911474" cy="2606675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774847" y="1011637"/>
            <a:ext cx="7585200" cy="23868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9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774848" y="3814353"/>
            <a:ext cx="7585200" cy="23868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988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с нумерацией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7F824F5-4A00-463B-A7A0-A2CE362E79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162E93D-AAB9-4557-BEF6-EF46CD6E1C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3102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рафики и данные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Прямоугольник: скругленные углы 18">
            <a:extLst>
              <a:ext uri="{FF2B5EF4-FFF2-40B4-BE49-F238E27FC236}">
                <a16:creationId xmlns:a16="http://schemas.microsoft.com/office/drawing/2014/main" id="{59B3632B-C17D-4C6B-9CA4-B5B26A60E3C6}"/>
              </a:ext>
            </a:extLst>
          </p:cNvPr>
          <p:cNvSpPr/>
          <p:nvPr userDrawn="1"/>
        </p:nvSpPr>
        <p:spPr>
          <a:xfrm>
            <a:off x="486197" y="3704416"/>
            <a:ext cx="8162502" cy="2606675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19">
            <a:extLst>
              <a:ext uri="{FF2B5EF4-FFF2-40B4-BE49-F238E27FC236}">
                <a16:creationId xmlns:a16="http://schemas.microsoft.com/office/drawing/2014/main" id="{E87147A8-451A-4699-9ACA-DE475A103D5D}"/>
              </a:ext>
            </a:extLst>
          </p:cNvPr>
          <p:cNvSpPr/>
          <p:nvPr userDrawn="1"/>
        </p:nvSpPr>
        <p:spPr>
          <a:xfrm>
            <a:off x="486196" y="901700"/>
            <a:ext cx="8162503" cy="2606675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1">
            <a:extLst>
              <a:ext uri="{FF2B5EF4-FFF2-40B4-BE49-F238E27FC236}">
                <a16:creationId xmlns:a16="http://schemas.microsoft.com/office/drawing/2014/main" id="{8E2AF2DE-5C87-4EAF-BF66-B97003E95967}"/>
              </a:ext>
            </a:extLst>
          </p:cNvPr>
          <p:cNvSpPr/>
          <p:nvPr userDrawn="1"/>
        </p:nvSpPr>
        <p:spPr>
          <a:xfrm>
            <a:off x="8801101" y="3704416"/>
            <a:ext cx="2911474" cy="2606675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17">
            <a:extLst>
              <a:ext uri="{FF2B5EF4-FFF2-40B4-BE49-F238E27FC236}">
                <a16:creationId xmlns:a16="http://schemas.microsoft.com/office/drawing/2014/main" id="{12161821-918A-4DAD-85BC-6B70A781E53E}"/>
              </a:ext>
            </a:extLst>
          </p:cNvPr>
          <p:cNvSpPr/>
          <p:nvPr userDrawn="1"/>
        </p:nvSpPr>
        <p:spPr>
          <a:xfrm>
            <a:off x="8801101" y="901700"/>
            <a:ext cx="2911474" cy="2606675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774847" y="1011637"/>
            <a:ext cx="7585200" cy="23868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5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774848" y="3814353"/>
            <a:ext cx="7585200" cy="23868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22939965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рафики и данные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: скругленные углы 7">
            <a:extLst>
              <a:ext uri="{FF2B5EF4-FFF2-40B4-BE49-F238E27FC236}">
                <a16:creationId xmlns:a16="http://schemas.microsoft.com/office/drawing/2014/main" id="{DEB5AEF3-F966-4D54-95E5-7095526BCCC4}"/>
              </a:ext>
            </a:extLst>
          </p:cNvPr>
          <p:cNvSpPr/>
          <p:nvPr userDrawn="1"/>
        </p:nvSpPr>
        <p:spPr>
          <a:xfrm>
            <a:off x="6095999" y="1572499"/>
            <a:ext cx="5621813" cy="4192268"/>
          </a:xfrm>
          <a:prstGeom prst="roundRect">
            <a:avLst>
              <a:gd name="adj" fmla="val 552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6311900" y="1853081"/>
            <a:ext cx="5043600" cy="3564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3119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рафики и данные 10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6" name="Прямоугольник: скругленные углы 7">
            <a:extLst>
              <a:ext uri="{FF2B5EF4-FFF2-40B4-BE49-F238E27FC236}">
                <a16:creationId xmlns:a16="http://schemas.microsoft.com/office/drawing/2014/main" id="{DEB5AEF3-F966-4D54-95E5-7095526BCCC4}"/>
              </a:ext>
            </a:extLst>
          </p:cNvPr>
          <p:cNvSpPr/>
          <p:nvPr userDrawn="1"/>
        </p:nvSpPr>
        <p:spPr>
          <a:xfrm>
            <a:off x="6095999" y="1572499"/>
            <a:ext cx="5621813" cy="4192268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6311900" y="1853081"/>
            <a:ext cx="5043600" cy="3564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19257248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рафики и данные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Прямоугольник: скругленные углы 35">
            <a:extLst>
              <a:ext uri="{FF2B5EF4-FFF2-40B4-BE49-F238E27FC236}">
                <a16:creationId xmlns:a16="http://schemas.microsoft.com/office/drawing/2014/main" id="{DA0CACC1-C1B3-4839-BBE8-3DD0EEA4205C}"/>
              </a:ext>
            </a:extLst>
          </p:cNvPr>
          <p:cNvSpPr/>
          <p:nvPr userDrawn="1"/>
        </p:nvSpPr>
        <p:spPr>
          <a:xfrm>
            <a:off x="486198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38">
            <a:extLst>
              <a:ext uri="{FF2B5EF4-FFF2-40B4-BE49-F238E27FC236}">
                <a16:creationId xmlns:a16="http://schemas.microsoft.com/office/drawing/2014/main" id="{60F71AB8-D77B-4872-A40D-FA29CC48C7A9}"/>
              </a:ext>
            </a:extLst>
          </p:cNvPr>
          <p:cNvSpPr/>
          <p:nvPr userDrawn="1"/>
        </p:nvSpPr>
        <p:spPr>
          <a:xfrm>
            <a:off x="3396614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углы 41">
            <a:extLst>
              <a:ext uri="{FF2B5EF4-FFF2-40B4-BE49-F238E27FC236}">
                <a16:creationId xmlns:a16="http://schemas.microsoft.com/office/drawing/2014/main" id="{4FD9268D-798C-4A59-9503-0BEA46A6C9D6}"/>
              </a:ext>
            </a:extLst>
          </p:cNvPr>
          <p:cNvSpPr/>
          <p:nvPr userDrawn="1"/>
        </p:nvSpPr>
        <p:spPr>
          <a:xfrm>
            <a:off x="6307030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: скругленные углы 44">
            <a:extLst>
              <a:ext uri="{FF2B5EF4-FFF2-40B4-BE49-F238E27FC236}">
                <a16:creationId xmlns:a16="http://schemas.microsoft.com/office/drawing/2014/main" id="{EC6BCB17-5AE8-4923-AAAD-470F0F68CCB6}"/>
              </a:ext>
            </a:extLst>
          </p:cNvPr>
          <p:cNvSpPr/>
          <p:nvPr userDrawn="1"/>
        </p:nvSpPr>
        <p:spPr>
          <a:xfrm>
            <a:off x="9217447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537601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6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3451404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7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6361820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8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9272237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327641643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рафики и данные 1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8" name="Прямоугольник: скругленные углы 35">
            <a:extLst>
              <a:ext uri="{FF2B5EF4-FFF2-40B4-BE49-F238E27FC236}">
                <a16:creationId xmlns:a16="http://schemas.microsoft.com/office/drawing/2014/main" id="{DA0CACC1-C1B3-4839-BBE8-3DD0EEA4205C}"/>
              </a:ext>
            </a:extLst>
          </p:cNvPr>
          <p:cNvSpPr/>
          <p:nvPr userDrawn="1"/>
        </p:nvSpPr>
        <p:spPr>
          <a:xfrm>
            <a:off x="482811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38">
            <a:extLst>
              <a:ext uri="{FF2B5EF4-FFF2-40B4-BE49-F238E27FC236}">
                <a16:creationId xmlns:a16="http://schemas.microsoft.com/office/drawing/2014/main" id="{60F71AB8-D77B-4872-A40D-FA29CC48C7A9}"/>
              </a:ext>
            </a:extLst>
          </p:cNvPr>
          <p:cNvSpPr/>
          <p:nvPr userDrawn="1"/>
        </p:nvSpPr>
        <p:spPr>
          <a:xfrm>
            <a:off x="3396614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41">
            <a:extLst>
              <a:ext uri="{FF2B5EF4-FFF2-40B4-BE49-F238E27FC236}">
                <a16:creationId xmlns:a16="http://schemas.microsoft.com/office/drawing/2014/main" id="{4FD9268D-798C-4A59-9503-0BEA46A6C9D6}"/>
              </a:ext>
            </a:extLst>
          </p:cNvPr>
          <p:cNvSpPr/>
          <p:nvPr userDrawn="1"/>
        </p:nvSpPr>
        <p:spPr>
          <a:xfrm>
            <a:off x="6307030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44">
            <a:extLst>
              <a:ext uri="{FF2B5EF4-FFF2-40B4-BE49-F238E27FC236}">
                <a16:creationId xmlns:a16="http://schemas.microsoft.com/office/drawing/2014/main" id="{EC6BCB17-5AE8-4923-AAAD-470F0F68CCB6}"/>
              </a:ext>
            </a:extLst>
          </p:cNvPr>
          <p:cNvSpPr/>
          <p:nvPr userDrawn="1"/>
        </p:nvSpPr>
        <p:spPr>
          <a:xfrm>
            <a:off x="9217447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537601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8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3451404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9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6361820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0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9272237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11146445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Цитата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5DE0B48-710B-4E06-B8CC-F622CE9EE0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332579" y="1089464"/>
            <a:ext cx="7526843" cy="489635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138F27F-67C1-4DFB-8B2B-6907EDF1BE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03022" y="2233611"/>
            <a:ext cx="558801" cy="419101"/>
          </a:xfrm>
          <a:prstGeom prst="rect">
            <a:avLst/>
          </a:prstGeom>
        </p:spPr>
      </p:pic>
      <p:sp>
        <p:nvSpPr>
          <p:cNvPr id="26" name="Рисунок 2"/>
          <p:cNvSpPr>
            <a:spLocks noGrp="1"/>
          </p:cNvSpPr>
          <p:nvPr>
            <p:ph type="pic" sz="quarter" idx="17" hasCustomPrompt="1"/>
          </p:nvPr>
        </p:nvSpPr>
        <p:spPr>
          <a:xfrm>
            <a:off x="7119098" y="4225542"/>
            <a:ext cx="2019600" cy="2019600"/>
          </a:xfrm>
          <a:prstGeom prst="ellipse">
            <a:avLst/>
          </a:prstGeom>
          <a:blipFill dpi="0" rotWithShape="1">
            <a:blip r:embed="rId9"/>
            <a:srcRect/>
            <a:tile tx="0" ty="0" sx="100000" sy="100000" flip="none" algn="ctr"/>
          </a:blipFill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008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ыбра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6772913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Цитата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5DE0B48-710B-4E06-B8CC-F622CE9EE0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332579" y="1089464"/>
            <a:ext cx="7526843" cy="489635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BFDBB4D-6277-40DB-9378-B07D01FF2D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03022" y="2233611"/>
            <a:ext cx="558801" cy="419101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6" name="Рисунок 2"/>
          <p:cNvSpPr>
            <a:spLocks noGrp="1"/>
          </p:cNvSpPr>
          <p:nvPr>
            <p:ph type="pic" sz="quarter" idx="17" hasCustomPrompt="1"/>
          </p:nvPr>
        </p:nvSpPr>
        <p:spPr>
          <a:xfrm>
            <a:off x="7119098" y="4225542"/>
            <a:ext cx="2019600" cy="2019600"/>
          </a:xfrm>
          <a:prstGeom prst="ellipse">
            <a:avLst/>
          </a:prstGeom>
          <a:blipFill dpi="0" rotWithShape="1">
            <a:blip r:embed="rId9"/>
            <a:srcRect/>
            <a:tile tx="0" ty="0" sx="100000" sy="100000" flip="none" algn="ctr"/>
          </a:blipFill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008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ыбра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8629750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Цитата 1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5DE0B48-710B-4E06-B8CC-F622CE9EE0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332579" y="1089464"/>
            <a:ext cx="7526843" cy="489635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138F27F-67C1-4DFB-8B2B-6907EDF1BE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03022" y="2233611"/>
            <a:ext cx="558801" cy="419101"/>
          </a:xfrm>
          <a:prstGeom prst="rect">
            <a:avLst/>
          </a:prstGeom>
        </p:spPr>
      </p:pic>
      <p:sp>
        <p:nvSpPr>
          <p:cNvPr id="26" name="Рисунок 2"/>
          <p:cNvSpPr>
            <a:spLocks noGrp="1"/>
          </p:cNvSpPr>
          <p:nvPr>
            <p:ph type="pic" sz="quarter" idx="17" hasCustomPrompt="1"/>
          </p:nvPr>
        </p:nvSpPr>
        <p:spPr>
          <a:xfrm>
            <a:off x="7119098" y="4225542"/>
            <a:ext cx="2019600" cy="2019600"/>
          </a:xfrm>
          <a:prstGeom prst="ellipse">
            <a:avLst/>
          </a:prstGeom>
          <a:blipFill dpi="0" rotWithShape="1">
            <a:blip r:embed="rId7"/>
            <a:srcRect/>
            <a:tile tx="0" ty="0" sx="100000" sy="100000" flip="none" algn="ctr"/>
          </a:blipFill>
          <a:effectLst>
            <a:outerShdw blurRad="381000" dist="88900" dir="8100000" algn="tr" rotWithShape="0">
              <a:srgbClr val="73B0FF">
                <a:alpha val="70000"/>
              </a:srgbClr>
            </a:outerShdw>
          </a:effectLst>
        </p:spPr>
        <p:txBody>
          <a:bodyPr tIns="1008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ыбрать изображение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CE072D-7301-63EE-7E5E-59DD0A61B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C0ADBCE-9AB9-180E-DBC3-E1DBB83755F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Номер слайда 2">
            <a:extLst>
              <a:ext uri="{FF2B5EF4-FFF2-40B4-BE49-F238E27FC236}">
                <a16:creationId xmlns:a16="http://schemas.microsoft.com/office/drawing/2014/main" id="{14F4F747-C182-4AC6-7B53-F3E642BA21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03323" y="6311047"/>
            <a:ext cx="514489" cy="286603"/>
          </a:xfrm>
        </p:spPr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00060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Цитата 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5DE0B48-710B-4E06-B8CC-F622CE9EE0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332579" y="1089464"/>
            <a:ext cx="7526843" cy="489635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BFDBB4D-6277-40DB-9378-B07D01FF2D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03022" y="2233611"/>
            <a:ext cx="558801" cy="41910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2" name="Номер слайда 2">
            <a:extLst>
              <a:ext uri="{FF2B5EF4-FFF2-40B4-BE49-F238E27FC236}">
                <a16:creationId xmlns:a16="http://schemas.microsoft.com/office/drawing/2014/main" id="{97187552-510B-B748-D22C-E20AC64B6A8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03323" y="6311047"/>
            <a:ext cx="514489" cy="286603"/>
          </a:xfrm>
        </p:spPr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1681B71C-2C95-F684-C950-4944A93391F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19098" y="4225542"/>
            <a:ext cx="2019600" cy="2019600"/>
          </a:xfrm>
          <a:prstGeom prst="ellipse">
            <a:avLst/>
          </a:prstGeom>
          <a:blipFill dpi="0" rotWithShape="1">
            <a:blip r:embed="rId7"/>
            <a:srcRect/>
            <a:tile tx="0" ty="0" sx="100000" sy="100000" flip="none" algn="ctr"/>
          </a:blipFill>
          <a:effectLst>
            <a:outerShdw blurRad="381000" dist="88900" dir="8100000" algn="tr" rotWithShape="0">
              <a:srgbClr val="73B0FF">
                <a:alpha val="70000"/>
              </a:srgbClr>
            </a:outerShdw>
          </a:effectLst>
        </p:spPr>
        <p:txBody>
          <a:bodyPr tIns="1008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ыбрать изображение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C51A759-51C3-4F2B-EB55-992D1F134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5C00367-7163-78D6-4AF2-DF583E65B8F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8940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лжностные лиц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FC6644-8BA0-4FCB-85D8-48A90BF074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9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2925748" y="1630195"/>
            <a:ext cx="2851200" cy="28512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0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415052" y="1630195"/>
            <a:ext cx="2851200" cy="28512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980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н с нумерацией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7F824F5-4A00-463B-A7A0-A2CE362E79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162E93D-AAB9-4557-BEF6-EF46CD6E1C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2275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лжностные лица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8149E43-DCB1-4C91-8A90-7399A022C8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15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2925748" y="1630195"/>
            <a:ext cx="2851200" cy="28512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6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415052" y="1630195"/>
            <a:ext cx="2851200" cy="28512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2672451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лжностные лиц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FC6644-8BA0-4FCB-85D8-48A90BF074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9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677507" y="1825152"/>
            <a:ext cx="2458800" cy="24588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0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055693" y="1825152"/>
            <a:ext cx="2458800" cy="24588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4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866600" y="1825152"/>
            <a:ext cx="2458800" cy="24588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09748606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лжностные лица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8149E43-DCB1-4C91-8A90-7399A022C8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11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677507" y="1825152"/>
            <a:ext cx="2458800" cy="24588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3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055693" y="1825152"/>
            <a:ext cx="2458800" cy="24588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7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866600" y="1825152"/>
            <a:ext cx="2458800" cy="24588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1800029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лжностные лиц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FC6644-8BA0-4FCB-85D8-48A90BF074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9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86196" y="2093144"/>
            <a:ext cx="1958400" cy="19584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152000" rIns="0" bIns="0" rtlCol="0" anchor="ctr">
            <a:normAutofit/>
          </a:bodyPr>
          <a:lstStyle>
            <a:lvl1pPr>
              <a:defRPr lang="ru-RU" sz="110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0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758674" y="2093144"/>
            <a:ext cx="1958400" cy="19584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152000" rIns="0" bIns="0" rtlCol="0" anchor="ctr">
            <a:normAutofit/>
          </a:bodyPr>
          <a:lstStyle>
            <a:lvl1pPr>
              <a:defRPr lang="ru-RU" sz="110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4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667848" y="2093144"/>
            <a:ext cx="1958400" cy="19584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152000" rIns="0" bIns="0" rtlCol="0" anchor="ctr">
            <a:normAutofit/>
          </a:bodyPr>
          <a:lstStyle>
            <a:lvl1pPr>
              <a:defRPr lang="ru-RU" sz="110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7" name="Рисунок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577022" y="2093144"/>
            <a:ext cx="1958400" cy="19584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152000" rIns="0" bIns="0" rtlCol="0" anchor="ctr">
            <a:normAutofit/>
          </a:bodyPr>
          <a:lstStyle>
            <a:lvl1pPr>
              <a:defRPr lang="ru-RU" sz="110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7591928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лжностные лица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8149E43-DCB1-4C91-8A90-7399A022C8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15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86196" y="2093144"/>
            <a:ext cx="1958400" cy="19584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8000" rtlCol="0" anchor="ctr">
            <a:noAutofit/>
          </a:bodyPr>
          <a:lstStyle>
            <a:lvl1pPr marL="0" indent="0">
              <a:buNone/>
              <a:defRPr lang="ru-RU" sz="10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6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758674" y="2093144"/>
            <a:ext cx="1958400" cy="19584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8000" rtlCol="0" anchor="ctr">
            <a:noAutofit/>
          </a:bodyPr>
          <a:lstStyle>
            <a:lvl1pPr marL="0" indent="0">
              <a:buNone/>
              <a:defRPr lang="ru-RU" sz="10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8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667848" y="2093144"/>
            <a:ext cx="1958400" cy="19584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8000" rtlCol="0" anchor="ctr">
            <a:noAutofit/>
          </a:bodyPr>
          <a:lstStyle>
            <a:lvl1pPr marL="0" indent="0">
              <a:buNone/>
              <a:defRPr lang="ru-RU" sz="10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9" name="Рисунок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577022" y="2093144"/>
            <a:ext cx="1958400" cy="19584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8000" rtlCol="0" anchor="ctr">
            <a:noAutofit/>
          </a:bodyPr>
          <a:lstStyle>
            <a:lvl1pPr marL="0" indent="0">
              <a:buNone/>
              <a:defRPr lang="ru-RU" sz="10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3440525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лжностные лица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FC6644-8BA0-4FCB-85D8-48A90BF074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2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739109" y="1525666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3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386094" y="1525666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5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837099" y="1525666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6" name="Рисунок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288104" y="1525666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8" name="Рисунок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1739109" y="4179137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9" name="Рисунок 2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9386094" y="4179137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20" name="Рисунок 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837099" y="4179137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21" name="Рисунок 2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288104" y="4179137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6946643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лжностные лица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8149E43-DCB1-4C91-8A90-7399A022C8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29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739109" y="1525666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0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386094" y="1525666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1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837099" y="1525666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2" name="Рисунок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288104" y="1525666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7" name="Рисунок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1739109" y="4179137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8" name="Рисунок 2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9386094" y="4179137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9" name="Рисунок 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837099" y="4179137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40" name="Рисунок 2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288104" y="4179137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4622262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Имидж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2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297408"/>
            <a:ext cx="7344000" cy="42624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0769267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Имидж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5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297408"/>
            <a:ext cx="7335838" cy="42624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4445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2513175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Имидж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2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057666"/>
            <a:ext cx="5392800" cy="31284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6320446" y="1057666"/>
            <a:ext cx="5392800" cy="31284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544580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с нумерацией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E3F024E-E13D-4715-AA4D-FE61F1F71E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FB4A63C-9740-4B8A-9A15-2BE05BABF8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524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Имидж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057666"/>
            <a:ext cx="5392800" cy="31284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6320446" y="1057666"/>
            <a:ext cx="5392800" cy="31284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278399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Имидж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7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9" name="Рисунок 5"/>
          <p:cNvSpPr>
            <a:spLocks noGrp="1"/>
          </p:cNvSpPr>
          <p:nvPr>
            <p:ph type="pic" sz="quarter" idx="17" hasCustomPrompt="1"/>
          </p:nvPr>
        </p:nvSpPr>
        <p:spPr>
          <a:xfrm>
            <a:off x="8273680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8" hasCustomPrompt="1"/>
          </p:nvPr>
        </p:nvSpPr>
        <p:spPr>
          <a:xfrm>
            <a:off x="4381315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5798679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Имидж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7" hasCustomPrompt="1"/>
          </p:nvPr>
        </p:nvSpPr>
        <p:spPr>
          <a:xfrm>
            <a:off x="8273680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8" hasCustomPrompt="1"/>
          </p:nvPr>
        </p:nvSpPr>
        <p:spPr>
          <a:xfrm>
            <a:off x="4381315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2590615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Имидж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001000" y="1052513"/>
            <a:ext cx="8190000" cy="4752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15497859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Имидж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001000" y="1052513"/>
            <a:ext cx="8190000" cy="47520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483585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2478579" y="1594799"/>
            <a:ext cx="7411702" cy="4823769"/>
          </a:xfrm>
          <a:prstGeom prst="rect">
            <a:avLst/>
          </a:prstGeom>
        </p:spPr>
      </p:pic>
      <p:sp>
        <p:nvSpPr>
          <p:cNvPr id="19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3801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5172874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961481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91250663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478579" y="1594799"/>
            <a:ext cx="7411702" cy="4823769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3801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5172874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961481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1313567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2478579" y="1595952"/>
            <a:ext cx="7411702" cy="4821463"/>
          </a:xfrm>
          <a:prstGeom prst="rect">
            <a:avLst/>
          </a:prstGeom>
        </p:spPr>
      </p:pic>
      <p:sp>
        <p:nvSpPr>
          <p:cNvPr id="7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3801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5172874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9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961481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193705168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478579" y="1595952"/>
            <a:ext cx="7411702" cy="4821463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3801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508000" dist="63500" dir="2700000" algn="tl" rotWithShape="0">
              <a:prstClr val="black">
                <a:alpha val="10000"/>
              </a:prst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5172874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508000" dist="63500" dir="2700000" algn="tl" rotWithShape="0">
              <a:prstClr val="black">
                <a:alpha val="10000"/>
              </a:prst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961481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508000" dist="63500" dir="2700000" algn="tl" rotWithShape="0">
              <a:prstClr val="black">
                <a:alpha val="10000"/>
              </a:prst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32297358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368000" y="1681389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2744094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Раздел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92C2900-829E-4F4D-A685-A45E97C0B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7622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5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368788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2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89A9B72-C171-4D00-A13F-CCF1F963A2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Текст 11">
            <a:extLst>
              <a:ext uri="{FF2B5EF4-FFF2-40B4-BE49-F238E27FC236}">
                <a16:creationId xmlns:a16="http://schemas.microsoft.com/office/drawing/2014/main" id="{B16C669C-A93F-34F8-E67E-992C8B8C7E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6" name="Номер слайда 6">
            <a:extLst>
              <a:ext uri="{FF2B5EF4-FFF2-40B4-BE49-F238E27FC236}">
                <a16:creationId xmlns:a16="http://schemas.microsoft.com/office/drawing/2014/main" id="{9A99EA71-7A42-AF06-578E-AC75733C2C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57615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368788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8950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31776775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6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368788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8950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14350801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56848835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7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19881727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01778467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8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57619992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77366832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9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6265564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5089510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Раздел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92C2900-829E-4F4D-A685-A45E97C0B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615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0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03573892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9075231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8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6727010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30672132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1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9075231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8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6727010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93806326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8256575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57684824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2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8256575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08257587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7" y="1844675"/>
            <a:ext cx="7333787" cy="2772000"/>
          </a:xfrm>
          <a:prstGeom prst="roundRect">
            <a:avLst>
              <a:gd name="adj" fmla="val 3533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77924711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3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7" y="1844675"/>
            <a:ext cx="7333787" cy="2772000"/>
          </a:xfrm>
          <a:prstGeom prst="roundRect">
            <a:avLst>
              <a:gd name="adj" fmla="val 3533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4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02136422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Медиа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488950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8256575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17258886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Медиа 14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488950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8256575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8265220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139168" y="1454816"/>
            <a:ext cx="7913665" cy="5148000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771839" y="1832344"/>
            <a:ext cx="6640015" cy="4067045"/>
          </a:xfrm>
          <a:prstGeom prst="roundRect">
            <a:avLst>
              <a:gd name="adj" fmla="val 2457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rgbClr val="73B0FF">
                <a:alpha val="50000"/>
              </a:srgb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33213292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008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139168" y="1460155"/>
            <a:ext cx="7913665" cy="5148000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771839" y="1832344"/>
            <a:ext cx="6640015" cy="4067045"/>
          </a:xfrm>
          <a:prstGeom prst="roundRect">
            <a:avLst>
              <a:gd name="adj" fmla="val 2457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24721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2478579" y="1594799"/>
            <a:ext cx="7411702" cy="4823769"/>
          </a:xfrm>
          <a:prstGeom prst="rect">
            <a:avLst/>
          </a:prstGeom>
        </p:spPr>
      </p:pic>
      <p:sp>
        <p:nvSpPr>
          <p:cNvPr id="14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902689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rgbClr val="73B0FF">
                <a:alpha val="50000"/>
              </a:srgb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6783775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rgbClr val="73B0FF">
                <a:alpha val="50000"/>
              </a:srgb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354886297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478579" y="1594799"/>
            <a:ext cx="7411702" cy="4823769"/>
          </a:xfrm>
          <a:prstGeom prst="rect">
            <a:avLst/>
          </a:prstGeom>
        </p:spPr>
      </p:pic>
      <p:sp>
        <p:nvSpPr>
          <p:cNvPr id="15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902689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6783775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3598406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88950" y="1847522"/>
            <a:ext cx="6406133" cy="4169313"/>
          </a:xfrm>
          <a:prstGeom prst="rect">
            <a:avLst/>
          </a:prstGeom>
        </p:spPr>
      </p:pic>
      <p:sp>
        <p:nvSpPr>
          <p:cNvPr id="14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902689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rgbClr val="73B0FF">
                <a:alpha val="50000"/>
              </a:srgbClr>
            </a:outerShdw>
          </a:effectLst>
        </p:spPr>
        <p:txBody>
          <a:bodyPr vert="horz" lIns="0" tIns="158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351123690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20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89935" y="1844675"/>
            <a:ext cx="6406133" cy="4169313"/>
          </a:xfrm>
          <a:prstGeom prst="rect">
            <a:avLst/>
          </a:prstGeom>
        </p:spPr>
      </p:pic>
      <p:sp>
        <p:nvSpPr>
          <p:cNvPr id="15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902689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7716681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88950" y="2252060"/>
            <a:ext cx="5201531" cy="3383702"/>
          </a:xfrm>
          <a:prstGeom prst="rect">
            <a:avLst/>
          </a:prstGeom>
        </p:spPr>
      </p:pic>
      <p:sp>
        <p:nvSpPr>
          <p:cNvPr id="10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9056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75810315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2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88928" y="2252060"/>
            <a:ext cx="5201989" cy="3384000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9056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2956052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F611E-0F24-429D-BCBA-5A371A2EEF7A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FB743-FEC2-4F92-BEEA-3057AB2B70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298471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F611E-0F24-429D-BCBA-5A371A2EEF7A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FB743-FEC2-4F92-BEEA-3057AB2B70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700347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F611E-0F24-429D-BCBA-5A371A2EEF7A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FB743-FEC2-4F92-BEEA-3057AB2B70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08797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в одну строку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410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F611E-0F24-429D-BCBA-5A371A2EEF7A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FB743-FEC2-4F92-BEEA-3057AB2B70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022454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F611E-0F24-429D-BCBA-5A371A2EEF7A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FB743-FEC2-4F92-BEEA-3057AB2B70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308322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F611E-0F24-429D-BCBA-5A371A2EEF7A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FB743-FEC2-4F92-BEEA-3057AB2B70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833055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F611E-0F24-429D-BCBA-5A371A2EEF7A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FB743-FEC2-4F92-BEEA-3057AB2B70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507476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F611E-0F24-429D-BCBA-5A371A2EEF7A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FB743-FEC2-4F92-BEEA-3057AB2B70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307594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F611E-0F24-429D-BCBA-5A371A2EEF7A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FB743-FEC2-4F92-BEEA-3057AB2B70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5718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F611E-0F24-429D-BCBA-5A371A2EEF7A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FB743-FEC2-4F92-BEEA-3057AB2B70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282324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F611E-0F24-429D-BCBA-5A371A2EEF7A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FB743-FEC2-4F92-BEEA-3057AB2B70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735514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5792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Узкая графика. Синий фон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37A98B0-9C0D-4077-BE41-961AF4D2C8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488950" y="2828129"/>
            <a:ext cx="7920000" cy="1600438"/>
          </a:xfrm>
        </p:spPr>
        <p:txBody>
          <a:bodyPr wrap="square" lIns="0" tIns="0" rIns="0" bIns="0" anchor="ctr">
            <a:spAutoFit/>
          </a:bodyPr>
          <a:lstStyle>
            <a:lvl1pPr>
              <a:defRPr lang="ru-RU" sz="5200">
                <a:solidFill>
                  <a:srgbClr val="FFFFFF"/>
                </a:solidFill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91440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ru-RU" dirty="0" smtClean="0"/>
              <a:t>Общебанковский шаблон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60679118-B033-4C72-AA75-23778815F527}"/>
              </a:ext>
            </a:extLst>
          </p:cNvPr>
          <p:cNvSpPr txBox="1">
            <a:spLocks/>
          </p:cNvSpPr>
          <p:nvPr userDrawn="1"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125501106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6" name="Прямоугольник: скругленные углы 19">
            <a:extLst>
              <a:ext uri="{FF2B5EF4-FFF2-40B4-BE49-F238E27FC236}">
                <a16:creationId xmlns:a16="http://schemas.microsoft.com/office/drawing/2014/main" id="{02B0A353-BD63-460A-9BC0-CC374568DACC}"/>
              </a:ext>
            </a:extLst>
          </p:cNvPr>
          <p:cNvSpPr/>
          <p:nvPr userDrawn="1"/>
        </p:nvSpPr>
        <p:spPr>
          <a:xfrm>
            <a:off x="8077200" y="3302002"/>
            <a:ext cx="3781425" cy="2927959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: скругленные углы 10">
            <a:extLst>
              <a:ext uri="{FF2B5EF4-FFF2-40B4-BE49-F238E27FC236}">
                <a16:creationId xmlns:a16="http://schemas.microsoft.com/office/drawing/2014/main" id="{F9B6AA45-2A8C-4969-AC3D-6EC3ACFE95EC}"/>
              </a:ext>
            </a:extLst>
          </p:cNvPr>
          <p:cNvSpPr/>
          <p:nvPr userDrawn="1"/>
        </p:nvSpPr>
        <p:spPr>
          <a:xfrm>
            <a:off x="4204492" y="1063625"/>
            <a:ext cx="3781425" cy="2138367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8">
            <a:extLst>
              <a:ext uri="{FF2B5EF4-FFF2-40B4-BE49-F238E27FC236}">
                <a16:creationId xmlns:a16="http://schemas.microsoft.com/office/drawing/2014/main" id="{69C268C1-FA58-45D0-8861-22E87EFC72A5}"/>
              </a:ext>
            </a:extLst>
          </p:cNvPr>
          <p:cNvSpPr/>
          <p:nvPr userDrawn="1"/>
        </p:nvSpPr>
        <p:spPr>
          <a:xfrm>
            <a:off x="8077200" y="1063625"/>
            <a:ext cx="3781425" cy="2138367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11">
            <a:extLst>
              <a:ext uri="{FF2B5EF4-FFF2-40B4-BE49-F238E27FC236}">
                <a16:creationId xmlns:a16="http://schemas.microsoft.com/office/drawing/2014/main" id="{41C49358-DEBC-41E6-B32D-4166FAA7DEE7}"/>
              </a:ext>
            </a:extLst>
          </p:cNvPr>
          <p:cNvSpPr/>
          <p:nvPr userDrawn="1"/>
        </p:nvSpPr>
        <p:spPr>
          <a:xfrm>
            <a:off x="4204492" y="3302002"/>
            <a:ext cx="3781425" cy="2927959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1">
            <a:extLst>
              <a:ext uri="{FF2B5EF4-FFF2-40B4-BE49-F238E27FC236}">
                <a16:creationId xmlns:a16="http://schemas.microsoft.com/office/drawing/2014/main" id="{D15722C8-C181-4D21-9A44-1C84F0EC5044}"/>
              </a:ext>
            </a:extLst>
          </p:cNvPr>
          <p:cNvSpPr/>
          <p:nvPr userDrawn="1"/>
        </p:nvSpPr>
        <p:spPr>
          <a:xfrm>
            <a:off x="486197" y="1063625"/>
            <a:ext cx="3628603" cy="5166335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647338" y="1212545"/>
            <a:ext cx="3297600" cy="4752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4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4366417" y="1142208"/>
            <a:ext cx="3456000" cy="1980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6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4366417" y="3577738"/>
            <a:ext cx="3456000" cy="2376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7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8247063" y="1142208"/>
            <a:ext cx="3456000" cy="1980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8" name="Диаграмма 2"/>
          <p:cNvSpPr>
            <a:spLocks noGrp="1"/>
          </p:cNvSpPr>
          <p:nvPr>
            <p:ph type="chart" sz="quarter" idx="21" hasCustomPrompt="1"/>
          </p:nvPr>
        </p:nvSpPr>
        <p:spPr>
          <a:xfrm>
            <a:off x="8247063" y="3577738"/>
            <a:ext cx="3456000" cy="2376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3121092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Уз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88950" y="3196674"/>
            <a:ext cx="7796675" cy="800219"/>
          </a:xfrm>
        </p:spPr>
        <p:txBody>
          <a:bodyPr anchor="ctr" anchorCtr="0"/>
          <a:lstStyle>
            <a:lvl1pPr>
              <a:lnSpc>
                <a:spcPct val="100000"/>
              </a:lnSpc>
              <a:defRPr lang="ru-RU" sz="5200" b="1" kern="1200">
                <a:solidFill>
                  <a:schemeClr val="accent1"/>
                </a:solidFill>
                <a:latin typeface="Cera CY" panose="00000500000000000000" pitchFamily="2" charset="-52"/>
                <a:ea typeface="+mn-ea"/>
                <a:cs typeface="+mn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68683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Широ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88951" y="2403823"/>
            <a:ext cx="7335838" cy="1600438"/>
          </a:xfrm>
        </p:spPr>
        <p:txBody>
          <a:bodyPr wrap="square" lIns="0" tIns="0" rIns="0" bIns="0" anchor="ctr">
            <a:spAutoFit/>
          </a:bodyPr>
          <a:lstStyle>
            <a:lvl1pPr marL="0" marR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ru-RU" sz="5200" i="0" u="none" strike="noStrike" cap="none" spc="0" normalizeH="0" baseline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Заголовок</a:t>
            </a:r>
            <a:b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</a:b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в две строк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362450"/>
            <a:ext cx="7345364" cy="332399"/>
          </a:xfrm>
        </p:spPr>
        <p:txBody>
          <a:bodyPr wrap="square">
            <a:spAutoFit/>
          </a:bodyPr>
          <a:lstStyle>
            <a:lvl1pPr marL="0" indent="0">
              <a:buNone/>
              <a:defRPr kumimoji="0" lang="ru-RU" sz="2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0">
              <a:buNone/>
              <a:defRPr lang="ru-RU" sz="1800" dirty="0" smtClean="0"/>
            </a:lvl2pPr>
            <a:lvl3pPr marL="685800" indent="0">
              <a:buNone/>
              <a:defRPr lang="ru-RU" sz="1800" dirty="0" smtClean="0"/>
            </a:lvl3pPr>
            <a:lvl4pPr marL="1143000" indent="0">
              <a:buNone/>
              <a:defRPr lang="ru-RU" dirty="0" smtClean="0"/>
            </a:lvl4pPr>
            <a:lvl5pPr marL="1600200" indent="0">
              <a:buNone/>
              <a:defRPr lang="ru-RU" dirty="0"/>
            </a:lvl5pPr>
          </a:lstStyle>
          <a:p>
            <a:pPr marL="0" lvl="0"/>
            <a:r>
              <a:rPr lang="ru-RU" dirty="0" smtClean="0"/>
              <a:t>Подзаголовок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B47B719D-92D0-484E-9A50-036288FCCD05}"/>
              </a:ext>
            </a:extLst>
          </p:cNvPr>
          <p:cNvSpPr txBox="1">
            <a:spLocks/>
          </p:cNvSpPr>
          <p:nvPr userDrawn="1"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3444856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88951" y="269875"/>
            <a:ext cx="7335838" cy="80021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5200" dirty="0">
                <a:latin typeface="Cera CY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5200" b="1" dirty="0" smtClean="0">
                <a:latin typeface="Cera CY" pitchFamily="2" charset="0"/>
              </a:rPr>
              <a:t>Содержание</a:t>
            </a:r>
            <a:endParaRPr lang="ru-RU" sz="5200" b="1" dirty="0">
              <a:latin typeface="Cera C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443785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короткий 52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A9D204E-05C2-E496-E231-674240D3B0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60350"/>
            <a:ext cx="9288463" cy="74789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5200" b="1"/>
            </a:lvl1pPr>
          </a:lstStyle>
          <a:p>
            <a:r>
              <a:rPr lang="ru-RU" dirty="0"/>
              <a:t>Заголовок короткий 52 пт</a:t>
            </a:r>
          </a:p>
        </p:txBody>
      </p:sp>
    </p:spTree>
    <p:extLst>
      <p:ext uri="{BB962C8B-B14F-4D97-AF65-F5344CB8AC3E}">
        <p14:creationId xmlns:p14="http://schemas.microsoft.com/office/powerpoint/2010/main" val="4170077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32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32 пт</a:t>
            </a:r>
          </a:p>
        </p:txBody>
      </p:sp>
    </p:spTree>
    <p:extLst>
      <p:ext uri="{BB962C8B-B14F-4D97-AF65-F5344CB8AC3E}">
        <p14:creationId xmlns:p14="http://schemas.microsoft.com/office/powerpoint/2010/main" val="801667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линный 20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79425" y="329674"/>
            <a:ext cx="9288463" cy="276999"/>
          </a:xfrm>
        </p:spPr>
        <p:txBody>
          <a:bodyPr/>
          <a:lstStyle>
            <a:lvl1pPr>
              <a:defRPr sz="2000"/>
            </a:lvl1pPr>
          </a:lstStyle>
          <a:p>
            <a:r>
              <a:rPr lang="ru-RU" dirty="0"/>
              <a:t>Заголовок длинный 20 пт</a:t>
            </a:r>
          </a:p>
        </p:txBody>
      </p:sp>
    </p:spTree>
    <p:extLst>
      <p:ext uri="{BB962C8B-B14F-4D97-AF65-F5344CB8AC3E}">
        <p14:creationId xmlns:p14="http://schemas.microsoft.com/office/powerpoint/2010/main" val="2230678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ороткий 52 пт (синий фон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7042CB-7170-9BB4-E87D-4ECAED79D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269875"/>
            <a:ext cx="9288463" cy="72019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5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52 пт</a:t>
            </a:r>
          </a:p>
        </p:txBody>
      </p:sp>
    </p:spTree>
    <p:extLst>
      <p:ext uri="{BB962C8B-B14F-4D97-AF65-F5344CB8AC3E}">
        <p14:creationId xmlns:p14="http://schemas.microsoft.com/office/powerpoint/2010/main" val="33708415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без лого/заголовка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253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Узкая графика. Синий фон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37A98B0-9C0D-4077-BE41-961AF4D2C8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488950" y="2828129"/>
            <a:ext cx="7920000" cy="1600438"/>
          </a:xfrm>
        </p:spPr>
        <p:txBody>
          <a:bodyPr wrap="square" lIns="0" tIns="0" rIns="0" bIns="0" anchor="ctr">
            <a:spAutoFit/>
          </a:bodyPr>
          <a:lstStyle>
            <a:lvl1pPr>
              <a:defRPr lang="ru-RU" sz="5200">
                <a:solidFill>
                  <a:srgbClr val="FFFFFF"/>
                </a:solidFill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91440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ru-RU" dirty="0" smtClean="0"/>
              <a:t>Общебанковский шаблон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60679118-B033-4C72-AA75-23778815F527}"/>
              </a:ext>
            </a:extLst>
          </p:cNvPr>
          <p:cNvSpPr txBox="1">
            <a:spLocks/>
          </p:cNvSpPr>
          <p:nvPr userDrawn="1"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122129778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Уз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88950" y="3196674"/>
            <a:ext cx="7796675" cy="800219"/>
          </a:xfrm>
        </p:spPr>
        <p:txBody>
          <a:bodyPr anchor="ctr" anchorCtr="0"/>
          <a:lstStyle>
            <a:lvl1pPr>
              <a:lnSpc>
                <a:spcPct val="100000"/>
              </a:lnSpc>
              <a:defRPr lang="ru-RU" sz="5200" b="1" kern="1200">
                <a:solidFill>
                  <a:schemeClr val="accent1"/>
                </a:solidFill>
                <a:latin typeface="Cera CY" panose="00000500000000000000" pitchFamily="2" charset="-52"/>
                <a:ea typeface="+mn-ea"/>
                <a:cs typeface="+mn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74680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Прямоугольник: скругленные углы 19">
            <a:extLst>
              <a:ext uri="{FF2B5EF4-FFF2-40B4-BE49-F238E27FC236}">
                <a16:creationId xmlns:a16="http://schemas.microsoft.com/office/drawing/2014/main" id="{02B0A353-BD63-460A-9BC0-CC374568DACC}"/>
              </a:ext>
            </a:extLst>
          </p:cNvPr>
          <p:cNvSpPr/>
          <p:nvPr userDrawn="1"/>
        </p:nvSpPr>
        <p:spPr>
          <a:xfrm>
            <a:off x="8077200" y="3302002"/>
            <a:ext cx="3781425" cy="2927959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10">
            <a:extLst>
              <a:ext uri="{FF2B5EF4-FFF2-40B4-BE49-F238E27FC236}">
                <a16:creationId xmlns:a16="http://schemas.microsoft.com/office/drawing/2014/main" id="{F9B6AA45-2A8C-4969-AC3D-6EC3ACFE95EC}"/>
              </a:ext>
            </a:extLst>
          </p:cNvPr>
          <p:cNvSpPr/>
          <p:nvPr userDrawn="1"/>
        </p:nvSpPr>
        <p:spPr>
          <a:xfrm>
            <a:off x="4204492" y="1063625"/>
            <a:ext cx="3781425" cy="2138367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8">
            <a:extLst>
              <a:ext uri="{FF2B5EF4-FFF2-40B4-BE49-F238E27FC236}">
                <a16:creationId xmlns:a16="http://schemas.microsoft.com/office/drawing/2014/main" id="{69C268C1-FA58-45D0-8861-22E87EFC72A5}"/>
              </a:ext>
            </a:extLst>
          </p:cNvPr>
          <p:cNvSpPr/>
          <p:nvPr userDrawn="1"/>
        </p:nvSpPr>
        <p:spPr>
          <a:xfrm>
            <a:off x="8077200" y="1063625"/>
            <a:ext cx="3781425" cy="2138367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11">
            <a:extLst>
              <a:ext uri="{FF2B5EF4-FFF2-40B4-BE49-F238E27FC236}">
                <a16:creationId xmlns:a16="http://schemas.microsoft.com/office/drawing/2014/main" id="{41C49358-DEBC-41E6-B32D-4166FAA7DEE7}"/>
              </a:ext>
            </a:extLst>
          </p:cNvPr>
          <p:cNvSpPr/>
          <p:nvPr userDrawn="1"/>
        </p:nvSpPr>
        <p:spPr>
          <a:xfrm>
            <a:off x="4204492" y="3302002"/>
            <a:ext cx="3781425" cy="2927959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1">
            <a:extLst>
              <a:ext uri="{FF2B5EF4-FFF2-40B4-BE49-F238E27FC236}">
                <a16:creationId xmlns:a16="http://schemas.microsoft.com/office/drawing/2014/main" id="{D15722C8-C181-4D21-9A44-1C84F0EC5044}"/>
              </a:ext>
            </a:extLst>
          </p:cNvPr>
          <p:cNvSpPr/>
          <p:nvPr userDrawn="1"/>
        </p:nvSpPr>
        <p:spPr>
          <a:xfrm>
            <a:off x="486197" y="1063625"/>
            <a:ext cx="3628603" cy="5166335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647338" y="1212545"/>
            <a:ext cx="3297600" cy="4752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6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4366417" y="1142208"/>
            <a:ext cx="3456000" cy="1980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7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4366417" y="3577738"/>
            <a:ext cx="3456000" cy="2376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8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8247063" y="1142208"/>
            <a:ext cx="3456000" cy="1980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9" name="Диаграмма 2"/>
          <p:cNvSpPr>
            <a:spLocks noGrp="1"/>
          </p:cNvSpPr>
          <p:nvPr>
            <p:ph type="chart" sz="quarter" idx="21" hasCustomPrompt="1"/>
          </p:nvPr>
        </p:nvSpPr>
        <p:spPr>
          <a:xfrm>
            <a:off x="8247063" y="3577738"/>
            <a:ext cx="3456000" cy="2376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2763881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Широ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88951" y="2403823"/>
            <a:ext cx="7335838" cy="1600438"/>
          </a:xfrm>
        </p:spPr>
        <p:txBody>
          <a:bodyPr wrap="square" lIns="0" tIns="0" rIns="0" bIns="0" anchor="ctr">
            <a:spAutoFit/>
          </a:bodyPr>
          <a:lstStyle>
            <a:lvl1pPr marL="0" marR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ru-RU" sz="5200" i="0" u="none" strike="noStrike" cap="none" spc="0" normalizeH="0" baseline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Заголовок</a:t>
            </a:r>
            <a:b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</a:b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в две строк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362450"/>
            <a:ext cx="7345364" cy="332399"/>
          </a:xfrm>
        </p:spPr>
        <p:txBody>
          <a:bodyPr wrap="square">
            <a:spAutoFit/>
          </a:bodyPr>
          <a:lstStyle>
            <a:lvl1pPr marL="0" indent="0">
              <a:buNone/>
              <a:defRPr kumimoji="0" lang="ru-RU" sz="2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0">
              <a:buNone/>
              <a:defRPr lang="ru-RU" sz="1800" dirty="0" smtClean="0"/>
            </a:lvl2pPr>
            <a:lvl3pPr marL="685800" indent="0">
              <a:buNone/>
              <a:defRPr lang="ru-RU" sz="1800" dirty="0" smtClean="0"/>
            </a:lvl3pPr>
            <a:lvl4pPr marL="1143000" indent="0">
              <a:buNone/>
              <a:defRPr lang="ru-RU" dirty="0" smtClean="0"/>
            </a:lvl4pPr>
            <a:lvl5pPr marL="1600200" indent="0">
              <a:buNone/>
              <a:defRPr lang="ru-RU" dirty="0"/>
            </a:lvl5pPr>
          </a:lstStyle>
          <a:p>
            <a:pPr marL="0" lvl="0"/>
            <a:r>
              <a:rPr lang="ru-RU" dirty="0" smtClean="0"/>
              <a:t>Подзаголовок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B47B719D-92D0-484E-9A50-036288FCCD05}"/>
              </a:ext>
            </a:extLst>
          </p:cNvPr>
          <p:cNvSpPr txBox="1">
            <a:spLocks/>
          </p:cNvSpPr>
          <p:nvPr userDrawn="1"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30205255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88951" y="269875"/>
            <a:ext cx="7335838" cy="80021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5200" dirty="0">
                <a:latin typeface="Cera CY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5200" b="1" dirty="0" smtClean="0">
                <a:latin typeface="Cera CY" pitchFamily="2" charset="0"/>
              </a:rPr>
              <a:t>Содержание</a:t>
            </a:r>
            <a:endParaRPr lang="ru-RU" sz="5200" b="1" dirty="0">
              <a:latin typeface="Cera C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2171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короткий 52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A9D204E-05C2-E496-E231-674240D3B0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60350"/>
            <a:ext cx="9288463" cy="74789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5200" b="1"/>
            </a:lvl1pPr>
          </a:lstStyle>
          <a:p>
            <a:r>
              <a:rPr lang="ru-RU" dirty="0"/>
              <a:t>Заголовок короткий 52 пт</a:t>
            </a:r>
          </a:p>
        </p:txBody>
      </p:sp>
    </p:spTree>
    <p:extLst>
      <p:ext uri="{BB962C8B-B14F-4D97-AF65-F5344CB8AC3E}">
        <p14:creationId xmlns:p14="http://schemas.microsoft.com/office/powerpoint/2010/main" val="26770654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32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32 пт</a:t>
            </a:r>
          </a:p>
        </p:txBody>
      </p:sp>
    </p:spTree>
    <p:extLst>
      <p:ext uri="{BB962C8B-B14F-4D97-AF65-F5344CB8AC3E}">
        <p14:creationId xmlns:p14="http://schemas.microsoft.com/office/powerpoint/2010/main" val="1014409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линный 20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79425" y="329674"/>
            <a:ext cx="9288463" cy="276999"/>
          </a:xfrm>
        </p:spPr>
        <p:txBody>
          <a:bodyPr/>
          <a:lstStyle>
            <a:lvl1pPr>
              <a:defRPr sz="2000"/>
            </a:lvl1pPr>
          </a:lstStyle>
          <a:p>
            <a:r>
              <a:rPr lang="ru-RU" dirty="0"/>
              <a:t>Заголовок длинный 20 пт</a:t>
            </a:r>
          </a:p>
        </p:txBody>
      </p:sp>
    </p:spTree>
    <p:extLst>
      <p:ext uri="{BB962C8B-B14F-4D97-AF65-F5344CB8AC3E}">
        <p14:creationId xmlns:p14="http://schemas.microsoft.com/office/powerpoint/2010/main" val="3246338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ороткий 52 пт (синий фон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7042CB-7170-9BB4-E87D-4ECAED79D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269875"/>
            <a:ext cx="9288463" cy="72019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5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52 пт</a:t>
            </a:r>
          </a:p>
        </p:txBody>
      </p:sp>
    </p:spTree>
    <p:extLst>
      <p:ext uri="{BB962C8B-B14F-4D97-AF65-F5344CB8AC3E}">
        <p14:creationId xmlns:p14="http://schemas.microsoft.com/office/powerpoint/2010/main" val="13724263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без лого/заголовка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293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Узкая графика. Синий фон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37A98B0-9C0D-4077-BE41-961AF4D2C8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488950" y="2828129"/>
            <a:ext cx="7920000" cy="1600438"/>
          </a:xfrm>
        </p:spPr>
        <p:txBody>
          <a:bodyPr wrap="square" lIns="0" tIns="0" rIns="0" bIns="0" anchor="ctr">
            <a:spAutoFit/>
          </a:bodyPr>
          <a:lstStyle>
            <a:lvl1pPr>
              <a:defRPr lang="ru-RU" sz="5200">
                <a:solidFill>
                  <a:srgbClr val="FFFFFF"/>
                </a:solidFill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91440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ru-RU" dirty="0" smtClean="0"/>
              <a:t>Общебанковский шаблон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60679118-B033-4C72-AA75-23778815F527}"/>
              </a:ext>
            </a:extLst>
          </p:cNvPr>
          <p:cNvSpPr txBox="1">
            <a:spLocks/>
          </p:cNvSpPr>
          <p:nvPr userDrawn="1"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120685206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Уз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88950" y="3196674"/>
            <a:ext cx="7796675" cy="800219"/>
          </a:xfrm>
        </p:spPr>
        <p:txBody>
          <a:bodyPr anchor="ctr" anchorCtr="0"/>
          <a:lstStyle>
            <a:lvl1pPr>
              <a:lnSpc>
                <a:spcPct val="100000"/>
              </a:lnSpc>
              <a:defRPr lang="ru-RU" sz="5200" b="1" kern="1200">
                <a:solidFill>
                  <a:schemeClr val="accent1"/>
                </a:solidFill>
                <a:latin typeface="Cera CY" panose="00000500000000000000" pitchFamily="2" charset="-52"/>
                <a:ea typeface="+mn-ea"/>
                <a:cs typeface="+mn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27999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Широ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88951" y="2403823"/>
            <a:ext cx="7335838" cy="1600438"/>
          </a:xfrm>
        </p:spPr>
        <p:txBody>
          <a:bodyPr wrap="square" lIns="0" tIns="0" rIns="0" bIns="0" anchor="ctr">
            <a:spAutoFit/>
          </a:bodyPr>
          <a:lstStyle>
            <a:lvl1pPr marL="0" marR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ru-RU" sz="5200" i="0" u="none" strike="noStrike" cap="none" spc="0" normalizeH="0" baseline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Заголовок</a:t>
            </a:r>
            <a:b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</a:b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в две строк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362450"/>
            <a:ext cx="7345364" cy="332399"/>
          </a:xfrm>
        </p:spPr>
        <p:txBody>
          <a:bodyPr wrap="square">
            <a:spAutoFit/>
          </a:bodyPr>
          <a:lstStyle>
            <a:lvl1pPr marL="0" indent="0">
              <a:buNone/>
              <a:defRPr kumimoji="0" lang="ru-RU" sz="2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0">
              <a:buNone/>
              <a:defRPr lang="ru-RU" sz="1800" dirty="0" smtClean="0"/>
            </a:lvl2pPr>
            <a:lvl3pPr marL="685800" indent="0">
              <a:buNone/>
              <a:defRPr lang="ru-RU" sz="1800" dirty="0" smtClean="0"/>
            </a:lvl3pPr>
            <a:lvl4pPr marL="1143000" indent="0">
              <a:buNone/>
              <a:defRPr lang="ru-RU" dirty="0" smtClean="0"/>
            </a:lvl4pPr>
            <a:lvl5pPr marL="1600200" indent="0">
              <a:buNone/>
              <a:defRPr lang="ru-RU" dirty="0"/>
            </a:lvl5pPr>
          </a:lstStyle>
          <a:p>
            <a:pPr marL="0" lvl="0"/>
            <a:r>
              <a:rPr lang="ru-RU" dirty="0" smtClean="0"/>
              <a:t>Подзаголовок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B47B719D-92D0-484E-9A50-036288FCCD05}"/>
              </a:ext>
            </a:extLst>
          </p:cNvPr>
          <p:cNvSpPr txBox="1">
            <a:spLocks/>
          </p:cNvSpPr>
          <p:nvPr userDrawn="1"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30315860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_ Широкая графика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8AA16AB1-8BEE-4231-8151-A99348CC1FE0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B770836D-60F4-4DEB-A34D-A6C42FCB2DC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D57AB053-3DA1-44DC-AD69-F51A8B8FDC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BC912196-FB84-4040-8B34-41B4ECDAB0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9A260FB-1112-4180-ABB5-BBE529F02B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63D7EBD1-9DF3-4D24-9E98-D570270A2C1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2172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6" name="Прямоугольник: скругленные углы 44">
            <a:extLst>
              <a:ext uri="{FF2B5EF4-FFF2-40B4-BE49-F238E27FC236}">
                <a16:creationId xmlns:a16="http://schemas.microsoft.com/office/drawing/2014/main" id="{D4CBCAE8-A1CD-402C-BC53-AAA158F537FF}"/>
              </a:ext>
            </a:extLst>
          </p:cNvPr>
          <p:cNvSpPr/>
          <p:nvPr userDrawn="1"/>
        </p:nvSpPr>
        <p:spPr>
          <a:xfrm>
            <a:off x="8591550" y="1066800"/>
            <a:ext cx="3267075" cy="2138367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46">
            <a:extLst>
              <a:ext uri="{FF2B5EF4-FFF2-40B4-BE49-F238E27FC236}">
                <a16:creationId xmlns:a16="http://schemas.microsoft.com/office/drawing/2014/main" id="{41B41D4F-3181-4463-8BF0-27BBB17CDB03}"/>
              </a:ext>
            </a:extLst>
          </p:cNvPr>
          <p:cNvSpPr/>
          <p:nvPr userDrawn="1"/>
        </p:nvSpPr>
        <p:spPr>
          <a:xfrm>
            <a:off x="8591550" y="3305177"/>
            <a:ext cx="3267075" cy="2927959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: скругленные углы 47">
            <a:extLst>
              <a:ext uri="{FF2B5EF4-FFF2-40B4-BE49-F238E27FC236}">
                <a16:creationId xmlns:a16="http://schemas.microsoft.com/office/drawing/2014/main" id="{A99FAD78-BB3B-4BE6-98F8-2078A1EACFB3}"/>
              </a:ext>
            </a:extLst>
          </p:cNvPr>
          <p:cNvSpPr/>
          <p:nvPr userDrawn="1"/>
        </p:nvSpPr>
        <p:spPr>
          <a:xfrm>
            <a:off x="5445660" y="1066800"/>
            <a:ext cx="3044289" cy="2138367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: скругленные углы 48">
            <a:extLst>
              <a:ext uri="{FF2B5EF4-FFF2-40B4-BE49-F238E27FC236}">
                <a16:creationId xmlns:a16="http://schemas.microsoft.com/office/drawing/2014/main" id="{AF2296AF-820D-4E72-9EAB-BA72DD4CAA0E}"/>
              </a:ext>
            </a:extLst>
          </p:cNvPr>
          <p:cNvSpPr/>
          <p:nvPr userDrawn="1"/>
        </p:nvSpPr>
        <p:spPr>
          <a:xfrm>
            <a:off x="5445660" y="3305178"/>
            <a:ext cx="3044289" cy="2927958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: скругленные углы 49">
            <a:extLst>
              <a:ext uri="{FF2B5EF4-FFF2-40B4-BE49-F238E27FC236}">
                <a16:creationId xmlns:a16="http://schemas.microsoft.com/office/drawing/2014/main" id="{176297F8-53AD-4378-BFB0-FC6BF08D077B}"/>
              </a:ext>
            </a:extLst>
          </p:cNvPr>
          <p:cNvSpPr/>
          <p:nvPr userDrawn="1"/>
        </p:nvSpPr>
        <p:spPr>
          <a:xfrm>
            <a:off x="486198" y="1066800"/>
            <a:ext cx="4835478" cy="5166335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835737" y="1477367"/>
            <a:ext cx="4136400" cy="43452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3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5527804" y="1145983"/>
            <a:ext cx="2880000" cy="1980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5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5527804" y="3412546"/>
            <a:ext cx="2880000" cy="2683454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9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8674944" y="1145983"/>
            <a:ext cx="3097956" cy="1980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31" name="Объект 30"/>
          <p:cNvSpPr>
            <a:spLocks noGrp="1"/>
          </p:cNvSpPr>
          <p:nvPr>
            <p:ph sz="quarter" idx="21" hasCustomPrompt="1"/>
          </p:nvPr>
        </p:nvSpPr>
        <p:spPr>
          <a:xfrm>
            <a:off x="8675688" y="3412546"/>
            <a:ext cx="3097212" cy="2683453"/>
          </a:xfrm>
        </p:spPr>
        <p:txBody>
          <a:bodyPr tIns="100800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290926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88951" y="269875"/>
            <a:ext cx="7335838" cy="80021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5200" dirty="0">
                <a:latin typeface="Cera CY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5200" b="1" dirty="0" smtClean="0">
                <a:latin typeface="Cera CY" pitchFamily="2" charset="0"/>
              </a:rPr>
              <a:t>Содержание</a:t>
            </a:r>
            <a:endParaRPr lang="ru-RU" sz="5200" b="1" dirty="0">
              <a:latin typeface="Cera C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895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короткий 52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A9D204E-05C2-E496-E231-674240D3B0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60350"/>
            <a:ext cx="9288463" cy="74789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5200" b="1"/>
            </a:lvl1pPr>
          </a:lstStyle>
          <a:p>
            <a:r>
              <a:rPr lang="ru-RU" dirty="0"/>
              <a:t>Заголовок короткий 52 пт</a:t>
            </a:r>
          </a:p>
        </p:txBody>
      </p:sp>
    </p:spTree>
    <p:extLst>
      <p:ext uri="{BB962C8B-B14F-4D97-AF65-F5344CB8AC3E}">
        <p14:creationId xmlns:p14="http://schemas.microsoft.com/office/powerpoint/2010/main" val="197036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32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32 пт</a:t>
            </a:r>
          </a:p>
        </p:txBody>
      </p:sp>
    </p:spTree>
    <p:extLst>
      <p:ext uri="{BB962C8B-B14F-4D97-AF65-F5344CB8AC3E}">
        <p14:creationId xmlns:p14="http://schemas.microsoft.com/office/powerpoint/2010/main" val="145510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линный 20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79425" y="329674"/>
            <a:ext cx="9288463" cy="276999"/>
          </a:xfrm>
        </p:spPr>
        <p:txBody>
          <a:bodyPr/>
          <a:lstStyle>
            <a:lvl1pPr>
              <a:defRPr sz="2000"/>
            </a:lvl1pPr>
          </a:lstStyle>
          <a:p>
            <a:r>
              <a:rPr lang="ru-RU" dirty="0"/>
              <a:t>Заголовок длинный 20 пт</a:t>
            </a:r>
          </a:p>
        </p:txBody>
      </p:sp>
    </p:spTree>
    <p:extLst>
      <p:ext uri="{BB962C8B-B14F-4D97-AF65-F5344CB8AC3E}">
        <p14:creationId xmlns:p14="http://schemas.microsoft.com/office/powerpoint/2010/main" val="1845292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ороткий 52 пт (синий фон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7042CB-7170-9BB4-E87D-4ECAED79D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269875"/>
            <a:ext cx="9288463" cy="72019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5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52 пт</a:t>
            </a:r>
          </a:p>
        </p:txBody>
      </p:sp>
    </p:spTree>
    <p:extLst>
      <p:ext uri="{BB962C8B-B14F-4D97-AF65-F5344CB8AC3E}">
        <p14:creationId xmlns:p14="http://schemas.microsoft.com/office/powerpoint/2010/main" val="22150693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без лого/заголовка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0608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Узкая графика. Синий фон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37A98B0-9C0D-4077-BE41-961AF4D2C8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488950" y="2828129"/>
            <a:ext cx="7920000" cy="1600438"/>
          </a:xfrm>
        </p:spPr>
        <p:txBody>
          <a:bodyPr wrap="square" lIns="0" tIns="0" rIns="0" bIns="0" anchor="ctr">
            <a:spAutoFit/>
          </a:bodyPr>
          <a:lstStyle>
            <a:lvl1pPr>
              <a:defRPr lang="ru-RU" sz="5200">
                <a:solidFill>
                  <a:srgbClr val="FFFFFF"/>
                </a:solidFill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91440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ru-RU" dirty="0" smtClean="0"/>
              <a:t>Общебанковский шаблон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60679118-B033-4C72-AA75-23778815F527}"/>
              </a:ext>
            </a:extLst>
          </p:cNvPr>
          <p:cNvSpPr txBox="1">
            <a:spLocks/>
          </p:cNvSpPr>
          <p:nvPr userDrawn="1"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27132789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Уз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88950" y="3196674"/>
            <a:ext cx="7796675" cy="800219"/>
          </a:xfrm>
        </p:spPr>
        <p:txBody>
          <a:bodyPr anchor="ctr" anchorCtr="0"/>
          <a:lstStyle>
            <a:lvl1pPr>
              <a:lnSpc>
                <a:spcPct val="100000"/>
              </a:lnSpc>
              <a:defRPr lang="ru-RU" sz="5200" b="1" kern="1200">
                <a:solidFill>
                  <a:schemeClr val="accent1"/>
                </a:solidFill>
                <a:latin typeface="Cera CY" panose="00000500000000000000" pitchFamily="2" charset="-52"/>
                <a:ea typeface="+mn-ea"/>
                <a:cs typeface="+mn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78425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Широ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88951" y="2403823"/>
            <a:ext cx="7335838" cy="1600438"/>
          </a:xfrm>
        </p:spPr>
        <p:txBody>
          <a:bodyPr wrap="square" lIns="0" tIns="0" rIns="0" bIns="0" anchor="ctr">
            <a:spAutoFit/>
          </a:bodyPr>
          <a:lstStyle>
            <a:lvl1pPr marL="0" marR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ru-RU" sz="5200" i="0" u="none" strike="noStrike" cap="none" spc="0" normalizeH="0" baseline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Заголовок</a:t>
            </a:r>
            <a:b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</a:b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в две строк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362450"/>
            <a:ext cx="7345364" cy="332399"/>
          </a:xfrm>
        </p:spPr>
        <p:txBody>
          <a:bodyPr wrap="square">
            <a:spAutoFit/>
          </a:bodyPr>
          <a:lstStyle>
            <a:lvl1pPr marL="0" indent="0">
              <a:buNone/>
              <a:defRPr kumimoji="0" lang="ru-RU" sz="2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0">
              <a:buNone/>
              <a:defRPr lang="ru-RU" sz="1800" dirty="0" smtClean="0"/>
            </a:lvl2pPr>
            <a:lvl3pPr marL="685800" indent="0">
              <a:buNone/>
              <a:defRPr lang="ru-RU" sz="1800" dirty="0" smtClean="0"/>
            </a:lvl3pPr>
            <a:lvl4pPr marL="1143000" indent="0">
              <a:buNone/>
              <a:defRPr lang="ru-RU" dirty="0" smtClean="0"/>
            </a:lvl4pPr>
            <a:lvl5pPr marL="1600200" indent="0">
              <a:buNone/>
              <a:defRPr lang="ru-RU" dirty="0"/>
            </a:lvl5pPr>
          </a:lstStyle>
          <a:p>
            <a:pPr marL="0" lvl="0"/>
            <a:r>
              <a:rPr lang="ru-RU" dirty="0" smtClean="0"/>
              <a:t>Подзаголовок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B47B719D-92D0-484E-9A50-036288FCCD05}"/>
              </a:ext>
            </a:extLst>
          </p:cNvPr>
          <p:cNvSpPr txBox="1">
            <a:spLocks/>
          </p:cNvSpPr>
          <p:nvPr userDrawn="1"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1007413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88951" y="269875"/>
            <a:ext cx="7335838" cy="80021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5200" dirty="0">
                <a:latin typeface="Cera CY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5200" b="1" dirty="0" smtClean="0">
                <a:latin typeface="Cera CY" pitchFamily="2" charset="0"/>
              </a:rPr>
              <a:t>Содержание</a:t>
            </a:r>
            <a:endParaRPr lang="ru-RU" sz="5200" b="1" dirty="0">
              <a:latin typeface="Cera C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08914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0" name="Прямоугольник: скругленные углы 44">
            <a:extLst>
              <a:ext uri="{FF2B5EF4-FFF2-40B4-BE49-F238E27FC236}">
                <a16:creationId xmlns:a16="http://schemas.microsoft.com/office/drawing/2014/main" id="{D4CBCAE8-A1CD-402C-BC53-AAA158F537FF}"/>
              </a:ext>
            </a:extLst>
          </p:cNvPr>
          <p:cNvSpPr/>
          <p:nvPr userDrawn="1"/>
        </p:nvSpPr>
        <p:spPr>
          <a:xfrm>
            <a:off x="8591550" y="1066800"/>
            <a:ext cx="3267075" cy="2138367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: скругленные углы 46">
            <a:extLst>
              <a:ext uri="{FF2B5EF4-FFF2-40B4-BE49-F238E27FC236}">
                <a16:creationId xmlns:a16="http://schemas.microsoft.com/office/drawing/2014/main" id="{41B41D4F-3181-4463-8BF0-27BBB17CDB03}"/>
              </a:ext>
            </a:extLst>
          </p:cNvPr>
          <p:cNvSpPr/>
          <p:nvPr userDrawn="1"/>
        </p:nvSpPr>
        <p:spPr>
          <a:xfrm>
            <a:off x="8591550" y="3305177"/>
            <a:ext cx="3267075" cy="2927959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: скругленные углы 47">
            <a:extLst>
              <a:ext uri="{FF2B5EF4-FFF2-40B4-BE49-F238E27FC236}">
                <a16:creationId xmlns:a16="http://schemas.microsoft.com/office/drawing/2014/main" id="{A99FAD78-BB3B-4BE6-98F8-2078A1EACFB3}"/>
              </a:ext>
            </a:extLst>
          </p:cNvPr>
          <p:cNvSpPr/>
          <p:nvPr userDrawn="1"/>
        </p:nvSpPr>
        <p:spPr>
          <a:xfrm>
            <a:off x="5445660" y="1066800"/>
            <a:ext cx="3044289" cy="2138367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: скругленные углы 48">
            <a:extLst>
              <a:ext uri="{FF2B5EF4-FFF2-40B4-BE49-F238E27FC236}">
                <a16:creationId xmlns:a16="http://schemas.microsoft.com/office/drawing/2014/main" id="{AF2296AF-820D-4E72-9EAB-BA72DD4CAA0E}"/>
              </a:ext>
            </a:extLst>
          </p:cNvPr>
          <p:cNvSpPr/>
          <p:nvPr userDrawn="1"/>
        </p:nvSpPr>
        <p:spPr>
          <a:xfrm>
            <a:off x="5445660" y="3305178"/>
            <a:ext cx="3044289" cy="2927958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: скругленные углы 49">
            <a:extLst>
              <a:ext uri="{FF2B5EF4-FFF2-40B4-BE49-F238E27FC236}">
                <a16:creationId xmlns:a16="http://schemas.microsoft.com/office/drawing/2014/main" id="{176297F8-53AD-4378-BFB0-FC6BF08D077B}"/>
              </a:ext>
            </a:extLst>
          </p:cNvPr>
          <p:cNvSpPr/>
          <p:nvPr userDrawn="1"/>
        </p:nvSpPr>
        <p:spPr>
          <a:xfrm>
            <a:off x="486198" y="1066800"/>
            <a:ext cx="4835478" cy="5166335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835737" y="1477367"/>
            <a:ext cx="4136400" cy="43452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6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5527804" y="1145983"/>
            <a:ext cx="2880000" cy="1980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7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5527804" y="3412546"/>
            <a:ext cx="2880000" cy="2683454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8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8674944" y="1145983"/>
            <a:ext cx="3097956" cy="1980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30" name="Объект 30"/>
          <p:cNvSpPr>
            <a:spLocks noGrp="1"/>
          </p:cNvSpPr>
          <p:nvPr>
            <p:ph sz="quarter" idx="21" hasCustomPrompt="1"/>
          </p:nvPr>
        </p:nvSpPr>
        <p:spPr>
          <a:xfrm>
            <a:off x="8675688" y="3412546"/>
            <a:ext cx="3097212" cy="2683453"/>
          </a:xfrm>
        </p:spPr>
        <p:txBody>
          <a:bodyPr tIns="100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3298800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короткий 52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A9D204E-05C2-E496-E231-674240D3B0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60350"/>
            <a:ext cx="9288463" cy="74789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5200" b="1"/>
            </a:lvl1pPr>
          </a:lstStyle>
          <a:p>
            <a:r>
              <a:rPr lang="ru-RU" dirty="0"/>
              <a:t>Заголовок короткий 52 пт</a:t>
            </a:r>
          </a:p>
        </p:txBody>
      </p:sp>
    </p:spTree>
    <p:extLst>
      <p:ext uri="{BB962C8B-B14F-4D97-AF65-F5344CB8AC3E}">
        <p14:creationId xmlns:p14="http://schemas.microsoft.com/office/powerpoint/2010/main" val="16504950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32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32 пт</a:t>
            </a:r>
          </a:p>
        </p:txBody>
      </p:sp>
    </p:spTree>
    <p:extLst>
      <p:ext uri="{BB962C8B-B14F-4D97-AF65-F5344CB8AC3E}">
        <p14:creationId xmlns:p14="http://schemas.microsoft.com/office/powerpoint/2010/main" val="3278003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линный 20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79425" y="329674"/>
            <a:ext cx="9288463" cy="276999"/>
          </a:xfrm>
        </p:spPr>
        <p:txBody>
          <a:bodyPr/>
          <a:lstStyle>
            <a:lvl1pPr>
              <a:defRPr sz="2000"/>
            </a:lvl1pPr>
          </a:lstStyle>
          <a:p>
            <a:r>
              <a:rPr lang="ru-RU" dirty="0"/>
              <a:t>Заголовок длинный 20 пт</a:t>
            </a:r>
          </a:p>
        </p:txBody>
      </p:sp>
    </p:spTree>
    <p:extLst>
      <p:ext uri="{BB962C8B-B14F-4D97-AF65-F5344CB8AC3E}">
        <p14:creationId xmlns:p14="http://schemas.microsoft.com/office/powerpoint/2010/main" val="2983500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ороткий 52 пт (синий фон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7042CB-7170-9BB4-E87D-4ECAED79D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269875"/>
            <a:ext cx="9288463" cy="72019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5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52 пт</a:t>
            </a:r>
          </a:p>
        </p:txBody>
      </p:sp>
    </p:spTree>
    <p:extLst>
      <p:ext uri="{BB962C8B-B14F-4D97-AF65-F5344CB8AC3E}">
        <p14:creationId xmlns:p14="http://schemas.microsoft.com/office/powerpoint/2010/main" val="29682596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без лого/заголовка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17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Узкая графика. Синий фон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37A98B0-9C0D-4077-BE41-961AF4D2C8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488950" y="2828129"/>
            <a:ext cx="7920000" cy="1600438"/>
          </a:xfrm>
        </p:spPr>
        <p:txBody>
          <a:bodyPr wrap="square" lIns="0" tIns="0" rIns="0" bIns="0" anchor="ctr">
            <a:spAutoFit/>
          </a:bodyPr>
          <a:lstStyle>
            <a:lvl1pPr>
              <a:defRPr lang="ru-RU" sz="5200">
                <a:solidFill>
                  <a:srgbClr val="FFFFFF"/>
                </a:solidFill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91440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ru-RU" dirty="0" smtClean="0"/>
              <a:t>Общебанковский шаблон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60679118-B033-4C72-AA75-23778815F527}"/>
              </a:ext>
            </a:extLst>
          </p:cNvPr>
          <p:cNvSpPr txBox="1">
            <a:spLocks/>
          </p:cNvSpPr>
          <p:nvPr userDrawn="1"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301787433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Уз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88950" y="3196674"/>
            <a:ext cx="7796675" cy="800219"/>
          </a:xfrm>
        </p:spPr>
        <p:txBody>
          <a:bodyPr anchor="ctr" anchorCtr="0"/>
          <a:lstStyle>
            <a:lvl1pPr>
              <a:lnSpc>
                <a:spcPct val="100000"/>
              </a:lnSpc>
              <a:defRPr lang="ru-RU" sz="5200" b="1" kern="1200">
                <a:solidFill>
                  <a:schemeClr val="accent1"/>
                </a:solidFill>
                <a:latin typeface="Cera CY" panose="00000500000000000000" pitchFamily="2" charset="-52"/>
                <a:ea typeface="+mn-ea"/>
                <a:cs typeface="+mn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02703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Широ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88951" y="2403823"/>
            <a:ext cx="7335838" cy="1600438"/>
          </a:xfrm>
        </p:spPr>
        <p:txBody>
          <a:bodyPr wrap="square" lIns="0" tIns="0" rIns="0" bIns="0" anchor="ctr">
            <a:spAutoFit/>
          </a:bodyPr>
          <a:lstStyle>
            <a:lvl1pPr marL="0" marR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ru-RU" sz="5200" i="0" u="none" strike="noStrike" cap="none" spc="0" normalizeH="0" baseline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Заголовок</a:t>
            </a:r>
            <a:b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</a:b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в две строк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362450"/>
            <a:ext cx="7345364" cy="332399"/>
          </a:xfrm>
        </p:spPr>
        <p:txBody>
          <a:bodyPr wrap="square">
            <a:spAutoFit/>
          </a:bodyPr>
          <a:lstStyle>
            <a:lvl1pPr marL="0" indent="0">
              <a:buNone/>
              <a:defRPr kumimoji="0" lang="ru-RU" sz="2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0">
              <a:buNone/>
              <a:defRPr lang="ru-RU" sz="1800" dirty="0" smtClean="0"/>
            </a:lvl2pPr>
            <a:lvl3pPr marL="685800" indent="0">
              <a:buNone/>
              <a:defRPr lang="ru-RU" sz="1800" dirty="0" smtClean="0"/>
            </a:lvl3pPr>
            <a:lvl4pPr marL="1143000" indent="0">
              <a:buNone/>
              <a:defRPr lang="ru-RU" dirty="0" smtClean="0"/>
            </a:lvl4pPr>
            <a:lvl5pPr marL="1600200" indent="0">
              <a:buNone/>
              <a:defRPr lang="ru-RU" dirty="0"/>
            </a:lvl5pPr>
          </a:lstStyle>
          <a:p>
            <a:pPr marL="0" lvl="0"/>
            <a:r>
              <a:rPr lang="ru-RU" dirty="0" smtClean="0"/>
              <a:t>Подзаголовок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B47B719D-92D0-484E-9A50-036288FCCD05}"/>
              </a:ext>
            </a:extLst>
          </p:cNvPr>
          <p:cNvSpPr txBox="1">
            <a:spLocks/>
          </p:cNvSpPr>
          <p:nvPr userDrawn="1"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8451879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88951" y="269875"/>
            <a:ext cx="7335838" cy="80021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5200" dirty="0">
                <a:latin typeface="Cera CY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5200" b="1" dirty="0" smtClean="0">
                <a:latin typeface="Cera CY" pitchFamily="2" charset="0"/>
              </a:rPr>
              <a:t>Содержание</a:t>
            </a:r>
            <a:endParaRPr lang="ru-RU" sz="5200" b="1" dirty="0">
              <a:latin typeface="Cera C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541921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короткий 52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A9D204E-05C2-E496-E231-674240D3B0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60350"/>
            <a:ext cx="9288463" cy="74789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5200" b="1"/>
            </a:lvl1pPr>
          </a:lstStyle>
          <a:p>
            <a:r>
              <a:rPr lang="ru-RU" dirty="0"/>
              <a:t>Заголовок короткий 52 пт</a:t>
            </a:r>
          </a:p>
        </p:txBody>
      </p:sp>
    </p:spTree>
    <p:extLst>
      <p:ext uri="{BB962C8B-B14F-4D97-AF65-F5344CB8AC3E}">
        <p14:creationId xmlns:p14="http://schemas.microsoft.com/office/powerpoint/2010/main" val="25397761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31" name="Объект 30"/>
          <p:cNvSpPr>
            <a:spLocks noGrp="1"/>
          </p:cNvSpPr>
          <p:nvPr>
            <p:ph sz="quarter" idx="21" hasCustomPrompt="1"/>
          </p:nvPr>
        </p:nvSpPr>
        <p:spPr>
          <a:xfrm>
            <a:off x="6936530" y="1807583"/>
            <a:ext cx="4762800" cy="3960000"/>
          </a:xfrm>
        </p:spPr>
        <p:txBody>
          <a:bodyPr tIns="100800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2380642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32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32 пт</a:t>
            </a:r>
          </a:p>
        </p:txBody>
      </p:sp>
    </p:spTree>
    <p:extLst>
      <p:ext uri="{BB962C8B-B14F-4D97-AF65-F5344CB8AC3E}">
        <p14:creationId xmlns:p14="http://schemas.microsoft.com/office/powerpoint/2010/main" val="2690109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линный 20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79425" y="329674"/>
            <a:ext cx="9288463" cy="276999"/>
          </a:xfrm>
        </p:spPr>
        <p:txBody>
          <a:bodyPr/>
          <a:lstStyle>
            <a:lvl1pPr>
              <a:defRPr sz="2000"/>
            </a:lvl1pPr>
          </a:lstStyle>
          <a:p>
            <a:r>
              <a:rPr lang="ru-RU" dirty="0"/>
              <a:t>Заголовок длинный 20 пт</a:t>
            </a:r>
          </a:p>
        </p:txBody>
      </p:sp>
    </p:spTree>
    <p:extLst>
      <p:ext uri="{BB962C8B-B14F-4D97-AF65-F5344CB8AC3E}">
        <p14:creationId xmlns:p14="http://schemas.microsoft.com/office/powerpoint/2010/main" val="38802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ороткий 52 пт (синий фон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7042CB-7170-9BB4-E87D-4ECAED79D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269875"/>
            <a:ext cx="9288463" cy="72019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5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52 пт</a:t>
            </a:r>
          </a:p>
        </p:txBody>
      </p:sp>
    </p:spTree>
    <p:extLst>
      <p:ext uri="{BB962C8B-B14F-4D97-AF65-F5344CB8AC3E}">
        <p14:creationId xmlns:p14="http://schemas.microsoft.com/office/powerpoint/2010/main" val="42152326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без лого/заголовка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35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2322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_ Узкая графика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37A98B0-9C0D-4077-BE41-961AF4D2C8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147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_ Широкая графика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8AA16AB1-8BEE-4231-8151-A99348CC1FE0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B770836D-60F4-4DEB-A34D-A6C42FCB2DC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D57AB053-3DA1-44DC-AD69-F51A8B8FDC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BC912196-FB84-4040-8B34-41B4ECDAB0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9A260FB-1112-4180-ABB5-BBE529F02B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63D7EBD1-9DF3-4D24-9E98-D570270A2C1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7866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_ Узкая графика_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14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_ Широкая графика_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96598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863875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A56C5E-ADF5-4C92-91C4-8C7B09E1B4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85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6" name="Объект 30"/>
          <p:cNvSpPr>
            <a:spLocks noGrp="1"/>
          </p:cNvSpPr>
          <p:nvPr>
            <p:ph sz="quarter" idx="21" hasCustomPrompt="1"/>
          </p:nvPr>
        </p:nvSpPr>
        <p:spPr>
          <a:xfrm>
            <a:off x="6936530" y="1807583"/>
            <a:ext cx="4762800" cy="3960000"/>
          </a:xfrm>
        </p:spPr>
        <p:txBody>
          <a:bodyPr tIns="100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3275669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в одну строку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863875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A56C5E-ADF5-4C92-91C4-8C7B09E1B4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066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без лого/заголовка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475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без лого/заголовка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681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Раздел 2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68860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Раздел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8215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с нумерацией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7F824F5-4A00-463B-A7A0-A2CE362E79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162E93D-AAB9-4557-BEF6-EF46CD6E1C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346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н с нумерацией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7F824F5-4A00-463B-A7A0-A2CE362E79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162E93D-AAB9-4557-BEF6-EF46CD6E1C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843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с нумерацией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E3F024E-E13D-4715-AA4D-FE61F1F71E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FB4A63C-9740-4B8A-9A15-2BE05BABF8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58118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Раздел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92C2900-829E-4F4D-A685-A45E97C0B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897313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Раздел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92C2900-829E-4F4D-A685-A45E97C0B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51780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: скругленные углы 18">
            <a:extLst>
              <a:ext uri="{FF2B5EF4-FFF2-40B4-BE49-F238E27FC236}">
                <a16:creationId xmlns:a16="http://schemas.microsoft.com/office/drawing/2014/main" id="{59B3632B-C17D-4C6B-9CA4-B5B26A60E3C6}"/>
              </a:ext>
            </a:extLst>
          </p:cNvPr>
          <p:cNvSpPr/>
          <p:nvPr userDrawn="1"/>
        </p:nvSpPr>
        <p:spPr>
          <a:xfrm>
            <a:off x="486197" y="3704416"/>
            <a:ext cx="8162502" cy="2606675"/>
          </a:xfrm>
          <a:prstGeom prst="roundRect">
            <a:avLst>
              <a:gd name="adj" fmla="val 552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: скругленные углы 19">
            <a:extLst>
              <a:ext uri="{FF2B5EF4-FFF2-40B4-BE49-F238E27FC236}">
                <a16:creationId xmlns:a16="http://schemas.microsoft.com/office/drawing/2014/main" id="{E87147A8-451A-4699-9ACA-DE475A103D5D}"/>
              </a:ext>
            </a:extLst>
          </p:cNvPr>
          <p:cNvSpPr/>
          <p:nvPr userDrawn="1"/>
        </p:nvSpPr>
        <p:spPr>
          <a:xfrm>
            <a:off x="486196" y="901700"/>
            <a:ext cx="8162503" cy="2606675"/>
          </a:xfrm>
          <a:prstGeom prst="roundRect">
            <a:avLst>
              <a:gd name="adj" fmla="val 552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: скругленные углы 11">
            <a:extLst>
              <a:ext uri="{FF2B5EF4-FFF2-40B4-BE49-F238E27FC236}">
                <a16:creationId xmlns:a16="http://schemas.microsoft.com/office/drawing/2014/main" id="{8E2AF2DE-5C87-4EAF-BF66-B97003E95967}"/>
              </a:ext>
            </a:extLst>
          </p:cNvPr>
          <p:cNvSpPr/>
          <p:nvPr userDrawn="1"/>
        </p:nvSpPr>
        <p:spPr>
          <a:xfrm>
            <a:off x="8801101" y="3704416"/>
            <a:ext cx="2911474" cy="2606675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: скругленные углы 17">
            <a:extLst>
              <a:ext uri="{FF2B5EF4-FFF2-40B4-BE49-F238E27FC236}">
                <a16:creationId xmlns:a16="http://schemas.microsoft.com/office/drawing/2014/main" id="{12161821-918A-4DAD-85BC-6B70A781E53E}"/>
              </a:ext>
            </a:extLst>
          </p:cNvPr>
          <p:cNvSpPr/>
          <p:nvPr userDrawn="1"/>
        </p:nvSpPr>
        <p:spPr>
          <a:xfrm>
            <a:off x="8801101" y="901700"/>
            <a:ext cx="2911474" cy="2606675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774847" y="1011637"/>
            <a:ext cx="7585200" cy="23868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9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774848" y="3814353"/>
            <a:ext cx="7585200" cy="23868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65639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440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в одну строку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35284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вободного на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188000" y="410186"/>
            <a:ext cx="10669038" cy="399712"/>
          </a:xfrm>
        </p:spPr>
        <p:txBody>
          <a:bodyPr lIns="0" tIns="0" anchor="t">
            <a:normAutofit/>
          </a:bodyPr>
          <a:lstStyle>
            <a:lvl1pPr>
              <a:defRPr sz="2296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1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193610" y="818138"/>
            <a:ext cx="10663428" cy="29742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98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809D1F0-6C51-4A8F-B5B2-5F620AB252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5020" y="344507"/>
            <a:ext cx="1346687" cy="282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1847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67">
          <p15:clr>
            <a:srgbClr val="547EBF"/>
          </p15:clr>
        </p15:guide>
        <p15:guide id="2" orient="horz" pos="3952">
          <p15:clr>
            <a:srgbClr val="547EBF"/>
          </p15:clr>
        </p15:guide>
        <p15:guide id="3" pos="756">
          <p15:clr>
            <a:srgbClr val="547EBF"/>
          </p15:clr>
        </p15:guide>
        <p15:guide id="4" pos="6947">
          <p15:clr>
            <a:srgbClr val="547EBF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лайд с 1 текстовым бло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188000" y="410186"/>
            <a:ext cx="10669038" cy="399712"/>
          </a:xfrm>
        </p:spPr>
        <p:txBody>
          <a:bodyPr lIns="0" tIns="0" anchor="t">
            <a:normAutofit/>
          </a:bodyPr>
          <a:lstStyle>
            <a:lvl1pPr>
              <a:defRPr sz="2296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10870" y="6419084"/>
            <a:ext cx="546168" cy="4389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398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9390529" y="6402759"/>
            <a:ext cx="1770063" cy="314325"/>
          </a:xfrm>
        </p:spPr>
        <p:txBody>
          <a:bodyPr>
            <a:normAutofit/>
          </a:bodyPr>
          <a:lstStyle>
            <a:lvl1pPr marL="0" indent="0" algn="r">
              <a:buNone/>
              <a:defRPr sz="1098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1092201" y="1376364"/>
            <a:ext cx="9936163" cy="4897437"/>
          </a:xfrm>
        </p:spPr>
        <p:txBody>
          <a:bodyPr>
            <a:normAutofit/>
          </a:bodyPr>
          <a:lstStyle>
            <a:lvl1pPr marL="223942" indent="-223942">
              <a:buClr>
                <a:srgbClr val="407AA8"/>
              </a:buClr>
              <a:buFont typeface="Wingdings" panose="05000000000000000000" pitchFamily="2" charset="2"/>
              <a:buChar char="§"/>
              <a:defRPr sz="1398" baseline="0"/>
            </a:lvl1pPr>
            <a:lvl2pPr>
              <a:defRPr sz="1398"/>
            </a:lvl2pPr>
            <a:lvl3pPr>
              <a:defRPr sz="1398"/>
            </a:lvl3pPr>
            <a:lvl4pPr>
              <a:defRPr sz="1398"/>
            </a:lvl4pPr>
            <a:lvl5pPr>
              <a:defRPr sz="1398"/>
            </a:lvl5pPr>
          </a:lstStyle>
          <a:p>
            <a:r>
              <a:rPr lang="ru-RU" dirty="0"/>
              <a:t>Вставьте или напишите текст</a:t>
            </a:r>
          </a:p>
          <a:p>
            <a:endParaRPr lang="ru-RU" dirty="0"/>
          </a:p>
          <a:p>
            <a:r>
              <a:rPr lang="ru-RU" dirty="0"/>
              <a:t>Допускается использование маркеров:</a:t>
            </a:r>
          </a:p>
          <a:p>
            <a:endParaRPr lang="ru-RU" dirty="0"/>
          </a:p>
          <a:p>
            <a:pPr marL="285750" indent="-285750">
              <a:buClr>
                <a:srgbClr val="3DAAD5"/>
              </a:buClr>
              <a:buFont typeface="Wingdings" panose="05000000000000000000" pitchFamily="2" charset="2"/>
              <a:buChar char="§"/>
            </a:pPr>
            <a:r>
              <a:rPr lang="ru-RU" dirty="0"/>
              <a:t>Первый</a:t>
            </a:r>
          </a:p>
          <a:p>
            <a:pPr marL="285750" indent="-285750">
              <a:buClr>
                <a:srgbClr val="0268D6"/>
              </a:buClr>
              <a:buFont typeface="Wingdings" panose="05000000000000000000" pitchFamily="2" charset="2"/>
              <a:buChar char="§"/>
            </a:pPr>
            <a:r>
              <a:rPr lang="ru-RU" dirty="0"/>
              <a:t>Второй</a:t>
            </a:r>
          </a:p>
          <a:p>
            <a:pPr marL="285750" indent="-285750">
              <a:buClr>
                <a:srgbClr val="407AA8"/>
              </a:buClr>
              <a:buFont typeface="Wingdings" panose="05000000000000000000" pitchFamily="2" charset="2"/>
              <a:buChar char="§"/>
            </a:pPr>
            <a:r>
              <a:rPr lang="ru-RU" dirty="0"/>
              <a:t>Третий</a:t>
            </a:r>
          </a:p>
          <a:p>
            <a:pPr lvl="0"/>
            <a:endParaRPr lang="ru-RU" dirty="0"/>
          </a:p>
        </p:txBody>
      </p:sp>
      <p:sp>
        <p:nvSpPr>
          <p:cNvPr id="15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193610" y="818138"/>
            <a:ext cx="10663428" cy="29742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98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6809D1F0-6C51-4A8F-B5B2-5F620AB252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5020" y="344507"/>
            <a:ext cx="1346687" cy="282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211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Прямоугольник: скругленные углы 18">
            <a:extLst>
              <a:ext uri="{FF2B5EF4-FFF2-40B4-BE49-F238E27FC236}">
                <a16:creationId xmlns:a16="http://schemas.microsoft.com/office/drawing/2014/main" id="{59B3632B-C17D-4C6B-9CA4-B5B26A60E3C6}"/>
              </a:ext>
            </a:extLst>
          </p:cNvPr>
          <p:cNvSpPr/>
          <p:nvPr userDrawn="1"/>
        </p:nvSpPr>
        <p:spPr>
          <a:xfrm>
            <a:off x="486197" y="3704416"/>
            <a:ext cx="8162502" cy="2606675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19">
            <a:extLst>
              <a:ext uri="{FF2B5EF4-FFF2-40B4-BE49-F238E27FC236}">
                <a16:creationId xmlns:a16="http://schemas.microsoft.com/office/drawing/2014/main" id="{E87147A8-451A-4699-9ACA-DE475A103D5D}"/>
              </a:ext>
            </a:extLst>
          </p:cNvPr>
          <p:cNvSpPr/>
          <p:nvPr userDrawn="1"/>
        </p:nvSpPr>
        <p:spPr>
          <a:xfrm>
            <a:off x="486196" y="901700"/>
            <a:ext cx="8162503" cy="2606675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1">
            <a:extLst>
              <a:ext uri="{FF2B5EF4-FFF2-40B4-BE49-F238E27FC236}">
                <a16:creationId xmlns:a16="http://schemas.microsoft.com/office/drawing/2014/main" id="{8E2AF2DE-5C87-4EAF-BF66-B97003E95967}"/>
              </a:ext>
            </a:extLst>
          </p:cNvPr>
          <p:cNvSpPr/>
          <p:nvPr userDrawn="1"/>
        </p:nvSpPr>
        <p:spPr>
          <a:xfrm>
            <a:off x="8801101" y="3704416"/>
            <a:ext cx="2911474" cy="2606675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17">
            <a:extLst>
              <a:ext uri="{FF2B5EF4-FFF2-40B4-BE49-F238E27FC236}">
                <a16:creationId xmlns:a16="http://schemas.microsoft.com/office/drawing/2014/main" id="{12161821-918A-4DAD-85BC-6B70A781E53E}"/>
              </a:ext>
            </a:extLst>
          </p:cNvPr>
          <p:cNvSpPr/>
          <p:nvPr userDrawn="1"/>
        </p:nvSpPr>
        <p:spPr>
          <a:xfrm>
            <a:off x="8801101" y="901700"/>
            <a:ext cx="2911474" cy="2606675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774847" y="1011637"/>
            <a:ext cx="7585200" cy="23868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5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774848" y="3814353"/>
            <a:ext cx="7585200" cy="23868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192452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: скругленные углы 7">
            <a:extLst>
              <a:ext uri="{FF2B5EF4-FFF2-40B4-BE49-F238E27FC236}">
                <a16:creationId xmlns:a16="http://schemas.microsoft.com/office/drawing/2014/main" id="{DEB5AEF3-F966-4D54-95E5-7095526BCCC4}"/>
              </a:ext>
            </a:extLst>
          </p:cNvPr>
          <p:cNvSpPr/>
          <p:nvPr userDrawn="1"/>
        </p:nvSpPr>
        <p:spPr>
          <a:xfrm>
            <a:off x="6095999" y="1572499"/>
            <a:ext cx="5621813" cy="4192268"/>
          </a:xfrm>
          <a:prstGeom prst="roundRect">
            <a:avLst>
              <a:gd name="adj" fmla="val 552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6311900" y="1853081"/>
            <a:ext cx="5043600" cy="3564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795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10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6" name="Прямоугольник: скругленные углы 7">
            <a:extLst>
              <a:ext uri="{FF2B5EF4-FFF2-40B4-BE49-F238E27FC236}">
                <a16:creationId xmlns:a16="http://schemas.microsoft.com/office/drawing/2014/main" id="{DEB5AEF3-F966-4D54-95E5-7095526BCCC4}"/>
              </a:ext>
            </a:extLst>
          </p:cNvPr>
          <p:cNvSpPr/>
          <p:nvPr userDrawn="1"/>
        </p:nvSpPr>
        <p:spPr>
          <a:xfrm>
            <a:off x="6095999" y="1572499"/>
            <a:ext cx="5621813" cy="4192268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6311900" y="1853081"/>
            <a:ext cx="5043600" cy="3564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233820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Прямоугольник: скругленные углы 35">
            <a:extLst>
              <a:ext uri="{FF2B5EF4-FFF2-40B4-BE49-F238E27FC236}">
                <a16:creationId xmlns:a16="http://schemas.microsoft.com/office/drawing/2014/main" id="{DA0CACC1-C1B3-4839-BBE8-3DD0EEA4205C}"/>
              </a:ext>
            </a:extLst>
          </p:cNvPr>
          <p:cNvSpPr/>
          <p:nvPr userDrawn="1"/>
        </p:nvSpPr>
        <p:spPr>
          <a:xfrm>
            <a:off x="486198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38">
            <a:extLst>
              <a:ext uri="{FF2B5EF4-FFF2-40B4-BE49-F238E27FC236}">
                <a16:creationId xmlns:a16="http://schemas.microsoft.com/office/drawing/2014/main" id="{60F71AB8-D77B-4872-A40D-FA29CC48C7A9}"/>
              </a:ext>
            </a:extLst>
          </p:cNvPr>
          <p:cNvSpPr/>
          <p:nvPr userDrawn="1"/>
        </p:nvSpPr>
        <p:spPr>
          <a:xfrm>
            <a:off x="3396614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углы 41">
            <a:extLst>
              <a:ext uri="{FF2B5EF4-FFF2-40B4-BE49-F238E27FC236}">
                <a16:creationId xmlns:a16="http://schemas.microsoft.com/office/drawing/2014/main" id="{4FD9268D-798C-4A59-9503-0BEA46A6C9D6}"/>
              </a:ext>
            </a:extLst>
          </p:cNvPr>
          <p:cNvSpPr/>
          <p:nvPr userDrawn="1"/>
        </p:nvSpPr>
        <p:spPr>
          <a:xfrm>
            <a:off x="6307030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: скругленные углы 44">
            <a:extLst>
              <a:ext uri="{FF2B5EF4-FFF2-40B4-BE49-F238E27FC236}">
                <a16:creationId xmlns:a16="http://schemas.microsoft.com/office/drawing/2014/main" id="{EC6BCB17-5AE8-4923-AAAD-470F0F68CCB6}"/>
              </a:ext>
            </a:extLst>
          </p:cNvPr>
          <p:cNvSpPr/>
          <p:nvPr userDrawn="1"/>
        </p:nvSpPr>
        <p:spPr>
          <a:xfrm>
            <a:off x="9217447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537601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6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3451404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7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6361820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8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9272237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39997721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1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8" name="Прямоугольник: скругленные углы 35">
            <a:extLst>
              <a:ext uri="{FF2B5EF4-FFF2-40B4-BE49-F238E27FC236}">
                <a16:creationId xmlns:a16="http://schemas.microsoft.com/office/drawing/2014/main" id="{DA0CACC1-C1B3-4839-BBE8-3DD0EEA4205C}"/>
              </a:ext>
            </a:extLst>
          </p:cNvPr>
          <p:cNvSpPr/>
          <p:nvPr userDrawn="1"/>
        </p:nvSpPr>
        <p:spPr>
          <a:xfrm>
            <a:off x="482811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38">
            <a:extLst>
              <a:ext uri="{FF2B5EF4-FFF2-40B4-BE49-F238E27FC236}">
                <a16:creationId xmlns:a16="http://schemas.microsoft.com/office/drawing/2014/main" id="{60F71AB8-D77B-4872-A40D-FA29CC48C7A9}"/>
              </a:ext>
            </a:extLst>
          </p:cNvPr>
          <p:cNvSpPr/>
          <p:nvPr userDrawn="1"/>
        </p:nvSpPr>
        <p:spPr>
          <a:xfrm>
            <a:off x="3396614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41">
            <a:extLst>
              <a:ext uri="{FF2B5EF4-FFF2-40B4-BE49-F238E27FC236}">
                <a16:creationId xmlns:a16="http://schemas.microsoft.com/office/drawing/2014/main" id="{4FD9268D-798C-4A59-9503-0BEA46A6C9D6}"/>
              </a:ext>
            </a:extLst>
          </p:cNvPr>
          <p:cNvSpPr/>
          <p:nvPr userDrawn="1"/>
        </p:nvSpPr>
        <p:spPr>
          <a:xfrm>
            <a:off x="6307030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44">
            <a:extLst>
              <a:ext uri="{FF2B5EF4-FFF2-40B4-BE49-F238E27FC236}">
                <a16:creationId xmlns:a16="http://schemas.microsoft.com/office/drawing/2014/main" id="{EC6BCB17-5AE8-4923-AAAD-470F0F68CCB6}"/>
              </a:ext>
            </a:extLst>
          </p:cNvPr>
          <p:cNvSpPr/>
          <p:nvPr userDrawn="1"/>
        </p:nvSpPr>
        <p:spPr>
          <a:xfrm>
            <a:off x="9217447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537601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8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3451404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9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6361820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0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9272237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3566645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_ Узкая графика_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28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5DE0B48-710B-4E06-B8CC-F622CE9EE0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332579" y="1089464"/>
            <a:ext cx="7526843" cy="489635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138F27F-67C1-4DFB-8B2B-6907EDF1BE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103022" y="2233611"/>
            <a:ext cx="558801" cy="419101"/>
          </a:xfrm>
          <a:prstGeom prst="rect">
            <a:avLst/>
          </a:prstGeom>
        </p:spPr>
      </p:pic>
      <p:sp>
        <p:nvSpPr>
          <p:cNvPr id="26" name="Рисунок 2"/>
          <p:cNvSpPr>
            <a:spLocks noGrp="1"/>
          </p:cNvSpPr>
          <p:nvPr>
            <p:ph type="pic" sz="quarter" idx="17" hasCustomPrompt="1"/>
          </p:nvPr>
        </p:nvSpPr>
        <p:spPr>
          <a:xfrm>
            <a:off x="7119098" y="4225542"/>
            <a:ext cx="2019600" cy="2019600"/>
          </a:xfrm>
          <a:prstGeom prst="ellipse">
            <a:avLst/>
          </a:prstGeom>
          <a:blipFill dpi="0" rotWithShape="1">
            <a:blip r:embed="rId9"/>
            <a:srcRect/>
            <a:tile tx="0" ty="0" sx="100000" sy="100000" flip="none" algn="ctr"/>
          </a:blipFill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008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ыбра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63812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5DE0B48-710B-4E06-B8CC-F622CE9EE0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332579" y="1089464"/>
            <a:ext cx="7526843" cy="489635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BFDBB4D-6277-40DB-9378-B07D01FF2D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103022" y="2233611"/>
            <a:ext cx="558801" cy="419101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6" name="Рисунок 2"/>
          <p:cNvSpPr>
            <a:spLocks noGrp="1"/>
          </p:cNvSpPr>
          <p:nvPr>
            <p:ph type="pic" sz="quarter" idx="17" hasCustomPrompt="1"/>
          </p:nvPr>
        </p:nvSpPr>
        <p:spPr>
          <a:xfrm>
            <a:off x="7119098" y="4225542"/>
            <a:ext cx="2019600" cy="2019600"/>
          </a:xfrm>
          <a:prstGeom prst="ellipse">
            <a:avLst/>
          </a:prstGeom>
          <a:blipFill dpi="0" rotWithShape="1">
            <a:blip r:embed="rId9"/>
            <a:srcRect/>
            <a:tile tx="0" ty="0" sx="100000" sy="100000" flip="none" algn="ctr"/>
          </a:blipFill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008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ыбра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206214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1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5DE0B48-710B-4E06-B8CC-F622CE9EE0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2332579" y="1089464"/>
            <a:ext cx="7526843" cy="489635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138F27F-67C1-4DFB-8B2B-6907EDF1BE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103022" y="2233611"/>
            <a:ext cx="558801" cy="419101"/>
          </a:xfrm>
          <a:prstGeom prst="rect">
            <a:avLst/>
          </a:prstGeom>
        </p:spPr>
      </p:pic>
      <p:sp>
        <p:nvSpPr>
          <p:cNvPr id="26" name="Рисунок 2"/>
          <p:cNvSpPr>
            <a:spLocks noGrp="1"/>
          </p:cNvSpPr>
          <p:nvPr>
            <p:ph type="pic" sz="quarter" idx="17" hasCustomPrompt="1"/>
          </p:nvPr>
        </p:nvSpPr>
        <p:spPr>
          <a:xfrm>
            <a:off x="7119098" y="4225542"/>
            <a:ext cx="2019600" cy="2019600"/>
          </a:xfrm>
          <a:prstGeom prst="ellipse">
            <a:avLst/>
          </a:prstGeom>
          <a:blipFill dpi="0" rotWithShape="1">
            <a:blip r:embed="rId7"/>
            <a:srcRect/>
            <a:tile tx="0" ty="0" sx="100000" sy="100000" flip="none" algn="ctr"/>
          </a:blipFill>
          <a:effectLst>
            <a:outerShdw blurRad="381000" dist="88900" dir="8100000" algn="tr" rotWithShape="0">
              <a:srgbClr val="73B0FF">
                <a:alpha val="70000"/>
              </a:srgbClr>
            </a:outerShdw>
          </a:effectLst>
        </p:spPr>
        <p:txBody>
          <a:bodyPr tIns="1008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ыбрать изображение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CE072D-7301-63EE-7E5E-59DD0A61B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C0ADBCE-9AB9-180E-DBC3-E1DBB83755F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Номер слайда 2">
            <a:extLst>
              <a:ext uri="{FF2B5EF4-FFF2-40B4-BE49-F238E27FC236}">
                <a16:creationId xmlns:a16="http://schemas.microsoft.com/office/drawing/2014/main" id="{14F4F747-C182-4AC6-7B53-F3E642BA21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03323" y="6311047"/>
            <a:ext cx="514489" cy="286603"/>
          </a:xfrm>
        </p:spPr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3567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5DE0B48-710B-4E06-B8CC-F622CE9EE0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332579" y="1089464"/>
            <a:ext cx="7526843" cy="489635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BFDBB4D-6277-40DB-9378-B07D01FF2D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103022" y="2233611"/>
            <a:ext cx="558801" cy="41910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2" name="Номер слайда 2">
            <a:extLst>
              <a:ext uri="{FF2B5EF4-FFF2-40B4-BE49-F238E27FC236}">
                <a16:creationId xmlns:a16="http://schemas.microsoft.com/office/drawing/2014/main" id="{97187552-510B-B748-D22C-E20AC64B6A8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03323" y="6311047"/>
            <a:ext cx="514489" cy="286603"/>
          </a:xfrm>
        </p:spPr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1681B71C-2C95-F684-C950-4944A93391F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19098" y="4225542"/>
            <a:ext cx="2019600" cy="2019600"/>
          </a:xfrm>
          <a:prstGeom prst="ellipse">
            <a:avLst/>
          </a:prstGeom>
          <a:blipFill dpi="0" rotWithShape="1">
            <a:blip r:embed="rId7"/>
            <a:srcRect/>
            <a:tile tx="0" ty="0" sx="100000" sy="100000" flip="none" algn="ctr"/>
          </a:blipFill>
          <a:effectLst>
            <a:outerShdw blurRad="381000" dist="88900" dir="8100000" algn="tr" rotWithShape="0">
              <a:srgbClr val="73B0FF">
                <a:alpha val="70000"/>
              </a:srgbClr>
            </a:outerShdw>
          </a:effectLst>
        </p:spPr>
        <p:txBody>
          <a:bodyPr tIns="1008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ыбрать изображение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C51A759-51C3-4F2B-EB55-992D1F134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5C00367-7163-78D6-4AF2-DF583E65B8F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300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FC6644-8BA0-4FCB-85D8-48A90BF074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9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2925748" y="1630195"/>
            <a:ext cx="2851200" cy="28512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0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415052" y="1630195"/>
            <a:ext cx="2851200" cy="28512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5267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8149E43-DCB1-4C91-8A90-7399A022C8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15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2925748" y="1630195"/>
            <a:ext cx="2851200" cy="28512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6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415052" y="1630195"/>
            <a:ext cx="2851200" cy="28512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541787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FC6644-8BA0-4FCB-85D8-48A90BF074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9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677507" y="1825152"/>
            <a:ext cx="2458800" cy="24588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0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055693" y="1825152"/>
            <a:ext cx="2458800" cy="24588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4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866600" y="1825152"/>
            <a:ext cx="2458800" cy="24588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0761168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8149E43-DCB1-4C91-8A90-7399A022C8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11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677507" y="1825152"/>
            <a:ext cx="2458800" cy="24588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3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055693" y="1825152"/>
            <a:ext cx="2458800" cy="24588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7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866600" y="1825152"/>
            <a:ext cx="2458800" cy="24588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837593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FC6644-8BA0-4FCB-85D8-48A90BF074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9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86196" y="2093144"/>
            <a:ext cx="1958400" cy="19584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152000" rIns="0" bIns="0" rtlCol="0" anchor="ctr">
            <a:normAutofit/>
          </a:bodyPr>
          <a:lstStyle>
            <a:lvl1pPr>
              <a:defRPr lang="ru-RU" sz="110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0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758674" y="2093144"/>
            <a:ext cx="1958400" cy="19584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152000" rIns="0" bIns="0" rtlCol="0" anchor="ctr">
            <a:normAutofit/>
          </a:bodyPr>
          <a:lstStyle>
            <a:lvl1pPr>
              <a:defRPr lang="ru-RU" sz="110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4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667848" y="2093144"/>
            <a:ext cx="1958400" cy="19584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152000" rIns="0" bIns="0" rtlCol="0" anchor="ctr">
            <a:normAutofit/>
          </a:bodyPr>
          <a:lstStyle>
            <a:lvl1pPr>
              <a:defRPr lang="ru-RU" sz="110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7" name="Рисунок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577022" y="2093144"/>
            <a:ext cx="1958400" cy="19584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152000" rIns="0" bIns="0" rtlCol="0" anchor="ctr">
            <a:normAutofit/>
          </a:bodyPr>
          <a:lstStyle>
            <a:lvl1pPr>
              <a:defRPr lang="ru-RU" sz="110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2728322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8149E43-DCB1-4C91-8A90-7399A022C8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15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86196" y="2093144"/>
            <a:ext cx="1958400" cy="19584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8000" rtlCol="0" anchor="ctr">
            <a:noAutofit/>
          </a:bodyPr>
          <a:lstStyle>
            <a:lvl1pPr marL="0" indent="0">
              <a:buNone/>
              <a:defRPr lang="ru-RU" sz="10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6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758674" y="2093144"/>
            <a:ext cx="1958400" cy="19584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8000" rtlCol="0" anchor="ctr">
            <a:noAutofit/>
          </a:bodyPr>
          <a:lstStyle>
            <a:lvl1pPr marL="0" indent="0">
              <a:buNone/>
              <a:defRPr lang="ru-RU" sz="10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8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667848" y="2093144"/>
            <a:ext cx="1958400" cy="19584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8000" rtlCol="0" anchor="ctr">
            <a:noAutofit/>
          </a:bodyPr>
          <a:lstStyle>
            <a:lvl1pPr marL="0" indent="0">
              <a:buNone/>
              <a:defRPr lang="ru-RU" sz="10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9" name="Рисунок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577022" y="2093144"/>
            <a:ext cx="1958400" cy="19584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8000" rtlCol="0" anchor="ctr">
            <a:noAutofit/>
          </a:bodyPr>
          <a:lstStyle>
            <a:lvl1pPr marL="0" indent="0">
              <a:buNone/>
              <a:defRPr lang="ru-RU" sz="10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534356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_ Широкая графика_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698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FC6644-8BA0-4FCB-85D8-48A90BF074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2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739109" y="1525666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3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386094" y="1525666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5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837099" y="1525666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6" name="Рисунок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288104" y="1525666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8" name="Рисунок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1739109" y="4179137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9" name="Рисунок 2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9386094" y="4179137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20" name="Рисунок 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837099" y="4179137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21" name="Рисунок 2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288104" y="4179137"/>
            <a:ext cx="1080000" cy="1080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00427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8149E43-DCB1-4C91-8A90-7399A022C8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29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739109" y="1525666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0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386094" y="1525666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1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837099" y="1525666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2" name="Рисунок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288104" y="1525666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7" name="Рисунок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1739109" y="4179137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8" name="Рисунок 2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9386094" y="4179137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9" name="Рисунок 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837099" y="4179137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40" name="Рисунок 2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288104" y="4179137"/>
            <a:ext cx="1080000" cy="1080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22746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2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297408"/>
            <a:ext cx="7344000" cy="42624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27725264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5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297408"/>
            <a:ext cx="7335838" cy="42624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4445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782696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2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057666"/>
            <a:ext cx="5392800" cy="31284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6320446" y="1057666"/>
            <a:ext cx="5392800" cy="31284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1961843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057666"/>
            <a:ext cx="5392800" cy="31284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6320446" y="1057666"/>
            <a:ext cx="5392800" cy="31284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618048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7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9" name="Рисунок 5"/>
          <p:cNvSpPr>
            <a:spLocks noGrp="1"/>
          </p:cNvSpPr>
          <p:nvPr>
            <p:ph type="pic" sz="quarter" idx="17" hasCustomPrompt="1"/>
          </p:nvPr>
        </p:nvSpPr>
        <p:spPr>
          <a:xfrm>
            <a:off x="8273680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8" hasCustomPrompt="1"/>
          </p:nvPr>
        </p:nvSpPr>
        <p:spPr>
          <a:xfrm>
            <a:off x="4381315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5045102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7" hasCustomPrompt="1"/>
          </p:nvPr>
        </p:nvSpPr>
        <p:spPr>
          <a:xfrm>
            <a:off x="8273680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8" hasCustomPrompt="1"/>
          </p:nvPr>
        </p:nvSpPr>
        <p:spPr>
          <a:xfrm>
            <a:off x="4381315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151897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001000" y="1052513"/>
            <a:ext cx="8190000" cy="4752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6660062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001000" y="1052513"/>
            <a:ext cx="8190000" cy="47520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447947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863875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A56C5E-ADF5-4C92-91C4-8C7B09E1B4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677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2478579" y="1594799"/>
            <a:ext cx="7411702" cy="4823769"/>
          </a:xfrm>
          <a:prstGeom prst="rect">
            <a:avLst/>
          </a:prstGeom>
        </p:spPr>
      </p:pic>
      <p:sp>
        <p:nvSpPr>
          <p:cNvPr id="19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3801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5172874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961481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42556261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478579" y="1594799"/>
            <a:ext cx="7411702" cy="4823769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3801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5172874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961481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39657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2478579" y="1595952"/>
            <a:ext cx="7411702" cy="4821463"/>
          </a:xfrm>
          <a:prstGeom prst="rect">
            <a:avLst/>
          </a:prstGeom>
        </p:spPr>
      </p:pic>
      <p:sp>
        <p:nvSpPr>
          <p:cNvPr id="7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3801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5172874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9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961481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1300531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478579" y="1595952"/>
            <a:ext cx="7411702" cy="4821463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3801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508000" dist="63500" dir="2700000" algn="tl" rotWithShape="0">
              <a:prstClr val="black">
                <a:alpha val="10000"/>
              </a:prst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5172874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508000" dist="63500" dir="2700000" algn="tl" rotWithShape="0">
              <a:prstClr val="black">
                <a:alpha val="10000"/>
              </a:prst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961481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508000" dist="63500" dir="2700000" algn="tl" rotWithShape="0">
              <a:prstClr val="black">
                <a:alpha val="10000"/>
              </a:prst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1116907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368000" y="1681389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30158051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5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368788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2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89A9B72-C171-4D00-A13F-CCF1F963A2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Текст 11">
            <a:extLst>
              <a:ext uri="{FF2B5EF4-FFF2-40B4-BE49-F238E27FC236}">
                <a16:creationId xmlns:a16="http://schemas.microsoft.com/office/drawing/2014/main" id="{B16C669C-A93F-34F8-E67E-992C8B8C7E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6" name="Номер слайда 6">
            <a:extLst>
              <a:ext uri="{FF2B5EF4-FFF2-40B4-BE49-F238E27FC236}">
                <a16:creationId xmlns:a16="http://schemas.microsoft.com/office/drawing/2014/main" id="{9A99EA71-7A42-AF06-578E-AC75733C2C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38237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368788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8950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8723262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6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368788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8950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2170804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9708519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7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2608953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в одну строку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863875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A56C5E-ADF5-4C92-91C4-8C7B09E1B4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099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9905225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8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4593955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1507374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9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3616073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23477278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0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8480681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9075231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8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6727010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2894111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1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9075231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8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6727010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9267543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8256575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45416619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2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8256575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469132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без лого/заголовка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5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7" y="1844675"/>
            <a:ext cx="7333787" cy="2772000"/>
          </a:xfrm>
          <a:prstGeom prst="roundRect">
            <a:avLst>
              <a:gd name="adj" fmla="val 3533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9893054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3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7" y="1844675"/>
            <a:ext cx="7333787" cy="2772000"/>
          </a:xfrm>
          <a:prstGeom prst="roundRect">
            <a:avLst>
              <a:gd name="adj" fmla="val 3533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4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1077945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488950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8256575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0161005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4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488950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8256575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14612935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139168" y="1454816"/>
            <a:ext cx="7913665" cy="5148000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771839" y="1832344"/>
            <a:ext cx="6640015" cy="4067045"/>
          </a:xfrm>
          <a:prstGeom prst="roundRect">
            <a:avLst>
              <a:gd name="adj" fmla="val 2457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rgbClr val="73B0FF">
                <a:alpha val="50000"/>
              </a:srgb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72933012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139168" y="1460155"/>
            <a:ext cx="7913665" cy="5148000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771839" y="1832344"/>
            <a:ext cx="6640015" cy="4067045"/>
          </a:xfrm>
          <a:prstGeom prst="roundRect">
            <a:avLst>
              <a:gd name="adj" fmla="val 2457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1216452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2478579" y="1594799"/>
            <a:ext cx="7411702" cy="4823769"/>
          </a:xfrm>
          <a:prstGeom prst="rect">
            <a:avLst/>
          </a:prstGeom>
        </p:spPr>
      </p:pic>
      <p:sp>
        <p:nvSpPr>
          <p:cNvPr id="14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902689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rgbClr val="73B0FF">
                <a:alpha val="50000"/>
              </a:srgb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6783775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rgbClr val="73B0FF">
                <a:alpha val="50000"/>
              </a:srgb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17562123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478579" y="1594799"/>
            <a:ext cx="7411702" cy="4823769"/>
          </a:xfrm>
          <a:prstGeom prst="rect">
            <a:avLst/>
          </a:prstGeom>
        </p:spPr>
      </p:pic>
      <p:sp>
        <p:nvSpPr>
          <p:cNvPr id="15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902689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6783775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2612946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88950" y="1847522"/>
            <a:ext cx="6406133" cy="4169313"/>
          </a:xfrm>
          <a:prstGeom prst="rect">
            <a:avLst/>
          </a:prstGeom>
        </p:spPr>
      </p:pic>
      <p:sp>
        <p:nvSpPr>
          <p:cNvPr id="14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902689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rgbClr val="73B0FF">
                <a:alpha val="50000"/>
              </a:srgbClr>
            </a:outerShdw>
          </a:effectLst>
        </p:spPr>
        <p:txBody>
          <a:bodyPr vert="horz" lIns="0" tIns="158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92927947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20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489935" y="1844675"/>
            <a:ext cx="6406133" cy="4169313"/>
          </a:xfrm>
          <a:prstGeom prst="rect">
            <a:avLst/>
          </a:prstGeom>
        </p:spPr>
      </p:pic>
      <p:sp>
        <p:nvSpPr>
          <p:cNvPr id="15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902689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862518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без лого/заголовка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86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88950" y="2252060"/>
            <a:ext cx="5201531" cy="3383702"/>
          </a:xfrm>
          <a:prstGeom prst="rect">
            <a:avLst/>
          </a:prstGeom>
        </p:spPr>
      </p:pic>
      <p:sp>
        <p:nvSpPr>
          <p:cNvPr id="10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9056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6648647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2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488928" y="2252060"/>
            <a:ext cx="5201989" cy="3384000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9056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/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2637476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зображениями и последовательност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188000" y="410187"/>
            <a:ext cx="10669038" cy="399712"/>
          </a:xfrm>
        </p:spPr>
        <p:txBody>
          <a:bodyPr lIns="0" tIns="0" anchor="t">
            <a:normAutofit/>
          </a:bodyPr>
          <a:lstStyle>
            <a:lvl1pPr>
              <a:defRPr sz="2296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10870" y="6419084"/>
            <a:ext cx="546168" cy="4389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398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3" name="Овал 12"/>
          <p:cNvSpPr/>
          <p:nvPr/>
        </p:nvSpPr>
        <p:spPr>
          <a:xfrm>
            <a:off x="1200152" y="1413400"/>
            <a:ext cx="1990725" cy="1990725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14" name="Овал 13"/>
          <p:cNvSpPr/>
          <p:nvPr/>
        </p:nvSpPr>
        <p:spPr>
          <a:xfrm>
            <a:off x="3924301" y="1413399"/>
            <a:ext cx="1990725" cy="1990725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15" name="Овал 14"/>
          <p:cNvSpPr/>
          <p:nvPr/>
        </p:nvSpPr>
        <p:spPr>
          <a:xfrm>
            <a:off x="1175207" y="3933203"/>
            <a:ext cx="1990725" cy="1990725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19" name="Рисунок 18"/>
          <p:cNvSpPr>
            <a:spLocks noGrp="1"/>
          </p:cNvSpPr>
          <p:nvPr>
            <p:ph type="pic" sz="quarter" idx="10" hasCustomPrompt="1"/>
          </p:nvPr>
        </p:nvSpPr>
        <p:spPr>
          <a:xfrm>
            <a:off x="1319503" y="1535236"/>
            <a:ext cx="1752020" cy="1749318"/>
          </a:xfrm>
          <a:custGeom>
            <a:avLst/>
            <a:gdLst>
              <a:gd name="connsiteX0" fmla="*/ 2357438 w 4714875"/>
              <a:gd name="connsiteY0" fmla="*/ 0 h 4714875"/>
              <a:gd name="connsiteX1" fmla="*/ 4702705 w 4714875"/>
              <a:gd name="connsiteY1" fmla="*/ 2116404 h 4714875"/>
              <a:gd name="connsiteX2" fmla="*/ 4714875 w 4714875"/>
              <a:gd name="connsiteY2" fmla="*/ 2357417 h 4714875"/>
              <a:gd name="connsiteX3" fmla="*/ 4714875 w 4714875"/>
              <a:gd name="connsiteY3" fmla="*/ 2357459 h 4714875"/>
              <a:gd name="connsiteX4" fmla="*/ 4702705 w 4714875"/>
              <a:gd name="connsiteY4" fmla="*/ 2598473 h 4714875"/>
              <a:gd name="connsiteX5" fmla="*/ 2598473 w 4714875"/>
              <a:gd name="connsiteY5" fmla="*/ 4702705 h 4714875"/>
              <a:gd name="connsiteX6" fmla="*/ 2357459 w 4714875"/>
              <a:gd name="connsiteY6" fmla="*/ 4714875 h 4714875"/>
              <a:gd name="connsiteX7" fmla="*/ 2357417 w 4714875"/>
              <a:gd name="connsiteY7" fmla="*/ 4714875 h 4714875"/>
              <a:gd name="connsiteX8" fmla="*/ 2116404 w 4714875"/>
              <a:gd name="connsiteY8" fmla="*/ 4702705 h 4714875"/>
              <a:gd name="connsiteX9" fmla="*/ 0 w 4714875"/>
              <a:gd name="connsiteY9" fmla="*/ 2357438 h 4714875"/>
              <a:gd name="connsiteX10" fmla="*/ 2357438 w 4714875"/>
              <a:gd name="connsiteY10" fmla="*/ 0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4875" h="4714875">
                <a:moveTo>
                  <a:pt x="2357438" y="0"/>
                </a:moveTo>
                <a:cubicBezTo>
                  <a:pt x="3578042" y="0"/>
                  <a:pt x="4581981" y="927651"/>
                  <a:pt x="4702705" y="2116404"/>
                </a:cubicBezTo>
                <a:lnTo>
                  <a:pt x="4714875" y="2357417"/>
                </a:lnTo>
                <a:lnTo>
                  <a:pt x="4714875" y="2357459"/>
                </a:lnTo>
                <a:lnTo>
                  <a:pt x="4702705" y="2598473"/>
                </a:lnTo>
                <a:cubicBezTo>
                  <a:pt x="4590029" y="3707975"/>
                  <a:pt x="3707975" y="4590029"/>
                  <a:pt x="2598473" y="4702705"/>
                </a:cubicBezTo>
                <a:lnTo>
                  <a:pt x="2357459" y="4714875"/>
                </a:lnTo>
                <a:lnTo>
                  <a:pt x="2357417" y="4714875"/>
                </a:lnTo>
                <a:lnTo>
                  <a:pt x="2116404" y="4702705"/>
                </a:lnTo>
                <a:cubicBezTo>
                  <a:pt x="927651" y="4581981"/>
                  <a:pt x="0" y="3578042"/>
                  <a:pt x="0" y="2357438"/>
                </a:cubicBezTo>
                <a:cubicBezTo>
                  <a:pt x="0" y="1055461"/>
                  <a:pt x="1055461" y="0"/>
                  <a:pt x="2357438" y="0"/>
                </a:cubicBezTo>
                <a:close/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998" baseline="0">
                <a:solidFill>
                  <a:schemeClr val="bg1"/>
                </a:solidFill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</a:t>
            </a:r>
            <a:r>
              <a:rPr lang="en-US" dirty="0"/>
              <a:t> 1  </a:t>
            </a:r>
            <a:r>
              <a:rPr lang="ru-RU" dirty="0"/>
              <a:t> в слайд</a:t>
            </a:r>
          </a:p>
        </p:txBody>
      </p:sp>
      <p:sp>
        <p:nvSpPr>
          <p:cNvPr id="20" name="Рисунок 19"/>
          <p:cNvSpPr>
            <a:spLocks noGrp="1"/>
          </p:cNvSpPr>
          <p:nvPr>
            <p:ph type="pic" sz="quarter" idx="13" hasCustomPrompt="1"/>
          </p:nvPr>
        </p:nvSpPr>
        <p:spPr>
          <a:xfrm>
            <a:off x="4043653" y="1535236"/>
            <a:ext cx="1752020" cy="1749318"/>
          </a:xfrm>
          <a:custGeom>
            <a:avLst/>
            <a:gdLst>
              <a:gd name="connsiteX0" fmla="*/ 2357438 w 4714875"/>
              <a:gd name="connsiteY0" fmla="*/ 0 h 4714875"/>
              <a:gd name="connsiteX1" fmla="*/ 4702705 w 4714875"/>
              <a:gd name="connsiteY1" fmla="*/ 2116404 h 4714875"/>
              <a:gd name="connsiteX2" fmla="*/ 4714875 w 4714875"/>
              <a:gd name="connsiteY2" fmla="*/ 2357417 h 4714875"/>
              <a:gd name="connsiteX3" fmla="*/ 4714875 w 4714875"/>
              <a:gd name="connsiteY3" fmla="*/ 2357459 h 4714875"/>
              <a:gd name="connsiteX4" fmla="*/ 4702705 w 4714875"/>
              <a:gd name="connsiteY4" fmla="*/ 2598473 h 4714875"/>
              <a:gd name="connsiteX5" fmla="*/ 2598473 w 4714875"/>
              <a:gd name="connsiteY5" fmla="*/ 4702705 h 4714875"/>
              <a:gd name="connsiteX6" fmla="*/ 2357459 w 4714875"/>
              <a:gd name="connsiteY6" fmla="*/ 4714875 h 4714875"/>
              <a:gd name="connsiteX7" fmla="*/ 2357417 w 4714875"/>
              <a:gd name="connsiteY7" fmla="*/ 4714875 h 4714875"/>
              <a:gd name="connsiteX8" fmla="*/ 2116404 w 4714875"/>
              <a:gd name="connsiteY8" fmla="*/ 4702705 h 4714875"/>
              <a:gd name="connsiteX9" fmla="*/ 0 w 4714875"/>
              <a:gd name="connsiteY9" fmla="*/ 2357438 h 4714875"/>
              <a:gd name="connsiteX10" fmla="*/ 2357438 w 4714875"/>
              <a:gd name="connsiteY10" fmla="*/ 0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4875" h="4714875">
                <a:moveTo>
                  <a:pt x="2357438" y="0"/>
                </a:moveTo>
                <a:cubicBezTo>
                  <a:pt x="3578042" y="0"/>
                  <a:pt x="4581981" y="927651"/>
                  <a:pt x="4702705" y="2116404"/>
                </a:cubicBezTo>
                <a:lnTo>
                  <a:pt x="4714875" y="2357417"/>
                </a:lnTo>
                <a:lnTo>
                  <a:pt x="4714875" y="2357459"/>
                </a:lnTo>
                <a:lnTo>
                  <a:pt x="4702705" y="2598473"/>
                </a:lnTo>
                <a:cubicBezTo>
                  <a:pt x="4590029" y="3707975"/>
                  <a:pt x="3707975" y="4590029"/>
                  <a:pt x="2598473" y="4702705"/>
                </a:cubicBezTo>
                <a:lnTo>
                  <a:pt x="2357459" y="4714875"/>
                </a:lnTo>
                <a:lnTo>
                  <a:pt x="2357417" y="4714875"/>
                </a:lnTo>
                <a:lnTo>
                  <a:pt x="2116404" y="4702705"/>
                </a:lnTo>
                <a:cubicBezTo>
                  <a:pt x="927651" y="4581981"/>
                  <a:pt x="0" y="3578042"/>
                  <a:pt x="0" y="2357438"/>
                </a:cubicBezTo>
                <a:cubicBezTo>
                  <a:pt x="0" y="1055461"/>
                  <a:pt x="1055461" y="0"/>
                  <a:pt x="2357438" y="0"/>
                </a:cubicBezTo>
                <a:close/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998" baseline="0">
                <a:solidFill>
                  <a:schemeClr val="bg1"/>
                </a:solidFill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</a:t>
            </a:r>
            <a:r>
              <a:rPr lang="en-US" dirty="0"/>
              <a:t> 2  </a:t>
            </a:r>
            <a:r>
              <a:rPr lang="ru-RU" dirty="0"/>
              <a:t> в слайд</a:t>
            </a:r>
          </a:p>
        </p:txBody>
      </p:sp>
      <p:sp>
        <p:nvSpPr>
          <p:cNvPr id="21" name="Рисунок 20"/>
          <p:cNvSpPr>
            <a:spLocks noGrp="1"/>
          </p:cNvSpPr>
          <p:nvPr>
            <p:ph type="pic" sz="quarter" idx="14" hasCustomPrompt="1"/>
          </p:nvPr>
        </p:nvSpPr>
        <p:spPr>
          <a:xfrm>
            <a:off x="1294558" y="4050744"/>
            <a:ext cx="1752020" cy="1749318"/>
          </a:xfrm>
          <a:custGeom>
            <a:avLst/>
            <a:gdLst>
              <a:gd name="connsiteX0" fmla="*/ 2357438 w 4714875"/>
              <a:gd name="connsiteY0" fmla="*/ 0 h 4714875"/>
              <a:gd name="connsiteX1" fmla="*/ 4702705 w 4714875"/>
              <a:gd name="connsiteY1" fmla="*/ 2116404 h 4714875"/>
              <a:gd name="connsiteX2" fmla="*/ 4714875 w 4714875"/>
              <a:gd name="connsiteY2" fmla="*/ 2357417 h 4714875"/>
              <a:gd name="connsiteX3" fmla="*/ 4714875 w 4714875"/>
              <a:gd name="connsiteY3" fmla="*/ 2357459 h 4714875"/>
              <a:gd name="connsiteX4" fmla="*/ 4702705 w 4714875"/>
              <a:gd name="connsiteY4" fmla="*/ 2598473 h 4714875"/>
              <a:gd name="connsiteX5" fmla="*/ 2598473 w 4714875"/>
              <a:gd name="connsiteY5" fmla="*/ 4702705 h 4714875"/>
              <a:gd name="connsiteX6" fmla="*/ 2357459 w 4714875"/>
              <a:gd name="connsiteY6" fmla="*/ 4714875 h 4714875"/>
              <a:gd name="connsiteX7" fmla="*/ 2357417 w 4714875"/>
              <a:gd name="connsiteY7" fmla="*/ 4714875 h 4714875"/>
              <a:gd name="connsiteX8" fmla="*/ 2116404 w 4714875"/>
              <a:gd name="connsiteY8" fmla="*/ 4702705 h 4714875"/>
              <a:gd name="connsiteX9" fmla="*/ 0 w 4714875"/>
              <a:gd name="connsiteY9" fmla="*/ 2357438 h 4714875"/>
              <a:gd name="connsiteX10" fmla="*/ 2357438 w 4714875"/>
              <a:gd name="connsiteY10" fmla="*/ 0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4875" h="4714875">
                <a:moveTo>
                  <a:pt x="2357438" y="0"/>
                </a:moveTo>
                <a:cubicBezTo>
                  <a:pt x="3578042" y="0"/>
                  <a:pt x="4581981" y="927651"/>
                  <a:pt x="4702705" y="2116404"/>
                </a:cubicBezTo>
                <a:lnTo>
                  <a:pt x="4714875" y="2357417"/>
                </a:lnTo>
                <a:lnTo>
                  <a:pt x="4714875" y="2357459"/>
                </a:lnTo>
                <a:lnTo>
                  <a:pt x="4702705" y="2598473"/>
                </a:lnTo>
                <a:cubicBezTo>
                  <a:pt x="4590029" y="3707975"/>
                  <a:pt x="3707975" y="4590029"/>
                  <a:pt x="2598473" y="4702705"/>
                </a:cubicBezTo>
                <a:lnTo>
                  <a:pt x="2357459" y="4714875"/>
                </a:lnTo>
                <a:lnTo>
                  <a:pt x="2357417" y="4714875"/>
                </a:lnTo>
                <a:lnTo>
                  <a:pt x="2116404" y="4702705"/>
                </a:lnTo>
                <a:cubicBezTo>
                  <a:pt x="927651" y="4581981"/>
                  <a:pt x="0" y="3578042"/>
                  <a:pt x="0" y="2357438"/>
                </a:cubicBezTo>
                <a:cubicBezTo>
                  <a:pt x="0" y="1055461"/>
                  <a:pt x="1055461" y="0"/>
                  <a:pt x="2357438" y="0"/>
                </a:cubicBezTo>
                <a:close/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998" baseline="0">
                <a:solidFill>
                  <a:schemeClr val="bg1"/>
                </a:solidFill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</a:t>
            </a:r>
            <a:r>
              <a:rPr lang="en-US" dirty="0"/>
              <a:t> 3  </a:t>
            </a:r>
            <a:r>
              <a:rPr lang="ru-RU" dirty="0"/>
              <a:t> в слайд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3167062" y="2318982"/>
            <a:ext cx="781052" cy="179547"/>
            <a:chOff x="4034704" y="2958849"/>
            <a:chExt cx="995027" cy="229089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4034704" y="3013551"/>
              <a:ext cx="515579" cy="119691"/>
            </a:xfrm>
            <a:prstGeom prst="rect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97" dirty="0"/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4550421" y="3013550"/>
              <a:ext cx="479310" cy="119691"/>
            </a:xfrm>
            <a:prstGeom prst="rect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97" dirty="0"/>
            </a:p>
          </p:txBody>
        </p:sp>
        <p:sp>
          <p:nvSpPr>
            <p:cNvPr id="26" name="Равнобедренный треугольник 25"/>
            <p:cNvSpPr/>
            <p:nvPr/>
          </p:nvSpPr>
          <p:spPr>
            <a:xfrm rot="5400000">
              <a:off x="4497889" y="2974801"/>
              <a:ext cx="229089" cy="197186"/>
            </a:xfrm>
            <a:prstGeom prst="triangle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97" dirty="0"/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 rot="284793">
            <a:off x="2715218" y="3331148"/>
            <a:ext cx="1634854" cy="753905"/>
            <a:chOff x="3383655" y="4217456"/>
            <a:chExt cx="2082736" cy="961927"/>
          </a:xfrm>
        </p:grpSpPr>
        <p:sp>
          <p:nvSpPr>
            <p:cNvPr id="31" name="Прямоугольник 30"/>
            <p:cNvSpPr/>
            <p:nvPr/>
          </p:nvSpPr>
          <p:spPr>
            <a:xfrm rot="8100000">
              <a:off x="3383655" y="5059692"/>
              <a:ext cx="1244150" cy="119691"/>
            </a:xfrm>
            <a:prstGeom prst="rect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97" dirty="0"/>
            </a:p>
          </p:txBody>
        </p:sp>
        <p:sp>
          <p:nvSpPr>
            <p:cNvPr id="32" name="Прямоугольник 31"/>
            <p:cNvSpPr/>
            <p:nvPr/>
          </p:nvSpPr>
          <p:spPr>
            <a:xfrm rot="8100000">
              <a:off x="4225660" y="4217456"/>
              <a:ext cx="1240731" cy="119691"/>
            </a:xfrm>
            <a:prstGeom prst="rect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97" dirty="0"/>
            </a:p>
          </p:txBody>
        </p:sp>
        <p:sp>
          <p:nvSpPr>
            <p:cNvPr id="33" name="Равнобедренный треугольник 32"/>
            <p:cNvSpPr/>
            <p:nvPr/>
          </p:nvSpPr>
          <p:spPr>
            <a:xfrm rot="13500000">
              <a:off x="4222724" y="4687087"/>
              <a:ext cx="229089" cy="197186"/>
            </a:xfrm>
            <a:prstGeom prst="triangle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97" dirty="0"/>
            </a:p>
          </p:txBody>
        </p:sp>
      </p:grpSp>
      <p:sp>
        <p:nvSpPr>
          <p:cNvPr id="41" name="Скругленный прямоугольник 40"/>
          <p:cNvSpPr/>
          <p:nvPr/>
        </p:nvSpPr>
        <p:spPr>
          <a:xfrm>
            <a:off x="7029588" y="2438493"/>
            <a:ext cx="468000" cy="482882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7029588" y="3382894"/>
            <a:ext cx="468000" cy="482882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7029588" y="4315558"/>
            <a:ext cx="468000" cy="482882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50" name="Текст 49"/>
          <p:cNvSpPr>
            <a:spLocks noGrp="1"/>
          </p:cNvSpPr>
          <p:nvPr>
            <p:ph type="body" sz="quarter" idx="16" hasCustomPrompt="1"/>
          </p:nvPr>
        </p:nvSpPr>
        <p:spPr>
          <a:xfrm>
            <a:off x="7648575" y="2549618"/>
            <a:ext cx="4208464" cy="23809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797" baseline="0">
                <a:latin typeface="+mj-lt"/>
              </a:defRPr>
            </a:lvl1pPr>
            <a:lvl2pPr marL="456484" indent="0">
              <a:buNone/>
              <a:defRPr sz="2397">
                <a:latin typeface="Bliss Pro ExtraLight" panose="02000506040000020004" pitchFamily="50" charset="0"/>
              </a:defRPr>
            </a:lvl2pPr>
            <a:lvl3pPr marL="912968" indent="0">
              <a:buNone/>
              <a:defRPr sz="2397">
                <a:latin typeface="Bliss Pro ExtraLight" panose="02000506040000020004" pitchFamily="50" charset="0"/>
              </a:defRPr>
            </a:lvl3pPr>
            <a:lvl4pPr marL="1369451" indent="0">
              <a:buNone/>
              <a:defRPr sz="2397">
                <a:latin typeface="Bliss Pro ExtraLight" panose="02000506040000020004" pitchFamily="50" charset="0"/>
              </a:defRPr>
            </a:lvl4pPr>
            <a:lvl5pPr marL="1825936" indent="0">
              <a:buNone/>
              <a:defRPr sz="2397"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Название составляющей.</a:t>
            </a:r>
          </a:p>
        </p:txBody>
      </p:sp>
      <p:sp>
        <p:nvSpPr>
          <p:cNvPr id="51" name="Текст 49"/>
          <p:cNvSpPr>
            <a:spLocks noGrp="1"/>
          </p:cNvSpPr>
          <p:nvPr>
            <p:ph type="body" sz="quarter" idx="17" hasCustomPrompt="1"/>
          </p:nvPr>
        </p:nvSpPr>
        <p:spPr>
          <a:xfrm>
            <a:off x="7648575" y="3497568"/>
            <a:ext cx="4208464" cy="226642"/>
          </a:xfrm>
        </p:spPr>
        <p:txBody>
          <a:bodyPr lIns="0" tIns="0" rIns="0" bIns="0">
            <a:noAutofit/>
          </a:bodyPr>
          <a:lstStyle>
            <a:lvl1pPr marL="0" marR="0" indent="0" algn="l" defTabSz="912968" rtl="0" eaLnBrk="1" fontAlgn="auto" latinLnBrk="0" hangingPunct="1">
              <a:lnSpc>
                <a:spcPct val="90000"/>
              </a:lnSpc>
              <a:spcBef>
                <a:spcPts val="99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97" b="0" kern="2000" spc="0" baseline="0">
                <a:latin typeface="+mj-lt"/>
              </a:defRPr>
            </a:lvl1pPr>
            <a:lvl2pPr marL="456484" indent="0">
              <a:buNone/>
              <a:defRPr sz="2397">
                <a:latin typeface="Bliss Pro ExtraLight" panose="02000506040000020004" pitchFamily="50" charset="0"/>
              </a:defRPr>
            </a:lvl2pPr>
            <a:lvl3pPr marL="912968" indent="0">
              <a:buNone/>
              <a:defRPr sz="2397">
                <a:latin typeface="Bliss Pro ExtraLight" panose="02000506040000020004" pitchFamily="50" charset="0"/>
              </a:defRPr>
            </a:lvl3pPr>
            <a:lvl4pPr marL="1369451" indent="0">
              <a:buNone/>
              <a:defRPr sz="2397">
                <a:latin typeface="Bliss Pro ExtraLight" panose="02000506040000020004" pitchFamily="50" charset="0"/>
              </a:defRPr>
            </a:lvl4pPr>
            <a:lvl5pPr marL="1825936" indent="0">
              <a:buNone/>
              <a:defRPr sz="2397">
                <a:latin typeface="Bliss Pro ExtraLight" panose="02000506040000020004" pitchFamily="50" charset="0"/>
              </a:defRPr>
            </a:lvl5pPr>
          </a:lstStyle>
          <a:p>
            <a:pPr marL="0" marR="0" lvl="0" indent="0" algn="l" defTabSz="912968" rtl="0" eaLnBrk="1" fontAlgn="auto" latinLnBrk="0" hangingPunct="1">
              <a:lnSpc>
                <a:spcPct val="90000"/>
              </a:lnSpc>
              <a:spcBef>
                <a:spcPts val="99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составляющей.</a:t>
            </a:r>
          </a:p>
          <a:p>
            <a:pPr lvl="0"/>
            <a:endParaRPr lang="ru-RU" dirty="0"/>
          </a:p>
        </p:txBody>
      </p:sp>
      <p:sp>
        <p:nvSpPr>
          <p:cNvPr id="52" name="Текст 49"/>
          <p:cNvSpPr>
            <a:spLocks noGrp="1"/>
          </p:cNvSpPr>
          <p:nvPr>
            <p:ph type="body" sz="quarter" idx="18" hasCustomPrompt="1"/>
          </p:nvPr>
        </p:nvSpPr>
        <p:spPr>
          <a:xfrm>
            <a:off x="7648575" y="4436544"/>
            <a:ext cx="4208464" cy="21266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797" baseline="0">
                <a:latin typeface="+mj-lt"/>
              </a:defRPr>
            </a:lvl1pPr>
            <a:lvl2pPr marL="456484" indent="0">
              <a:buNone/>
              <a:defRPr sz="2397">
                <a:latin typeface="Bliss Pro ExtraLight" panose="02000506040000020004" pitchFamily="50" charset="0"/>
              </a:defRPr>
            </a:lvl2pPr>
            <a:lvl3pPr marL="912968" indent="0">
              <a:buNone/>
              <a:defRPr sz="2397">
                <a:latin typeface="Bliss Pro ExtraLight" panose="02000506040000020004" pitchFamily="50" charset="0"/>
              </a:defRPr>
            </a:lvl3pPr>
            <a:lvl4pPr marL="1369451" indent="0">
              <a:buNone/>
              <a:defRPr sz="2397">
                <a:latin typeface="Bliss Pro ExtraLight" panose="02000506040000020004" pitchFamily="50" charset="0"/>
              </a:defRPr>
            </a:lvl4pPr>
            <a:lvl5pPr marL="1825936" indent="0">
              <a:buNone/>
              <a:defRPr sz="2397"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Название составляющей.</a:t>
            </a:r>
          </a:p>
        </p:txBody>
      </p:sp>
      <p:sp>
        <p:nvSpPr>
          <p:cNvPr id="49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9390529" y="6402760"/>
            <a:ext cx="1770063" cy="314325"/>
          </a:xfrm>
        </p:spPr>
        <p:txBody>
          <a:bodyPr>
            <a:normAutofit/>
          </a:bodyPr>
          <a:lstStyle>
            <a:lvl1pPr marL="0" indent="0" algn="r">
              <a:buNone/>
              <a:defRPr sz="1098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 flipV="1">
            <a:off x="11294268" y="6419084"/>
            <a:ext cx="0" cy="438916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7025934" y="2426487"/>
            <a:ext cx="468000" cy="522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95" dirty="0">
                <a:solidFill>
                  <a:schemeClr val="bg1"/>
                </a:solidFill>
                <a:latin typeface="Stem Medium" panose="020B0603020203020204" pitchFamily="34" charset="-52"/>
                <a:ea typeface="Stem Medium" panose="020B0603020203020204" pitchFamily="34" charset="-52"/>
              </a:rPr>
              <a:t>1</a:t>
            </a:r>
            <a:endParaRPr lang="ru-RU" sz="2795" dirty="0">
              <a:solidFill>
                <a:schemeClr val="bg1"/>
              </a:solidFill>
              <a:latin typeface="Stem Medium" panose="020B0603020203020204" pitchFamily="34" charset="-52"/>
              <a:ea typeface="Stem Medium" panose="020B0603020203020204" pitchFamily="34" charset="-52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035459" y="3354143"/>
            <a:ext cx="468000" cy="522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95" dirty="0">
                <a:solidFill>
                  <a:schemeClr val="bg1"/>
                </a:solidFill>
                <a:latin typeface="Stem Medium" panose="020B0603020203020204" pitchFamily="34" charset="-52"/>
                <a:ea typeface="Stem Medium" panose="020B0603020203020204" pitchFamily="34" charset="-52"/>
              </a:rPr>
              <a:t>2</a:t>
            </a:r>
            <a:endParaRPr lang="ru-RU" sz="2795" dirty="0">
              <a:solidFill>
                <a:schemeClr val="bg1"/>
              </a:solidFill>
              <a:latin typeface="Stem Medium" panose="020B0603020203020204" pitchFamily="34" charset="-52"/>
              <a:ea typeface="Stem Medium" panose="020B0603020203020204" pitchFamily="34" charset="-52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030696" y="4298603"/>
            <a:ext cx="468000" cy="522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95" dirty="0">
                <a:solidFill>
                  <a:schemeClr val="bg1"/>
                </a:solidFill>
                <a:latin typeface="Stem Medium" panose="020B0603020203020204" pitchFamily="34" charset="-52"/>
                <a:ea typeface="Stem Medium" panose="020B0603020203020204" pitchFamily="34" charset="-52"/>
              </a:rPr>
              <a:t>3</a:t>
            </a:r>
            <a:endParaRPr lang="ru-RU" sz="2795" dirty="0">
              <a:solidFill>
                <a:schemeClr val="bg1"/>
              </a:solidFill>
              <a:latin typeface="Stem Medium" panose="020B0603020203020204" pitchFamily="34" charset="-52"/>
              <a:ea typeface="Stem Medium" panose="020B0603020203020204" pitchFamily="34" charset="-52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 flipV="1">
            <a:off x="6474753" y="1497537"/>
            <a:ext cx="0" cy="4539897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909" y="388743"/>
            <a:ext cx="486103" cy="486000"/>
          </a:xfrm>
          <a:prstGeom prst="rect">
            <a:avLst/>
          </a:prstGeom>
        </p:spPr>
      </p:pic>
      <p:sp>
        <p:nvSpPr>
          <p:cNvPr id="59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193610" y="818139"/>
            <a:ext cx="10663428" cy="29742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98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  <p:sp>
        <p:nvSpPr>
          <p:cNvPr id="46" name="Текст 49"/>
          <p:cNvSpPr>
            <a:spLocks noGrp="1"/>
          </p:cNvSpPr>
          <p:nvPr>
            <p:ph type="body" sz="quarter" idx="20" hasCustomPrompt="1"/>
          </p:nvPr>
        </p:nvSpPr>
        <p:spPr>
          <a:xfrm>
            <a:off x="7041503" y="1703352"/>
            <a:ext cx="4815535" cy="28226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797" baseline="0">
                <a:latin typeface="+mj-lt"/>
              </a:defRPr>
            </a:lvl1pPr>
            <a:lvl2pPr marL="456484" indent="0">
              <a:buNone/>
              <a:defRPr sz="2397">
                <a:latin typeface="Bliss Pro ExtraLight" panose="02000506040000020004" pitchFamily="50" charset="0"/>
              </a:defRPr>
            </a:lvl2pPr>
            <a:lvl3pPr marL="912968" indent="0">
              <a:buNone/>
              <a:defRPr sz="2397">
                <a:latin typeface="Bliss Pro ExtraLight" panose="02000506040000020004" pitchFamily="50" charset="0"/>
              </a:defRPr>
            </a:lvl3pPr>
            <a:lvl4pPr marL="1369451" indent="0">
              <a:buNone/>
              <a:defRPr sz="2397">
                <a:latin typeface="Bliss Pro ExtraLight" panose="02000506040000020004" pitchFamily="50" charset="0"/>
              </a:defRPr>
            </a:lvl4pPr>
            <a:lvl5pPr marL="1825936" indent="0">
              <a:buNone/>
              <a:defRPr sz="2397"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34" name="Скругленный прямоугольник 33"/>
          <p:cNvSpPr/>
          <p:nvPr userDrawn="1"/>
        </p:nvSpPr>
        <p:spPr>
          <a:xfrm>
            <a:off x="7029588" y="5305390"/>
            <a:ext cx="468000" cy="482882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35" name="Текст 49"/>
          <p:cNvSpPr>
            <a:spLocks noGrp="1"/>
          </p:cNvSpPr>
          <p:nvPr>
            <p:ph type="body" sz="quarter" idx="21" hasCustomPrompt="1"/>
          </p:nvPr>
        </p:nvSpPr>
        <p:spPr>
          <a:xfrm>
            <a:off x="7648575" y="5426376"/>
            <a:ext cx="4208464" cy="21266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797" baseline="0">
                <a:latin typeface="+mj-lt"/>
              </a:defRPr>
            </a:lvl1pPr>
            <a:lvl2pPr marL="456484" indent="0">
              <a:buNone/>
              <a:defRPr sz="2397">
                <a:latin typeface="Bliss Pro ExtraLight" panose="02000506040000020004" pitchFamily="50" charset="0"/>
              </a:defRPr>
            </a:lvl2pPr>
            <a:lvl3pPr marL="912968" indent="0">
              <a:buNone/>
              <a:defRPr sz="2397">
                <a:latin typeface="Bliss Pro ExtraLight" panose="02000506040000020004" pitchFamily="50" charset="0"/>
              </a:defRPr>
            </a:lvl3pPr>
            <a:lvl4pPr marL="1369451" indent="0">
              <a:buNone/>
              <a:defRPr sz="2397">
                <a:latin typeface="Bliss Pro ExtraLight" panose="02000506040000020004" pitchFamily="50" charset="0"/>
              </a:defRPr>
            </a:lvl4pPr>
            <a:lvl5pPr marL="1825936" indent="0">
              <a:buNone/>
              <a:defRPr sz="2397"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Название составляющей.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7030696" y="5288436"/>
            <a:ext cx="468000" cy="522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95" dirty="0" smtClean="0">
                <a:solidFill>
                  <a:schemeClr val="bg1"/>
                </a:solidFill>
                <a:latin typeface="Stem Medium" panose="020B0603020203020204" pitchFamily="34" charset="-52"/>
                <a:ea typeface="Stem Medium" panose="020B0603020203020204" pitchFamily="34" charset="-52"/>
              </a:rPr>
              <a:t>4</a:t>
            </a:r>
            <a:endParaRPr lang="ru-RU" sz="2795" dirty="0">
              <a:solidFill>
                <a:schemeClr val="bg1"/>
              </a:solidFill>
              <a:latin typeface="Stem Medium" panose="020B0603020203020204" pitchFamily="34" charset="-52"/>
              <a:ea typeface="Stem Medium" panose="020B0603020203020204" pitchFamily="34" charset="-52"/>
            </a:endParaRPr>
          </a:p>
        </p:txBody>
      </p:sp>
      <p:sp>
        <p:nvSpPr>
          <p:cNvPr id="37" name="Овал 36"/>
          <p:cNvSpPr/>
          <p:nvPr userDrawn="1"/>
        </p:nvSpPr>
        <p:spPr>
          <a:xfrm>
            <a:off x="3924301" y="3933203"/>
            <a:ext cx="1990725" cy="1990725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38" name="Рисунок 20"/>
          <p:cNvSpPr>
            <a:spLocks noGrp="1"/>
          </p:cNvSpPr>
          <p:nvPr>
            <p:ph type="pic" sz="quarter" idx="22" hasCustomPrompt="1"/>
          </p:nvPr>
        </p:nvSpPr>
        <p:spPr>
          <a:xfrm>
            <a:off x="4043653" y="4050744"/>
            <a:ext cx="1752020" cy="1749318"/>
          </a:xfrm>
          <a:custGeom>
            <a:avLst/>
            <a:gdLst>
              <a:gd name="connsiteX0" fmla="*/ 2357438 w 4714875"/>
              <a:gd name="connsiteY0" fmla="*/ 0 h 4714875"/>
              <a:gd name="connsiteX1" fmla="*/ 4702705 w 4714875"/>
              <a:gd name="connsiteY1" fmla="*/ 2116404 h 4714875"/>
              <a:gd name="connsiteX2" fmla="*/ 4714875 w 4714875"/>
              <a:gd name="connsiteY2" fmla="*/ 2357417 h 4714875"/>
              <a:gd name="connsiteX3" fmla="*/ 4714875 w 4714875"/>
              <a:gd name="connsiteY3" fmla="*/ 2357459 h 4714875"/>
              <a:gd name="connsiteX4" fmla="*/ 4702705 w 4714875"/>
              <a:gd name="connsiteY4" fmla="*/ 2598473 h 4714875"/>
              <a:gd name="connsiteX5" fmla="*/ 2598473 w 4714875"/>
              <a:gd name="connsiteY5" fmla="*/ 4702705 h 4714875"/>
              <a:gd name="connsiteX6" fmla="*/ 2357459 w 4714875"/>
              <a:gd name="connsiteY6" fmla="*/ 4714875 h 4714875"/>
              <a:gd name="connsiteX7" fmla="*/ 2357417 w 4714875"/>
              <a:gd name="connsiteY7" fmla="*/ 4714875 h 4714875"/>
              <a:gd name="connsiteX8" fmla="*/ 2116404 w 4714875"/>
              <a:gd name="connsiteY8" fmla="*/ 4702705 h 4714875"/>
              <a:gd name="connsiteX9" fmla="*/ 0 w 4714875"/>
              <a:gd name="connsiteY9" fmla="*/ 2357438 h 4714875"/>
              <a:gd name="connsiteX10" fmla="*/ 2357438 w 4714875"/>
              <a:gd name="connsiteY10" fmla="*/ 0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4875" h="4714875">
                <a:moveTo>
                  <a:pt x="2357438" y="0"/>
                </a:moveTo>
                <a:cubicBezTo>
                  <a:pt x="3578042" y="0"/>
                  <a:pt x="4581981" y="927651"/>
                  <a:pt x="4702705" y="2116404"/>
                </a:cubicBezTo>
                <a:lnTo>
                  <a:pt x="4714875" y="2357417"/>
                </a:lnTo>
                <a:lnTo>
                  <a:pt x="4714875" y="2357459"/>
                </a:lnTo>
                <a:lnTo>
                  <a:pt x="4702705" y="2598473"/>
                </a:lnTo>
                <a:cubicBezTo>
                  <a:pt x="4590029" y="3707975"/>
                  <a:pt x="3707975" y="4590029"/>
                  <a:pt x="2598473" y="4702705"/>
                </a:cubicBezTo>
                <a:lnTo>
                  <a:pt x="2357459" y="4714875"/>
                </a:lnTo>
                <a:lnTo>
                  <a:pt x="2357417" y="4714875"/>
                </a:lnTo>
                <a:lnTo>
                  <a:pt x="2116404" y="4702705"/>
                </a:lnTo>
                <a:cubicBezTo>
                  <a:pt x="927651" y="4581981"/>
                  <a:pt x="0" y="3578042"/>
                  <a:pt x="0" y="2357438"/>
                </a:cubicBezTo>
                <a:cubicBezTo>
                  <a:pt x="0" y="1055461"/>
                  <a:pt x="1055461" y="0"/>
                  <a:pt x="2357438" y="0"/>
                </a:cubicBezTo>
                <a:close/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998" baseline="0">
                <a:solidFill>
                  <a:schemeClr val="bg1"/>
                </a:solidFill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</a:t>
            </a:r>
            <a:r>
              <a:rPr lang="en-US" dirty="0"/>
              <a:t> 3  </a:t>
            </a:r>
            <a:r>
              <a:rPr lang="ru-RU" dirty="0"/>
              <a:t> в слайд</a:t>
            </a:r>
          </a:p>
        </p:txBody>
      </p:sp>
      <p:grpSp>
        <p:nvGrpSpPr>
          <p:cNvPr id="39" name="Группа 38"/>
          <p:cNvGrpSpPr/>
          <p:nvPr userDrawn="1"/>
        </p:nvGrpSpPr>
        <p:grpSpPr>
          <a:xfrm>
            <a:off x="3167062" y="4827284"/>
            <a:ext cx="781052" cy="179547"/>
            <a:chOff x="4034704" y="2958849"/>
            <a:chExt cx="995027" cy="229089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4034704" y="3013551"/>
              <a:ext cx="515579" cy="119691"/>
            </a:xfrm>
            <a:prstGeom prst="rect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97" dirty="0"/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4550421" y="3013550"/>
              <a:ext cx="479310" cy="119691"/>
            </a:xfrm>
            <a:prstGeom prst="rect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97" dirty="0"/>
            </a:p>
          </p:txBody>
        </p:sp>
        <p:sp>
          <p:nvSpPr>
            <p:cNvPr id="47" name="Равнобедренный треугольник 46"/>
            <p:cNvSpPr/>
            <p:nvPr/>
          </p:nvSpPr>
          <p:spPr>
            <a:xfrm rot="5400000">
              <a:off x="4497889" y="2974801"/>
              <a:ext cx="229089" cy="197186"/>
            </a:xfrm>
            <a:prstGeom prst="triangle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97" dirty="0"/>
            </a:p>
          </p:txBody>
        </p:sp>
      </p:grpSp>
    </p:spTree>
    <p:extLst>
      <p:ext uri="{BB962C8B-B14F-4D97-AF65-F5344CB8AC3E}">
        <p14:creationId xmlns:p14="http://schemas.microsoft.com/office/powerpoint/2010/main" val="92498131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следовательность из пя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188000" y="410187"/>
            <a:ext cx="10669038" cy="399712"/>
          </a:xfrm>
        </p:spPr>
        <p:txBody>
          <a:bodyPr lIns="0" tIns="0" anchor="t">
            <a:normAutofit/>
          </a:bodyPr>
          <a:lstStyle>
            <a:lvl1pPr>
              <a:defRPr sz="2296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10870" y="6419084"/>
            <a:ext cx="546168" cy="4389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398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104559" y="2346100"/>
            <a:ext cx="11563972" cy="1"/>
          </a:xfrm>
          <a:prstGeom prst="line">
            <a:avLst/>
          </a:prstGeom>
          <a:ln w="31750" cap="rnd">
            <a:solidFill>
              <a:srgbClr val="006AB4"/>
            </a:solidFill>
            <a:prstDash val="dashDot"/>
            <a:miter lim="800000"/>
            <a:headEnd type="diamond" w="lg" len="lg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 flipH="1">
            <a:off x="2745584" y="3017451"/>
            <a:ext cx="1" cy="1621365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Текст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9239" y="4719557"/>
            <a:ext cx="1396214" cy="360926"/>
          </a:xfrm>
        </p:spPr>
        <p:txBody>
          <a:bodyPr>
            <a:normAutofit/>
          </a:bodyPr>
          <a:lstStyle>
            <a:lvl1pPr marL="0" indent="0" algn="ctr">
              <a:buNone/>
              <a:defRPr sz="1097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  <p:sp>
        <p:nvSpPr>
          <p:cNvPr id="33" name="Рисунок 32"/>
          <p:cNvSpPr>
            <a:spLocks noGrp="1"/>
          </p:cNvSpPr>
          <p:nvPr>
            <p:ph type="pic" sz="quarter" idx="25" hasCustomPrompt="1"/>
          </p:nvPr>
        </p:nvSpPr>
        <p:spPr>
          <a:xfrm>
            <a:off x="210346" y="1674565"/>
            <a:ext cx="1196751" cy="136043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799"/>
            </a:lvl1pPr>
          </a:lstStyle>
          <a:p>
            <a:r>
              <a:rPr lang="ru-RU" dirty="0"/>
              <a:t>Изображение 1</a:t>
            </a:r>
          </a:p>
        </p:txBody>
      </p:sp>
      <p:sp>
        <p:nvSpPr>
          <p:cNvPr id="35" name="Рисунок 34"/>
          <p:cNvSpPr>
            <a:spLocks noGrp="1"/>
          </p:cNvSpPr>
          <p:nvPr>
            <p:ph type="pic" sz="quarter" idx="26" hasCustomPrompt="1"/>
          </p:nvPr>
        </p:nvSpPr>
        <p:spPr>
          <a:xfrm>
            <a:off x="4195239" y="1663345"/>
            <a:ext cx="1196751" cy="136043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79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5</a:t>
            </a:r>
            <a:endParaRPr lang="ru-RU" dirty="0"/>
          </a:p>
        </p:txBody>
      </p:sp>
      <p:sp>
        <p:nvSpPr>
          <p:cNvPr id="37" name="Рисунок 36"/>
          <p:cNvSpPr>
            <a:spLocks noGrp="1"/>
          </p:cNvSpPr>
          <p:nvPr>
            <p:ph type="pic" sz="quarter" idx="27" hasCustomPrompt="1"/>
          </p:nvPr>
        </p:nvSpPr>
        <p:spPr>
          <a:xfrm>
            <a:off x="2063899" y="1674677"/>
            <a:ext cx="1196751" cy="136043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79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3</a:t>
            </a:r>
            <a:endParaRPr lang="ru-RU" dirty="0"/>
          </a:p>
        </p:txBody>
      </p:sp>
      <p:sp>
        <p:nvSpPr>
          <p:cNvPr id="39" name="Рисунок 38"/>
          <p:cNvSpPr>
            <a:spLocks noGrp="1"/>
          </p:cNvSpPr>
          <p:nvPr>
            <p:ph type="pic" sz="quarter" idx="28" hasCustomPrompt="1"/>
          </p:nvPr>
        </p:nvSpPr>
        <p:spPr>
          <a:xfrm>
            <a:off x="1103602" y="2443016"/>
            <a:ext cx="1196751" cy="136043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79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2</a:t>
            </a:r>
            <a:endParaRPr lang="ru-RU" dirty="0"/>
          </a:p>
        </p:txBody>
      </p:sp>
      <p:sp>
        <p:nvSpPr>
          <p:cNvPr id="41" name="Рисунок 40"/>
          <p:cNvSpPr>
            <a:spLocks noGrp="1"/>
          </p:cNvSpPr>
          <p:nvPr>
            <p:ph type="pic" sz="quarter" idx="29" hasCustomPrompt="1"/>
          </p:nvPr>
        </p:nvSpPr>
        <p:spPr>
          <a:xfrm>
            <a:off x="3129353" y="2441340"/>
            <a:ext cx="1196751" cy="136043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79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4</a:t>
            </a:r>
            <a:endParaRPr lang="ru-RU" dirty="0"/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H="1">
            <a:off x="897345" y="3033878"/>
            <a:ext cx="1" cy="1621365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Текст 19"/>
          <p:cNvSpPr>
            <a:spLocks noGrp="1"/>
          </p:cNvSpPr>
          <p:nvPr>
            <p:ph type="body" sz="quarter" idx="30" hasCustomPrompt="1"/>
          </p:nvPr>
        </p:nvSpPr>
        <p:spPr>
          <a:xfrm>
            <a:off x="1093553" y="5508041"/>
            <a:ext cx="1396214" cy="360927"/>
          </a:xfrm>
        </p:spPr>
        <p:txBody>
          <a:bodyPr>
            <a:normAutofit/>
          </a:bodyPr>
          <a:lstStyle>
            <a:lvl1pPr marL="0" indent="0" algn="ctr">
              <a:buNone/>
              <a:defRPr sz="1097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2</a:t>
            </a:r>
          </a:p>
        </p:txBody>
      </p:sp>
      <p:sp>
        <p:nvSpPr>
          <p:cNvPr id="53" name="Текст 19"/>
          <p:cNvSpPr>
            <a:spLocks noGrp="1"/>
          </p:cNvSpPr>
          <p:nvPr>
            <p:ph type="body" sz="quarter" idx="31" hasCustomPrompt="1"/>
          </p:nvPr>
        </p:nvSpPr>
        <p:spPr>
          <a:xfrm>
            <a:off x="1955470" y="4719556"/>
            <a:ext cx="1396214" cy="363817"/>
          </a:xfrm>
        </p:spPr>
        <p:txBody>
          <a:bodyPr>
            <a:normAutofit/>
          </a:bodyPr>
          <a:lstStyle>
            <a:lvl1pPr marL="0" indent="0" algn="ctr">
              <a:buNone/>
              <a:defRPr sz="1097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3</a:t>
            </a:r>
          </a:p>
        </p:txBody>
      </p:sp>
      <p:sp>
        <p:nvSpPr>
          <p:cNvPr id="54" name="Текст 19"/>
          <p:cNvSpPr>
            <a:spLocks noGrp="1"/>
          </p:cNvSpPr>
          <p:nvPr>
            <p:ph type="body" sz="quarter" idx="32" hasCustomPrompt="1"/>
          </p:nvPr>
        </p:nvSpPr>
        <p:spPr>
          <a:xfrm>
            <a:off x="3125156" y="5509086"/>
            <a:ext cx="1396214" cy="363817"/>
          </a:xfrm>
        </p:spPr>
        <p:txBody>
          <a:bodyPr>
            <a:normAutofit/>
          </a:bodyPr>
          <a:lstStyle>
            <a:lvl1pPr marL="0" indent="0" algn="ctr">
              <a:buNone/>
              <a:defRPr sz="1097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4</a:t>
            </a:r>
          </a:p>
        </p:txBody>
      </p:sp>
      <p:sp>
        <p:nvSpPr>
          <p:cNvPr id="55" name="Текст 19"/>
          <p:cNvSpPr>
            <a:spLocks noGrp="1"/>
          </p:cNvSpPr>
          <p:nvPr>
            <p:ph type="body" sz="quarter" idx="33" hasCustomPrompt="1"/>
          </p:nvPr>
        </p:nvSpPr>
        <p:spPr>
          <a:xfrm>
            <a:off x="4188476" y="4719556"/>
            <a:ext cx="1396214" cy="363817"/>
          </a:xfrm>
        </p:spPr>
        <p:txBody>
          <a:bodyPr>
            <a:normAutofit/>
          </a:bodyPr>
          <a:lstStyle>
            <a:lvl1pPr marL="0" indent="0" algn="ctr">
              <a:buNone/>
              <a:defRPr sz="1097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5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9390529" y="6402760"/>
            <a:ext cx="1770063" cy="314325"/>
          </a:xfrm>
        </p:spPr>
        <p:txBody>
          <a:bodyPr>
            <a:normAutofit/>
          </a:bodyPr>
          <a:lstStyle>
            <a:lvl1pPr marL="0" indent="0" algn="r">
              <a:buNone/>
              <a:defRPr sz="1098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 flipV="1">
            <a:off x="11294268" y="6419084"/>
            <a:ext cx="0" cy="438916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Рисунок 4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909" y="388743"/>
            <a:ext cx="486103" cy="486000"/>
          </a:xfrm>
          <a:prstGeom prst="rect">
            <a:avLst/>
          </a:prstGeom>
        </p:spPr>
      </p:pic>
      <p:sp>
        <p:nvSpPr>
          <p:cNvPr id="5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193610" y="818139"/>
            <a:ext cx="10663428" cy="29742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98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  <p:sp>
        <p:nvSpPr>
          <p:cNvPr id="51" name="Рисунок 40"/>
          <p:cNvSpPr>
            <a:spLocks noGrp="1"/>
          </p:cNvSpPr>
          <p:nvPr>
            <p:ph type="pic" sz="quarter" idx="38" hasCustomPrompt="1"/>
          </p:nvPr>
        </p:nvSpPr>
        <p:spPr>
          <a:xfrm>
            <a:off x="5274959" y="2441343"/>
            <a:ext cx="1196751" cy="136043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79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4</a:t>
            </a:r>
            <a:endParaRPr lang="ru-RU" dirty="0"/>
          </a:p>
        </p:txBody>
      </p:sp>
      <p:sp>
        <p:nvSpPr>
          <p:cNvPr id="61" name="Текст 19"/>
          <p:cNvSpPr>
            <a:spLocks noGrp="1"/>
          </p:cNvSpPr>
          <p:nvPr>
            <p:ph type="body" sz="quarter" idx="39" hasCustomPrompt="1"/>
          </p:nvPr>
        </p:nvSpPr>
        <p:spPr>
          <a:xfrm>
            <a:off x="5270762" y="5509088"/>
            <a:ext cx="1396214" cy="363817"/>
          </a:xfrm>
        </p:spPr>
        <p:txBody>
          <a:bodyPr>
            <a:normAutofit/>
          </a:bodyPr>
          <a:lstStyle>
            <a:lvl1pPr marL="0" indent="0" algn="ctr">
              <a:buNone/>
              <a:defRPr sz="1097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63" name="Рисунок 34"/>
          <p:cNvSpPr>
            <a:spLocks noGrp="1"/>
          </p:cNvSpPr>
          <p:nvPr>
            <p:ph type="pic" sz="quarter" idx="41" hasCustomPrompt="1"/>
          </p:nvPr>
        </p:nvSpPr>
        <p:spPr>
          <a:xfrm>
            <a:off x="6311346" y="1663344"/>
            <a:ext cx="1196751" cy="136043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79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5</a:t>
            </a:r>
            <a:endParaRPr lang="ru-RU" dirty="0"/>
          </a:p>
        </p:txBody>
      </p:sp>
      <p:sp>
        <p:nvSpPr>
          <p:cNvPr id="66" name="Текст 19"/>
          <p:cNvSpPr>
            <a:spLocks noGrp="1"/>
          </p:cNvSpPr>
          <p:nvPr>
            <p:ph type="body" sz="quarter" idx="42" hasCustomPrompt="1"/>
          </p:nvPr>
        </p:nvSpPr>
        <p:spPr>
          <a:xfrm>
            <a:off x="6304583" y="4719556"/>
            <a:ext cx="1396214" cy="363817"/>
          </a:xfrm>
        </p:spPr>
        <p:txBody>
          <a:bodyPr>
            <a:normAutofit/>
          </a:bodyPr>
          <a:lstStyle>
            <a:lvl1pPr marL="0" indent="0" algn="ctr">
              <a:buNone/>
              <a:defRPr sz="1097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ru-RU" dirty="0" smtClean="0"/>
              <a:t>7</a:t>
            </a:r>
            <a:endParaRPr lang="ru-RU" dirty="0"/>
          </a:p>
        </p:txBody>
      </p:sp>
      <p:cxnSp>
        <p:nvCxnSpPr>
          <p:cNvPr id="68" name="Прямая соединительная линия 67"/>
          <p:cNvCxnSpPr/>
          <p:nvPr userDrawn="1"/>
        </p:nvCxnSpPr>
        <p:spPr>
          <a:xfrm flipH="1">
            <a:off x="1791661" y="3771957"/>
            <a:ext cx="1" cy="1621365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 userDrawn="1"/>
        </p:nvCxnSpPr>
        <p:spPr>
          <a:xfrm flipH="1">
            <a:off x="3824536" y="3801776"/>
            <a:ext cx="1" cy="1621365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 userDrawn="1"/>
        </p:nvCxnSpPr>
        <p:spPr>
          <a:xfrm flipH="1">
            <a:off x="5962238" y="3801776"/>
            <a:ext cx="1" cy="1621365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Рисунок 40"/>
          <p:cNvSpPr>
            <a:spLocks noGrp="1"/>
          </p:cNvSpPr>
          <p:nvPr>
            <p:ph type="pic" sz="quarter" idx="43" hasCustomPrompt="1"/>
          </p:nvPr>
        </p:nvSpPr>
        <p:spPr>
          <a:xfrm>
            <a:off x="7383475" y="2441343"/>
            <a:ext cx="1196751" cy="136043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79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4</a:t>
            </a:r>
            <a:endParaRPr lang="ru-RU" dirty="0"/>
          </a:p>
        </p:txBody>
      </p:sp>
      <p:sp>
        <p:nvSpPr>
          <p:cNvPr id="73" name="Текст 19"/>
          <p:cNvSpPr>
            <a:spLocks noGrp="1"/>
          </p:cNvSpPr>
          <p:nvPr>
            <p:ph type="body" sz="quarter" idx="44" hasCustomPrompt="1"/>
          </p:nvPr>
        </p:nvSpPr>
        <p:spPr>
          <a:xfrm>
            <a:off x="7379278" y="5509088"/>
            <a:ext cx="1396214" cy="363817"/>
          </a:xfrm>
        </p:spPr>
        <p:txBody>
          <a:bodyPr>
            <a:normAutofit/>
          </a:bodyPr>
          <a:lstStyle>
            <a:lvl1pPr marL="0" indent="0" algn="ctr">
              <a:buNone/>
              <a:defRPr sz="1097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ru-RU" dirty="0" smtClean="0"/>
              <a:t>8</a:t>
            </a:r>
            <a:endParaRPr lang="ru-RU" dirty="0"/>
          </a:p>
        </p:txBody>
      </p:sp>
      <p:cxnSp>
        <p:nvCxnSpPr>
          <p:cNvPr id="74" name="Прямая соединительная линия 73"/>
          <p:cNvCxnSpPr/>
          <p:nvPr userDrawn="1"/>
        </p:nvCxnSpPr>
        <p:spPr>
          <a:xfrm flipH="1">
            <a:off x="8070754" y="3801776"/>
            <a:ext cx="1" cy="1621365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Прямоугольник 78"/>
          <p:cNvSpPr/>
          <p:nvPr userDrawn="1"/>
        </p:nvSpPr>
        <p:spPr>
          <a:xfrm rot="18900000">
            <a:off x="4227090" y="2935817"/>
            <a:ext cx="367314" cy="36731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82" name="Рисунок 34"/>
          <p:cNvSpPr>
            <a:spLocks noGrp="1"/>
          </p:cNvSpPr>
          <p:nvPr>
            <p:ph type="pic" sz="quarter" idx="45" hasCustomPrompt="1"/>
          </p:nvPr>
        </p:nvSpPr>
        <p:spPr>
          <a:xfrm>
            <a:off x="8466985" y="1663344"/>
            <a:ext cx="1196751" cy="136043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79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5</a:t>
            </a:r>
            <a:endParaRPr lang="ru-RU" dirty="0"/>
          </a:p>
        </p:txBody>
      </p:sp>
      <p:sp>
        <p:nvSpPr>
          <p:cNvPr id="84" name="Текст 19"/>
          <p:cNvSpPr>
            <a:spLocks noGrp="1"/>
          </p:cNvSpPr>
          <p:nvPr>
            <p:ph type="body" sz="quarter" idx="46" hasCustomPrompt="1"/>
          </p:nvPr>
        </p:nvSpPr>
        <p:spPr>
          <a:xfrm>
            <a:off x="8460223" y="4719556"/>
            <a:ext cx="1396214" cy="363817"/>
          </a:xfrm>
        </p:spPr>
        <p:txBody>
          <a:bodyPr>
            <a:normAutofit/>
          </a:bodyPr>
          <a:lstStyle>
            <a:lvl1pPr marL="0" indent="0" algn="ctr">
              <a:buNone/>
              <a:defRPr sz="1097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ru-RU" dirty="0" smtClean="0"/>
              <a:t>9</a:t>
            </a:r>
            <a:endParaRPr lang="ru-RU" dirty="0"/>
          </a:p>
        </p:txBody>
      </p:sp>
      <p:sp>
        <p:nvSpPr>
          <p:cNvPr id="85" name="Рисунок 40"/>
          <p:cNvSpPr>
            <a:spLocks noGrp="1"/>
          </p:cNvSpPr>
          <p:nvPr>
            <p:ph type="pic" sz="quarter" idx="47" hasCustomPrompt="1"/>
          </p:nvPr>
        </p:nvSpPr>
        <p:spPr>
          <a:xfrm>
            <a:off x="9520811" y="2441343"/>
            <a:ext cx="1196751" cy="136043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79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4</a:t>
            </a:r>
            <a:endParaRPr lang="ru-RU" dirty="0"/>
          </a:p>
        </p:txBody>
      </p:sp>
      <p:sp>
        <p:nvSpPr>
          <p:cNvPr id="86" name="Текст 19"/>
          <p:cNvSpPr>
            <a:spLocks noGrp="1"/>
          </p:cNvSpPr>
          <p:nvPr>
            <p:ph type="body" sz="quarter" idx="48" hasCustomPrompt="1"/>
          </p:nvPr>
        </p:nvSpPr>
        <p:spPr>
          <a:xfrm>
            <a:off x="9516613" y="5509088"/>
            <a:ext cx="1396214" cy="363817"/>
          </a:xfrm>
        </p:spPr>
        <p:txBody>
          <a:bodyPr>
            <a:normAutofit/>
          </a:bodyPr>
          <a:lstStyle>
            <a:lvl1pPr marL="0" indent="0" algn="ctr">
              <a:buNone/>
              <a:defRPr sz="1097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ru-RU" dirty="0" smtClean="0"/>
              <a:t>10</a:t>
            </a:r>
            <a:endParaRPr lang="ru-RU" dirty="0"/>
          </a:p>
        </p:txBody>
      </p:sp>
      <p:cxnSp>
        <p:nvCxnSpPr>
          <p:cNvPr id="87" name="Прямая соединительная линия 86"/>
          <p:cNvCxnSpPr/>
          <p:nvPr userDrawn="1"/>
        </p:nvCxnSpPr>
        <p:spPr>
          <a:xfrm flipH="1">
            <a:off x="10208090" y="3801776"/>
            <a:ext cx="1" cy="1621365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 userDrawn="1"/>
        </p:nvCxnSpPr>
        <p:spPr>
          <a:xfrm flipH="1">
            <a:off x="4878042" y="3017451"/>
            <a:ext cx="1" cy="1621365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 userDrawn="1"/>
        </p:nvCxnSpPr>
        <p:spPr>
          <a:xfrm flipH="1">
            <a:off x="7012742" y="3017451"/>
            <a:ext cx="1" cy="1621365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 userDrawn="1"/>
        </p:nvCxnSpPr>
        <p:spPr>
          <a:xfrm flipH="1">
            <a:off x="9156933" y="3017451"/>
            <a:ext cx="1" cy="1621365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Рисунок 34"/>
          <p:cNvSpPr>
            <a:spLocks noGrp="1"/>
          </p:cNvSpPr>
          <p:nvPr>
            <p:ph type="pic" sz="quarter" idx="49" hasCustomPrompt="1"/>
          </p:nvPr>
        </p:nvSpPr>
        <p:spPr>
          <a:xfrm>
            <a:off x="10604321" y="1663344"/>
            <a:ext cx="1196751" cy="136043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79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5</a:t>
            </a:r>
            <a:endParaRPr lang="ru-RU" dirty="0"/>
          </a:p>
        </p:txBody>
      </p:sp>
      <p:sp>
        <p:nvSpPr>
          <p:cNvPr id="95" name="Текст 19"/>
          <p:cNvSpPr>
            <a:spLocks noGrp="1"/>
          </p:cNvSpPr>
          <p:nvPr>
            <p:ph type="body" sz="quarter" idx="50" hasCustomPrompt="1"/>
          </p:nvPr>
        </p:nvSpPr>
        <p:spPr>
          <a:xfrm>
            <a:off x="10597558" y="4719556"/>
            <a:ext cx="1396214" cy="363817"/>
          </a:xfrm>
        </p:spPr>
        <p:txBody>
          <a:bodyPr>
            <a:normAutofit/>
          </a:bodyPr>
          <a:lstStyle>
            <a:lvl1pPr marL="0" indent="0" algn="ctr">
              <a:buNone/>
              <a:defRPr sz="1097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ru-RU" dirty="0" smtClean="0"/>
              <a:t>9</a:t>
            </a:r>
            <a:endParaRPr lang="ru-RU" dirty="0"/>
          </a:p>
        </p:txBody>
      </p:sp>
      <p:cxnSp>
        <p:nvCxnSpPr>
          <p:cNvPr id="97" name="Прямая соединительная линия 96"/>
          <p:cNvCxnSpPr/>
          <p:nvPr userDrawn="1"/>
        </p:nvCxnSpPr>
        <p:spPr>
          <a:xfrm flipH="1">
            <a:off x="11294269" y="3017451"/>
            <a:ext cx="1" cy="1621365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 rot="18900000">
            <a:off x="1311846" y="2165517"/>
            <a:ext cx="367314" cy="36731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75" name="Прямоугольник 74"/>
          <p:cNvSpPr/>
          <p:nvPr userDrawn="1"/>
        </p:nvSpPr>
        <p:spPr>
          <a:xfrm rot="18900000">
            <a:off x="3166383" y="2165517"/>
            <a:ext cx="367314" cy="36731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76" name="Прямоугольник 75"/>
          <p:cNvSpPr/>
          <p:nvPr userDrawn="1"/>
        </p:nvSpPr>
        <p:spPr>
          <a:xfrm rot="18900000">
            <a:off x="5299507" y="2165517"/>
            <a:ext cx="367314" cy="36731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77" name="Прямоугольник 76"/>
          <p:cNvSpPr/>
          <p:nvPr userDrawn="1"/>
        </p:nvSpPr>
        <p:spPr>
          <a:xfrm rot="18900000">
            <a:off x="7415702" y="2165517"/>
            <a:ext cx="367314" cy="36731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78" name="Прямоугольник 77"/>
          <p:cNvSpPr/>
          <p:nvPr userDrawn="1"/>
        </p:nvSpPr>
        <p:spPr>
          <a:xfrm rot="18900000">
            <a:off x="2210733" y="2935816"/>
            <a:ext cx="367314" cy="36731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80" name="Прямоугольник 79"/>
          <p:cNvSpPr/>
          <p:nvPr userDrawn="1"/>
        </p:nvSpPr>
        <p:spPr>
          <a:xfrm rot="18900000">
            <a:off x="6373479" y="2935817"/>
            <a:ext cx="367314" cy="36731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81" name="Прямоугольник 80"/>
          <p:cNvSpPr/>
          <p:nvPr userDrawn="1"/>
        </p:nvSpPr>
        <p:spPr>
          <a:xfrm rot="18900000">
            <a:off x="8493125" y="2935816"/>
            <a:ext cx="367314" cy="36731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88" name="Прямоугольник 87"/>
          <p:cNvSpPr/>
          <p:nvPr userDrawn="1"/>
        </p:nvSpPr>
        <p:spPr>
          <a:xfrm rot="18900000">
            <a:off x="9553038" y="2165517"/>
            <a:ext cx="367314" cy="36731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90" name="Прямоугольник 89"/>
          <p:cNvSpPr/>
          <p:nvPr userDrawn="1"/>
        </p:nvSpPr>
        <p:spPr>
          <a:xfrm rot="18900000">
            <a:off x="10607635" y="2935817"/>
            <a:ext cx="367314" cy="36731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  <p:sp>
        <p:nvSpPr>
          <p:cNvPr id="96" name="Прямоугольник 95"/>
          <p:cNvSpPr/>
          <p:nvPr userDrawn="1"/>
        </p:nvSpPr>
        <p:spPr>
          <a:xfrm rot="18900000">
            <a:off x="11698091" y="2165517"/>
            <a:ext cx="367314" cy="36731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7" dirty="0"/>
          </a:p>
        </p:txBody>
      </p:sp>
    </p:spTree>
    <p:extLst>
      <p:ext uri="{BB962C8B-B14F-4D97-AF65-F5344CB8AC3E}">
        <p14:creationId xmlns:p14="http://schemas.microsoft.com/office/powerpoint/2010/main" val="11783026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orient="horz" pos="3074">
          <p15:clr>
            <a:srgbClr val="547EBF"/>
          </p15:clr>
        </p15:guide>
        <p15:guide id="4" orient="horz" pos="3906">
          <p15:clr>
            <a:srgbClr val="547EBF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зображением и составляющи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3" hasCustomPrompt="1"/>
          </p:nvPr>
        </p:nvSpPr>
        <p:spPr>
          <a:xfrm>
            <a:off x="4245025" y="1702773"/>
            <a:ext cx="3719412" cy="3719412"/>
          </a:xfrm>
          <a:prstGeom prst="roundRect">
            <a:avLst>
              <a:gd name="adj" fmla="val 8023"/>
            </a:avLst>
          </a:prstGeom>
        </p:spPr>
        <p:txBody>
          <a:bodyPr lIns="0" tIns="972000" anchor="ctr">
            <a:normAutofit/>
          </a:bodyPr>
          <a:lstStyle>
            <a:lvl1pPr marL="0" indent="0" algn="ctr">
              <a:buNone/>
              <a:defRPr sz="1797" baseline="0"/>
            </a:lvl1pPr>
          </a:lstStyle>
          <a:p>
            <a:r>
              <a:rPr lang="ru-RU" dirty="0"/>
              <a:t>Вставьте изображение</a:t>
            </a:r>
          </a:p>
        </p:txBody>
      </p:sp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188000" y="410187"/>
            <a:ext cx="10669038" cy="399712"/>
          </a:xfrm>
        </p:spPr>
        <p:txBody>
          <a:bodyPr lIns="0" tIns="0" anchor="t">
            <a:normAutofit/>
          </a:bodyPr>
          <a:lstStyle>
            <a:lvl1pPr>
              <a:defRPr sz="2296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10870" y="6419084"/>
            <a:ext cx="546168" cy="4389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398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cxnSp>
        <p:nvCxnSpPr>
          <p:cNvPr id="17" name="Соединительная линия уступом 16"/>
          <p:cNvCxnSpPr/>
          <p:nvPr/>
        </p:nvCxnSpPr>
        <p:spPr>
          <a:xfrm rot="16200000" flipH="1">
            <a:off x="2993898" y="1716789"/>
            <a:ext cx="1010194" cy="1010194"/>
          </a:xfrm>
          <a:prstGeom prst="bentConnector3">
            <a:avLst>
              <a:gd name="adj1" fmla="val 50862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ная линия уступом 18"/>
          <p:cNvCxnSpPr/>
          <p:nvPr/>
        </p:nvCxnSpPr>
        <p:spPr>
          <a:xfrm rot="16200000" flipH="1">
            <a:off x="2993898" y="2885655"/>
            <a:ext cx="1010194" cy="1010194"/>
          </a:xfrm>
          <a:prstGeom prst="bentConnector3">
            <a:avLst>
              <a:gd name="adj1" fmla="val 50862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Соединительная линия уступом 19"/>
          <p:cNvCxnSpPr/>
          <p:nvPr/>
        </p:nvCxnSpPr>
        <p:spPr>
          <a:xfrm rot="5400000">
            <a:off x="8208482" y="1716789"/>
            <a:ext cx="1010194" cy="1010194"/>
          </a:xfrm>
          <a:prstGeom prst="bentConnector3">
            <a:avLst>
              <a:gd name="adj1" fmla="val 50862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Соединительная линия уступом 20"/>
          <p:cNvCxnSpPr/>
          <p:nvPr/>
        </p:nvCxnSpPr>
        <p:spPr>
          <a:xfrm rot="5400000">
            <a:off x="8208482" y="2885655"/>
            <a:ext cx="1010194" cy="1010194"/>
          </a:xfrm>
          <a:prstGeom prst="bentConnector3">
            <a:avLst>
              <a:gd name="adj1" fmla="val 50862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19"/>
          <p:cNvSpPr>
            <a:spLocks noGrp="1"/>
          </p:cNvSpPr>
          <p:nvPr>
            <p:ph type="body" sz="quarter" idx="17" hasCustomPrompt="1"/>
          </p:nvPr>
        </p:nvSpPr>
        <p:spPr>
          <a:xfrm>
            <a:off x="1144589" y="1632302"/>
            <a:ext cx="1769997" cy="315274"/>
          </a:xfrm>
        </p:spPr>
        <p:txBody>
          <a:bodyPr>
            <a:normAutofit/>
          </a:bodyPr>
          <a:lstStyle>
            <a:lvl1pPr marL="0" indent="0" algn="r">
              <a:buNone/>
              <a:defRPr sz="1298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  <p:sp>
        <p:nvSpPr>
          <p:cNvPr id="24" name="Текст 19"/>
          <p:cNvSpPr>
            <a:spLocks noGrp="1"/>
          </p:cNvSpPr>
          <p:nvPr>
            <p:ph type="body" sz="quarter" idx="21" hasCustomPrompt="1"/>
          </p:nvPr>
        </p:nvSpPr>
        <p:spPr>
          <a:xfrm>
            <a:off x="1144589" y="2756303"/>
            <a:ext cx="1769997" cy="315274"/>
          </a:xfrm>
        </p:spPr>
        <p:txBody>
          <a:bodyPr>
            <a:normAutofit/>
          </a:bodyPr>
          <a:lstStyle>
            <a:lvl1pPr marL="0" indent="0" algn="r">
              <a:buNone/>
              <a:defRPr sz="1298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  <p:sp>
        <p:nvSpPr>
          <p:cNvPr id="26" name="Текст 19"/>
          <p:cNvSpPr>
            <a:spLocks noGrp="1"/>
          </p:cNvSpPr>
          <p:nvPr>
            <p:ph type="body" sz="quarter" idx="23" hasCustomPrompt="1"/>
          </p:nvPr>
        </p:nvSpPr>
        <p:spPr>
          <a:xfrm>
            <a:off x="9294876" y="1632302"/>
            <a:ext cx="1733488" cy="315274"/>
          </a:xfrm>
        </p:spPr>
        <p:txBody>
          <a:bodyPr>
            <a:normAutofit/>
          </a:bodyPr>
          <a:lstStyle>
            <a:lvl1pPr marL="0" indent="0" algn="l">
              <a:buNone/>
              <a:defRPr sz="1298" baseline="0">
                <a:latin typeface="+mj-lt"/>
              </a:defRPr>
            </a:lvl1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28" name="Текст 19"/>
          <p:cNvSpPr>
            <a:spLocks noGrp="1"/>
          </p:cNvSpPr>
          <p:nvPr>
            <p:ph type="body" sz="quarter" idx="25" hasCustomPrompt="1"/>
          </p:nvPr>
        </p:nvSpPr>
        <p:spPr>
          <a:xfrm>
            <a:off x="9294876" y="2756303"/>
            <a:ext cx="1733488" cy="315274"/>
          </a:xfrm>
        </p:spPr>
        <p:txBody>
          <a:bodyPr>
            <a:normAutofit/>
          </a:bodyPr>
          <a:lstStyle>
            <a:lvl1pPr marL="0" indent="0" algn="l">
              <a:buNone/>
              <a:defRPr sz="1298" baseline="0">
                <a:latin typeface="+mj-lt"/>
              </a:defRPr>
            </a:lvl1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30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9390529" y="6402760"/>
            <a:ext cx="1770063" cy="314325"/>
          </a:xfrm>
        </p:spPr>
        <p:txBody>
          <a:bodyPr>
            <a:normAutofit/>
          </a:bodyPr>
          <a:lstStyle>
            <a:lvl1pPr marL="0" indent="0" algn="r">
              <a:buNone/>
              <a:defRPr sz="1098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 flipV="1">
            <a:off x="11294268" y="6419084"/>
            <a:ext cx="0" cy="438916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Рисунок 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909" y="388743"/>
            <a:ext cx="486103" cy="486000"/>
          </a:xfrm>
          <a:prstGeom prst="rect">
            <a:avLst/>
          </a:prstGeom>
        </p:spPr>
      </p:pic>
      <p:sp>
        <p:nvSpPr>
          <p:cNvPr id="35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193610" y="818139"/>
            <a:ext cx="10663428" cy="29742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98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  <p:cxnSp>
        <p:nvCxnSpPr>
          <p:cNvPr id="34" name="Соединительная линия уступом 33"/>
          <p:cNvCxnSpPr/>
          <p:nvPr userDrawn="1"/>
        </p:nvCxnSpPr>
        <p:spPr>
          <a:xfrm rot="16200000" flipH="1">
            <a:off x="2993898" y="4025202"/>
            <a:ext cx="1010194" cy="1010194"/>
          </a:xfrm>
          <a:prstGeom prst="bentConnector3">
            <a:avLst>
              <a:gd name="adj1" fmla="val 50862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Соединительная линия уступом 35"/>
          <p:cNvCxnSpPr/>
          <p:nvPr userDrawn="1"/>
        </p:nvCxnSpPr>
        <p:spPr>
          <a:xfrm rot="5400000">
            <a:off x="8208482" y="4025202"/>
            <a:ext cx="1010194" cy="1010194"/>
          </a:xfrm>
          <a:prstGeom prst="bentConnector3">
            <a:avLst>
              <a:gd name="adj1" fmla="val 50862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Текст 19"/>
          <p:cNvSpPr>
            <a:spLocks noGrp="1"/>
          </p:cNvSpPr>
          <p:nvPr>
            <p:ph type="body" sz="quarter" idx="27" hasCustomPrompt="1"/>
          </p:nvPr>
        </p:nvSpPr>
        <p:spPr>
          <a:xfrm>
            <a:off x="1144589" y="3895849"/>
            <a:ext cx="1769997" cy="315274"/>
          </a:xfrm>
        </p:spPr>
        <p:txBody>
          <a:bodyPr>
            <a:normAutofit/>
          </a:bodyPr>
          <a:lstStyle>
            <a:lvl1pPr marL="0" indent="0" algn="r">
              <a:buNone/>
              <a:defRPr sz="1298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  <p:sp>
        <p:nvSpPr>
          <p:cNvPr id="39" name="Текст 19"/>
          <p:cNvSpPr>
            <a:spLocks noGrp="1"/>
          </p:cNvSpPr>
          <p:nvPr>
            <p:ph type="body" sz="quarter" idx="29" hasCustomPrompt="1"/>
          </p:nvPr>
        </p:nvSpPr>
        <p:spPr>
          <a:xfrm>
            <a:off x="9294876" y="3895849"/>
            <a:ext cx="1733488" cy="315274"/>
          </a:xfrm>
        </p:spPr>
        <p:txBody>
          <a:bodyPr>
            <a:normAutofit/>
          </a:bodyPr>
          <a:lstStyle>
            <a:lvl1pPr marL="0" indent="0" algn="l">
              <a:buNone/>
              <a:defRPr sz="1298" baseline="0">
                <a:latin typeface="+mj-lt"/>
              </a:defRPr>
            </a:lvl1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41" name="Текст 19"/>
          <p:cNvSpPr>
            <a:spLocks noGrp="1"/>
          </p:cNvSpPr>
          <p:nvPr>
            <p:ph type="body" sz="quarter" idx="30" hasCustomPrompt="1"/>
          </p:nvPr>
        </p:nvSpPr>
        <p:spPr>
          <a:xfrm>
            <a:off x="6435373" y="5781818"/>
            <a:ext cx="1769997" cy="315274"/>
          </a:xfrm>
        </p:spPr>
        <p:txBody>
          <a:bodyPr>
            <a:normAutofit/>
          </a:bodyPr>
          <a:lstStyle>
            <a:lvl1pPr marL="0" indent="0" algn="l">
              <a:buNone/>
              <a:defRPr sz="1298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  <p:cxnSp>
        <p:nvCxnSpPr>
          <p:cNvPr id="43" name="Соединительная линия уступом 42"/>
          <p:cNvCxnSpPr/>
          <p:nvPr userDrawn="1"/>
        </p:nvCxnSpPr>
        <p:spPr>
          <a:xfrm rot="16200000" flipH="1">
            <a:off x="6273482" y="5391356"/>
            <a:ext cx="915605" cy="764732"/>
          </a:xfrm>
          <a:prstGeom prst="bentConnector3">
            <a:avLst>
              <a:gd name="adj1" fmla="val 98823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Соединительная линия уступом 22"/>
          <p:cNvCxnSpPr/>
          <p:nvPr userDrawn="1"/>
        </p:nvCxnSpPr>
        <p:spPr>
          <a:xfrm rot="5400000">
            <a:off x="5007920" y="5391356"/>
            <a:ext cx="915605" cy="764732"/>
          </a:xfrm>
          <a:prstGeom prst="bentConnector3">
            <a:avLst>
              <a:gd name="adj1" fmla="val 98823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Текст 19"/>
          <p:cNvSpPr>
            <a:spLocks noGrp="1"/>
          </p:cNvSpPr>
          <p:nvPr>
            <p:ph type="body" sz="quarter" idx="31" hasCustomPrompt="1"/>
          </p:nvPr>
        </p:nvSpPr>
        <p:spPr>
          <a:xfrm>
            <a:off x="3947944" y="5781818"/>
            <a:ext cx="1769997" cy="315274"/>
          </a:xfrm>
        </p:spPr>
        <p:txBody>
          <a:bodyPr>
            <a:normAutofit/>
          </a:bodyPr>
          <a:lstStyle>
            <a:lvl1pPr marL="0" indent="0" algn="r">
              <a:buNone/>
              <a:defRPr sz="1298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</p:spTree>
    <p:extLst>
      <p:ext uri="{BB962C8B-B14F-4D97-AF65-F5344CB8AC3E}">
        <p14:creationId xmlns:p14="http://schemas.microsoft.com/office/powerpoint/2010/main" val="1697281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4">
          <p15:clr>
            <a:srgbClr val="547EBF"/>
          </p15:clr>
        </p15:guide>
        <p15:guide id="2" pos="6958">
          <p15:clr>
            <a:srgbClr val="547EB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Разделитель тем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14" b="11237"/>
          <a:stretch>
            <a:fillRect/>
          </a:stretch>
        </p:blipFill>
        <p:spPr>
          <a:xfrm>
            <a:off x="6967843" y="1905001"/>
            <a:ext cx="5224159" cy="4953000"/>
          </a:xfrm>
          <a:custGeom>
            <a:avLst/>
            <a:gdLst>
              <a:gd name="connsiteX0" fmla="*/ 0 w 5224159"/>
              <a:gd name="connsiteY0" fmla="*/ 0 h 4953000"/>
              <a:gd name="connsiteX1" fmla="*/ 5224159 w 5224159"/>
              <a:gd name="connsiteY1" fmla="*/ 0 h 4953000"/>
              <a:gd name="connsiteX2" fmla="*/ 5224159 w 5224159"/>
              <a:gd name="connsiteY2" fmla="*/ 4953000 h 4953000"/>
              <a:gd name="connsiteX3" fmla="*/ 0 w 5224159"/>
              <a:gd name="connsiteY3" fmla="*/ 495300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4159" h="4953000">
                <a:moveTo>
                  <a:pt x="0" y="0"/>
                </a:moveTo>
                <a:lnTo>
                  <a:pt x="5224159" y="0"/>
                </a:lnTo>
                <a:lnTo>
                  <a:pt x="5224159" y="4953000"/>
                </a:lnTo>
                <a:lnTo>
                  <a:pt x="0" y="4953000"/>
                </a:lnTo>
                <a:close/>
              </a:path>
            </a:pathLst>
          </a:custGeom>
        </p:spPr>
      </p:pic>
      <p:sp>
        <p:nvSpPr>
          <p:cNvPr id="6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745962" y="990843"/>
            <a:ext cx="5286760" cy="3366302"/>
          </a:xfrm>
          <a:noFill/>
        </p:spPr>
        <p:txBody>
          <a:bodyPr tIns="0" bIns="0" anchor="t">
            <a:noAutofit/>
          </a:bodyPr>
          <a:lstStyle>
            <a:lvl1pPr marL="0" indent="0" algn="l">
              <a:buNone/>
              <a:defRPr sz="3195" b="0" spc="0" baseline="0">
                <a:solidFill>
                  <a:srgbClr val="006AB4"/>
                </a:solidFill>
                <a:latin typeface="+mj-lt"/>
                <a:ea typeface="Stem Bold" panose="020B0703020203020204" pitchFamily="34" charset="-52"/>
              </a:defRPr>
            </a:lvl1pPr>
            <a:lvl2pPr marL="456484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912968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369451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1825936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названия</a:t>
            </a:r>
            <a:br>
              <a:rPr lang="ru-RU" dirty="0"/>
            </a:br>
            <a:r>
              <a:rPr lang="ru-RU" dirty="0"/>
              <a:t>нов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3896224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Раздел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92C2900-829E-4F4D-A685-A45E97C0B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1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75316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ик_ Узкая графика_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132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ик_ Узкая графика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37A98B0-9C0D-4077-BE41-961AF4D2C8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2532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ик_ Широкая графика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8AA16AB1-8BEE-4231-8151-A99348CC1FE0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B770836D-60F4-4DEB-A34D-A6C42FCB2DC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D57AB053-3DA1-44DC-AD69-F51A8B8FDC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BC912196-FB84-4040-8B34-41B4ECDAB0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9A260FB-1112-4180-ABB5-BBE529F02B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63D7EBD1-9DF3-4D24-9E98-D570270A2C1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778848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Раздел 2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0184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ик_ Широкая графика_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19447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863875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A56C5E-ADF5-4C92-91C4-8C7B09E1B4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3354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в одну строку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863875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A56C5E-ADF5-4C92-91C4-8C7B09E1B4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507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такты_без лого/заголовка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9246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такты_без лого/заголовка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336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Раздел 2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75692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Раздел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97862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Фон с нумерацией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7F824F5-4A00-463B-A7A0-A2CE362E79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162E93D-AAB9-4557-BEF6-EF46CD6E1C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82295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Фон с нумерацией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7F824F5-4A00-463B-A7A0-A2CE362E79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162E93D-AAB9-4557-BEF6-EF46CD6E1C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3622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н с нумерацией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E3F024E-E13D-4715-AA4D-FE61F1F71E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FB4A63C-9740-4B8A-9A15-2BE05BABF8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9026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38" Type="http://schemas.openxmlformats.org/officeDocument/2006/relationships/slideLayout" Target="../slideLayouts/slideLayout138.xml"/><Relationship Id="rId154" Type="http://schemas.openxmlformats.org/officeDocument/2006/relationships/slideLayout" Target="../slideLayouts/slideLayout154.xml"/><Relationship Id="rId159" Type="http://schemas.openxmlformats.org/officeDocument/2006/relationships/slideLayout" Target="../slideLayouts/slideLayout159.xml"/><Relationship Id="rId170" Type="http://schemas.openxmlformats.org/officeDocument/2006/relationships/oleObject" Target="../embeddings/oleObject1.bin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144" Type="http://schemas.openxmlformats.org/officeDocument/2006/relationships/slideLayout" Target="../slideLayouts/slideLayout144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65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slideLayout" Target="../slideLayouts/slideLayout13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55" Type="http://schemas.openxmlformats.org/officeDocument/2006/relationships/slideLayout" Target="../slideLayouts/slideLayout155.xml"/><Relationship Id="rId171" Type="http://schemas.openxmlformats.org/officeDocument/2006/relationships/image" Target="../media/image1.emf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45" Type="http://schemas.openxmlformats.org/officeDocument/2006/relationships/slideLayout" Target="../slideLayouts/slideLayout145.xml"/><Relationship Id="rId161" Type="http://schemas.openxmlformats.org/officeDocument/2006/relationships/slideLayout" Target="../slideLayouts/slideLayout161.xml"/><Relationship Id="rId166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51" Type="http://schemas.openxmlformats.org/officeDocument/2006/relationships/slideLayout" Target="../slideLayouts/slideLayout151.xml"/><Relationship Id="rId156" Type="http://schemas.openxmlformats.org/officeDocument/2006/relationships/slideLayout" Target="../slideLayouts/slideLayout156.xml"/><Relationship Id="rId164" Type="http://schemas.openxmlformats.org/officeDocument/2006/relationships/slideLayout" Target="../slideLayouts/slideLayout164.xml"/><Relationship Id="rId16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slideLayout" Target="../slideLayouts/slideLayout141.xml"/><Relationship Id="rId146" Type="http://schemas.openxmlformats.org/officeDocument/2006/relationships/slideLayout" Target="../slideLayouts/slideLayout146.xml"/><Relationship Id="rId16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162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52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image" Target="../media/image35.emf"/><Relationship Id="rId2" Type="http://schemas.openxmlformats.org/officeDocument/2006/relationships/slideLayout" Target="../slideLayouts/slideLayout168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85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80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8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image" Target="../media/image35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19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image" Target="../media/image35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201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image" Target="../media/image35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212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vmlDrawing" Target="../drawings/vmlDrawing6.vml"/><Relationship Id="rId5" Type="http://schemas.openxmlformats.org/officeDocument/2006/relationships/slideLayout" Target="../slideLayouts/slideLayout210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image" Target="../media/image35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12" Type="http://schemas.openxmlformats.org/officeDocument/2006/relationships/vmlDrawing" Target="../drawings/vmlDrawing7.vml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219.xml"/><Relationship Id="rId15" Type="http://schemas.openxmlformats.org/officeDocument/2006/relationships/image" Target="../media/image35.emf"/><Relationship Id="rId10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4" Type="http://schemas.openxmlformats.org/officeDocument/2006/relationships/oleObject" Target="../embeddings/oleObject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slideLayout" Target="../slideLayouts/slideLayout237.xml"/><Relationship Id="rId18" Type="http://schemas.openxmlformats.org/officeDocument/2006/relationships/slideLayout" Target="../slideLayouts/slideLayout242.xml"/><Relationship Id="rId3" Type="http://schemas.openxmlformats.org/officeDocument/2006/relationships/slideLayout" Target="../slideLayouts/slideLayout227.xml"/><Relationship Id="rId21" Type="http://schemas.openxmlformats.org/officeDocument/2006/relationships/vmlDrawing" Target="../drawings/vmlDrawing8.v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17" Type="http://schemas.openxmlformats.org/officeDocument/2006/relationships/slideLayout" Target="../slideLayouts/slideLayout241.xml"/><Relationship Id="rId2" Type="http://schemas.openxmlformats.org/officeDocument/2006/relationships/slideLayout" Target="../slideLayouts/slideLayout226.xml"/><Relationship Id="rId16" Type="http://schemas.openxmlformats.org/officeDocument/2006/relationships/slideLayout" Target="../slideLayouts/slideLayout240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24" Type="http://schemas.openxmlformats.org/officeDocument/2006/relationships/image" Target="../media/image36.emf"/><Relationship Id="rId5" Type="http://schemas.openxmlformats.org/officeDocument/2006/relationships/slideLayout" Target="../slideLayouts/slideLayout229.xml"/><Relationship Id="rId15" Type="http://schemas.openxmlformats.org/officeDocument/2006/relationships/slideLayout" Target="../slideLayouts/slideLayout239.xml"/><Relationship Id="rId23" Type="http://schemas.openxmlformats.org/officeDocument/2006/relationships/oleObject" Target="../embeddings/oleObject8.bin"/><Relationship Id="rId10" Type="http://schemas.openxmlformats.org/officeDocument/2006/relationships/slideLayout" Target="../slideLayouts/slideLayout234.xml"/><Relationship Id="rId19" Type="http://schemas.openxmlformats.org/officeDocument/2006/relationships/slideLayout" Target="../slideLayouts/slideLayout243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38.xml"/><Relationship Id="rId22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6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53" name="Слайд think-cell" r:id="rId170" imgW="265" imgH="265" progId="TCLayout.ActiveDocument.1">
                  <p:embed/>
                </p:oleObj>
              </mc:Choice>
              <mc:Fallback>
                <p:oleObj name="Слайд think-cell" r:id="rId170" imgW="265" imgH="265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5DC2988-5D65-4953-9200-7090D2FA5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358F33-B34D-C846-861F-C128DF6CD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4431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E7C8371-5814-DC4E-BFAE-28AE134882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950" y="1062038"/>
            <a:ext cx="11233150" cy="3563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63538" lvl="0" indent="-363538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</a:pPr>
            <a:r>
              <a:rPr lang="ru-RU" dirty="0"/>
              <a:t>Образец текста
Второй уровень
Третий уровень
Четвертый уровень
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12950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6" r:id="rId20"/>
    <p:sldLayoutId id="2147483817" r:id="rId21"/>
    <p:sldLayoutId id="2147483818" r:id="rId22"/>
    <p:sldLayoutId id="2147483819" r:id="rId23"/>
    <p:sldLayoutId id="2147483820" r:id="rId24"/>
    <p:sldLayoutId id="2147483821" r:id="rId25"/>
    <p:sldLayoutId id="2147483822" r:id="rId26"/>
    <p:sldLayoutId id="2147483823" r:id="rId27"/>
    <p:sldLayoutId id="2147483824" r:id="rId28"/>
    <p:sldLayoutId id="2147483825" r:id="rId29"/>
    <p:sldLayoutId id="2147483826" r:id="rId30"/>
    <p:sldLayoutId id="2147483827" r:id="rId31"/>
    <p:sldLayoutId id="2147483828" r:id="rId32"/>
    <p:sldLayoutId id="2147483829" r:id="rId33"/>
    <p:sldLayoutId id="2147483830" r:id="rId34"/>
    <p:sldLayoutId id="2147483831" r:id="rId35"/>
    <p:sldLayoutId id="2147483832" r:id="rId36"/>
    <p:sldLayoutId id="2147483833" r:id="rId37"/>
    <p:sldLayoutId id="2147483834" r:id="rId38"/>
    <p:sldLayoutId id="2147483835" r:id="rId39"/>
    <p:sldLayoutId id="2147483836" r:id="rId40"/>
    <p:sldLayoutId id="2147483837" r:id="rId41"/>
    <p:sldLayoutId id="2147483838" r:id="rId42"/>
    <p:sldLayoutId id="2147483839" r:id="rId43"/>
    <p:sldLayoutId id="2147483840" r:id="rId44"/>
    <p:sldLayoutId id="2147483841" r:id="rId45"/>
    <p:sldLayoutId id="2147483842" r:id="rId46"/>
    <p:sldLayoutId id="2147483843" r:id="rId47"/>
    <p:sldLayoutId id="2147483844" r:id="rId48"/>
    <p:sldLayoutId id="2147483845" r:id="rId49"/>
    <p:sldLayoutId id="2147483846" r:id="rId50"/>
    <p:sldLayoutId id="2147483847" r:id="rId51"/>
    <p:sldLayoutId id="2147483848" r:id="rId52"/>
    <p:sldLayoutId id="2147483849" r:id="rId53"/>
    <p:sldLayoutId id="2147483850" r:id="rId54"/>
    <p:sldLayoutId id="2147483851" r:id="rId55"/>
    <p:sldLayoutId id="2147483852" r:id="rId56"/>
    <p:sldLayoutId id="2147483853" r:id="rId57"/>
    <p:sldLayoutId id="2147483854" r:id="rId58"/>
    <p:sldLayoutId id="2147483855" r:id="rId59"/>
    <p:sldLayoutId id="2147483856" r:id="rId60"/>
    <p:sldLayoutId id="2147483857" r:id="rId61"/>
    <p:sldLayoutId id="2147483858" r:id="rId62"/>
    <p:sldLayoutId id="2147483859" r:id="rId63"/>
    <p:sldLayoutId id="2147483860" r:id="rId64"/>
    <p:sldLayoutId id="2147483861" r:id="rId65"/>
    <p:sldLayoutId id="2147483862" r:id="rId66"/>
    <p:sldLayoutId id="2147483863" r:id="rId67"/>
    <p:sldLayoutId id="2147483864" r:id="rId68"/>
    <p:sldLayoutId id="2147483865" r:id="rId69"/>
    <p:sldLayoutId id="2147483866" r:id="rId70"/>
    <p:sldLayoutId id="2147483867" r:id="rId71"/>
    <p:sldLayoutId id="2147483868" r:id="rId72"/>
    <p:sldLayoutId id="2147483869" r:id="rId73"/>
    <p:sldLayoutId id="2147483870" r:id="rId74"/>
    <p:sldLayoutId id="2147483871" r:id="rId75"/>
    <p:sldLayoutId id="2147483872" r:id="rId76"/>
    <p:sldLayoutId id="2147483873" r:id="rId77"/>
    <p:sldLayoutId id="2147483874" r:id="rId78"/>
    <p:sldLayoutId id="2147483875" r:id="rId79"/>
    <p:sldLayoutId id="2147483876" r:id="rId80"/>
    <p:sldLayoutId id="2147483877" r:id="rId81"/>
    <p:sldLayoutId id="2147483906" r:id="rId82"/>
    <p:sldLayoutId id="2147483915" r:id="rId83"/>
    <p:sldLayoutId id="2147483917" r:id="rId84"/>
    <p:sldLayoutId id="2147483924" r:id="rId85"/>
    <p:sldLayoutId id="2147483926" r:id="rId86"/>
    <p:sldLayoutId id="2147483927" r:id="rId87"/>
    <p:sldLayoutId id="2147483714" r:id="rId88"/>
    <p:sldLayoutId id="2147483715" r:id="rId89"/>
    <p:sldLayoutId id="2147483717" r:id="rId90"/>
    <p:sldLayoutId id="2147483718" r:id="rId91"/>
    <p:sldLayoutId id="2147483719" r:id="rId92"/>
    <p:sldLayoutId id="2147483720" r:id="rId93"/>
    <p:sldLayoutId id="2147483721" r:id="rId94"/>
    <p:sldLayoutId id="2147483722" r:id="rId95"/>
    <p:sldLayoutId id="2147483723" r:id="rId96"/>
    <p:sldLayoutId id="2147483724" r:id="rId97"/>
    <p:sldLayoutId id="2147483725" r:id="rId98"/>
    <p:sldLayoutId id="2147483726" r:id="rId99"/>
    <p:sldLayoutId id="2147483727" r:id="rId100"/>
    <p:sldLayoutId id="2147483728" r:id="rId101"/>
    <p:sldLayoutId id="2147483730" r:id="rId102"/>
    <p:sldLayoutId id="2147483731" r:id="rId103"/>
    <p:sldLayoutId id="2147483732" r:id="rId104"/>
    <p:sldLayoutId id="2147483733" r:id="rId105"/>
    <p:sldLayoutId id="2147483734" r:id="rId106"/>
    <p:sldLayoutId id="2147483735" r:id="rId107"/>
    <p:sldLayoutId id="2147483736" r:id="rId108"/>
    <p:sldLayoutId id="2147483737" r:id="rId109"/>
    <p:sldLayoutId id="2147483738" r:id="rId110"/>
    <p:sldLayoutId id="2147483739" r:id="rId111"/>
    <p:sldLayoutId id="2147483740" r:id="rId112"/>
    <p:sldLayoutId id="2147483741" r:id="rId113"/>
    <p:sldLayoutId id="2147483742" r:id="rId114"/>
    <p:sldLayoutId id="2147483743" r:id="rId115"/>
    <p:sldLayoutId id="2147483744" r:id="rId116"/>
    <p:sldLayoutId id="2147483745" r:id="rId117"/>
    <p:sldLayoutId id="2147483746" r:id="rId118"/>
    <p:sldLayoutId id="2147483747" r:id="rId119"/>
    <p:sldLayoutId id="2147483748" r:id="rId120"/>
    <p:sldLayoutId id="2147483749" r:id="rId121"/>
    <p:sldLayoutId id="2147483750" r:id="rId122"/>
    <p:sldLayoutId id="2147483751" r:id="rId123"/>
    <p:sldLayoutId id="2147483752" r:id="rId124"/>
    <p:sldLayoutId id="2147483753" r:id="rId125"/>
    <p:sldLayoutId id="2147483754" r:id="rId126"/>
    <p:sldLayoutId id="2147483755" r:id="rId127"/>
    <p:sldLayoutId id="2147483756" r:id="rId128"/>
    <p:sldLayoutId id="2147483757" r:id="rId129"/>
    <p:sldLayoutId id="2147483758" r:id="rId130"/>
    <p:sldLayoutId id="2147483759" r:id="rId131"/>
    <p:sldLayoutId id="2147483760" r:id="rId132"/>
    <p:sldLayoutId id="2147483761" r:id="rId133"/>
    <p:sldLayoutId id="2147483762" r:id="rId134"/>
    <p:sldLayoutId id="2147483763" r:id="rId135"/>
    <p:sldLayoutId id="2147483764" r:id="rId136"/>
    <p:sldLayoutId id="2147483765" r:id="rId137"/>
    <p:sldLayoutId id="2147483766" r:id="rId138"/>
    <p:sldLayoutId id="2147483767" r:id="rId139"/>
    <p:sldLayoutId id="2147483768" r:id="rId140"/>
    <p:sldLayoutId id="2147483769" r:id="rId141"/>
    <p:sldLayoutId id="2147483770" r:id="rId142"/>
    <p:sldLayoutId id="2147483771" r:id="rId143"/>
    <p:sldLayoutId id="2147483772" r:id="rId144"/>
    <p:sldLayoutId id="2147483773" r:id="rId145"/>
    <p:sldLayoutId id="2147483774" r:id="rId146"/>
    <p:sldLayoutId id="2147483775" r:id="rId147"/>
    <p:sldLayoutId id="2147483776" r:id="rId148"/>
    <p:sldLayoutId id="2147483777" r:id="rId149"/>
    <p:sldLayoutId id="2147483778" r:id="rId150"/>
    <p:sldLayoutId id="2147483779" r:id="rId151"/>
    <p:sldLayoutId id="2147483780" r:id="rId152"/>
    <p:sldLayoutId id="2147483781" r:id="rId153"/>
    <p:sldLayoutId id="2147483782" r:id="rId154"/>
    <p:sldLayoutId id="2147483783" r:id="rId155"/>
    <p:sldLayoutId id="2147483784" r:id="rId156"/>
    <p:sldLayoutId id="2147483785" r:id="rId157"/>
    <p:sldLayoutId id="2147483786" r:id="rId158"/>
    <p:sldLayoutId id="2147483787" r:id="rId159"/>
    <p:sldLayoutId id="2147483788" r:id="rId160"/>
    <p:sldLayoutId id="2147483789" r:id="rId161"/>
    <p:sldLayoutId id="2147483790" r:id="rId162"/>
    <p:sldLayoutId id="2147483791" r:id="rId163"/>
    <p:sldLayoutId id="2147483792" r:id="rId164"/>
    <p:sldLayoutId id="2147483793" r:id="rId165"/>
    <p:sldLayoutId id="2147483794" r:id="rId16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6"/>
        </a:buClr>
        <a:buFont typeface="Arial" panose="020B0604020202020204" pitchFamily="34" charset="0"/>
        <a:buChar char="•"/>
        <a:defRPr lang="ru-RU" sz="1400" kern="1200" dirty="0" smtClean="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pos="3704">
          <p15:clr>
            <a:srgbClr val="F26B43"/>
          </p15:clr>
        </p15:guide>
        <p15:guide id="4" pos="1527">
          <p15:clr>
            <a:srgbClr val="F26B43"/>
          </p15:clr>
        </p15:guide>
        <p15:guide id="5" pos="2751">
          <p15:clr>
            <a:srgbClr val="F26B43"/>
          </p15:clr>
        </p15:guide>
        <p15:guide id="6" pos="6153">
          <p15:clr>
            <a:srgbClr val="F26B43"/>
          </p15:clr>
        </p15:guide>
        <p15:guide id="7" pos="4929">
          <p15:clr>
            <a:srgbClr val="F26B43"/>
          </p15:clr>
        </p15:guide>
        <p15:guide id="8" pos="1255">
          <p15:clr>
            <a:srgbClr val="F26B43"/>
          </p15:clr>
        </p15:guide>
        <p15:guide id="9" pos="2479">
          <p15:clr>
            <a:srgbClr val="F26B43"/>
          </p15:clr>
        </p15:guide>
        <p15:guide id="10" pos="3976">
          <p15:clr>
            <a:srgbClr val="F26B43"/>
          </p15:clr>
        </p15:guide>
        <p15:guide id="11" pos="5201">
          <p15:clr>
            <a:srgbClr val="F26B43"/>
          </p15:clr>
        </p15:guide>
        <p15:guide id="12" pos="6425">
          <p15:clr>
            <a:srgbClr val="F26B43"/>
          </p15:clr>
        </p15:guide>
        <p15:guide id="13" orient="horz" pos="164">
          <p15:clr>
            <a:srgbClr val="F26B43"/>
          </p15:clr>
        </p15:guide>
        <p15:guide id="14" orient="horz" pos="4156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7" orient="horz" pos="1911">
          <p15:clr>
            <a:srgbClr val="F26B43"/>
          </p15:clr>
        </p15:guide>
        <p15:guide id="18" orient="horz" pos="1412">
          <p15:clr>
            <a:srgbClr val="F26B43"/>
          </p15:clr>
        </p15:guide>
        <p15:guide id="19" orient="horz" pos="3657">
          <p15:clr>
            <a:srgbClr val="F26B43"/>
          </p15:clr>
        </p15:guide>
        <p15:guide id="21" orient="horz" pos="1162">
          <p15:clr>
            <a:srgbClr val="F26B43"/>
          </p15:clr>
        </p15:guide>
        <p15:guide id="22" orient="horz" pos="913">
          <p15:clr>
            <a:srgbClr val="F26B43"/>
          </p15:clr>
        </p15:guide>
        <p15:guide id="23" orient="horz" pos="663">
          <p15:clr>
            <a:srgbClr val="F26B43"/>
          </p15:clr>
        </p15:guide>
        <p15:guide id="24" orient="horz" pos="414">
          <p15:clr>
            <a:srgbClr val="F26B43"/>
          </p15:clr>
        </p15:guide>
        <p15:guide id="25" orient="horz" pos="1661">
          <p15:clr>
            <a:srgbClr val="F26B43"/>
          </p15:clr>
        </p15:guide>
        <p15:guide id="26" orient="horz" pos="2409">
          <p15:clr>
            <a:srgbClr val="F26B43"/>
          </p15:clr>
        </p15:guide>
        <p15:guide id="27" orient="horz" pos="2659">
          <p15:clr>
            <a:srgbClr val="F26B43"/>
          </p15:clr>
        </p15:guide>
        <p15:guide id="28" orient="horz" pos="2908">
          <p15:clr>
            <a:srgbClr val="F26B43"/>
          </p15:clr>
        </p15:guide>
        <p15:guide id="29" orient="horz" pos="3158">
          <p15:clr>
            <a:srgbClr val="F26B43"/>
          </p15:clr>
        </p15:guide>
        <p15:guide id="30" orient="horz" pos="3407">
          <p15:clr>
            <a:srgbClr val="F26B43"/>
          </p15:clr>
        </p15:guide>
        <p15:guide id="31" orient="horz" pos="390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59" name="Слайд think-cell" r:id="rId16" imgW="353" imgH="318" progId="TCLayout.ActiveDocument.1">
                  <p:embed/>
                </p:oleObj>
              </mc:Choice>
              <mc:Fallback>
                <p:oleObj name="Слайд think-cell" r:id="rId16" imgW="353" imgH="318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BF611E-0F24-429D-BCBA-5A371A2EEF7A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5FB743-FEC2-4F92-BEEA-3057AB2B70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6733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  <p:sldLayoutId id="21474839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9785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29" name="Слайд think-cell" r:id="rId13" imgW="353" imgH="318" progId="TCLayout.ActiveDocument.1">
                  <p:embed/>
                </p:oleObj>
              </mc:Choice>
              <mc:Fallback>
                <p:oleObj name="Слайд think-cell" r:id="rId1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5DC2988-5D65-4953-9200-7090D2FA5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358F33-B34D-C846-861F-C128DF6CD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4431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E7C8371-5814-DC4E-BFAE-28AE134882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950" y="1062038"/>
            <a:ext cx="11233150" cy="3563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63538" lvl="0" indent="-363538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</a:pPr>
            <a:r>
              <a:rPr lang="ru-RU" dirty="0"/>
              <a:t>Образец текста
Второй уровень
Третий уровень
Четвертый уровень
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1990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6"/>
        </a:buClr>
        <a:buFont typeface="Arial" panose="020B0604020202020204" pitchFamily="34" charset="0"/>
        <a:buChar char="•"/>
        <a:defRPr lang="ru-RU" sz="1400" kern="1200" dirty="0" smtClean="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pos="3704">
          <p15:clr>
            <a:srgbClr val="F26B43"/>
          </p15:clr>
        </p15:guide>
        <p15:guide id="4" pos="1527">
          <p15:clr>
            <a:srgbClr val="F26B43"/>
          </p15:clr>
        </p15:guide>
        <p15:guide id="5" pos="2751">
          <p15:clr>
            <a:srgbClr val="F26B43"/>
          </p15:clr>
        </p15:guide>
        <p15:guide id="6" pos="6153">
          <p15:clr>
            <a:srgbClr val="F26B43"/>
          </p15:clr>
        </p15:guide>
        <p15:guide id="7" pos="4929">
          <p15:clr>
            <a:srgbClr val="F26B43"/>
          </p15:clr>
        </p15:guide>
        <p15:guide id="8" pos="1255">
          <p15:clr>
            <a:srgbClr val="F26B43"/>
          </p15:clr>
        </p15:guide>
        <p15:guide id="9" pos="2479">
          <p15:clr>
            <a:srgbClr val="F26B43"/>
          </p15:clr>
        </p15:guide>
        <p15:guide id="10" pos="3976">
          <p15:clr>
            <a:srgbClr val="F26B43"/>
          </p15:clr>
        </p15:guide>
        <p15:guide id="11" pos="5201">
          <p15:clr>
            <a:srgbClr val="F26B43"/>
          </p15:clr>
        </p15:guide>
        <p15:guide id="12" pos="6425">
          <p15:clr>
            <a:srgbClr val="F26B43"/>
          </p15:clr>
        </p15:guide>
        <p15:guide id="13" orient="horz" pos="164">
          <p15:clr>
            <a:srgbClr val="F26B43"/>
          </p15:clr>
        </p15:guide>
        <p15:guide id="14" orient="horz" pos="4156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7" orient="horz" pos="1911">
          <p15:clr>
            <a:srgbClr val="F26B43"/>
          </p15:clr>
        </p15:guide>
        <p15:guide id="18" orient="horz" pos="1412">
          <p15:clr>
            <a:srgbClr val="F26B43"/>
          </p15:clr>
        </p15:guide>
        <p15:guide id="19" orient="horz" pos="3657">
          <p15:clr>
            <a:srgbClr val="F26B43"/>
          </p15:clr>
        </p15:guide>
        <p15:guide id="21" orient="horz" pos="1162">
          <p15:clr>
            <a:srgbClr val="F26B43"/>
          </p15:clr>
        </p15:guide>
        <p15:guide id="22" orient="horz" pos="913">
          <p15:clr>
            <a:srgbClr val="F26B43"/>
          </p15:clr>
        </p15:guide>
        <p15:guide id="23" orient="horz" pos="663">
          <p15:clr>
            <a:srgbClr val="F26B43"/>
          </p15:clr>
        </p15:guide>
        <p15:guide id="24" orient="horz" pos="414">
          <p15:clr>
            <a:srgbClr val="F26B43"/>
          </p15:clr>
        </p15:guide>
        <p15:guide id="25" orient="horz" pos="1661">
          <p15:clr>
            <a:srgbClr val="F26B43"/>
          </p15:clr>
        </p15:guide>
        <p15:guide id="26" orient="horz" pos="2409">
          <p15:clr>
            <a:srgbClr val="F26B43"/>
          </p15:clr>
        </p15:guide>
        <p15:guide id="27" orient="horz" pos="2659">
          <p15:clr>
            <a:srgbClr val="F26B43"/>
          </p15:clr>
        </p15:guide>
        <p15:guide id="28" orient="horz" pos="2908">
          <p15:clr>
            <a:srgbClr val="F26B43"/>
          </p15:clr>
        </p15:guide>
        <p15:guide id="29" orient="horz" pos="3158">
          <p15:clr>
            <a:srgbClr val="F26B43"/>
          </p15:clr>
        </p15:guide>
        <p15:guide id="30" orient="horz" pos="3407">
          <p15:clr>
            <a:srgbClr val="F26B43"/>
          </p15:clr>
        </p15:guide>
        <p15:guide id="31" orient="horz" pos="390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68255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77" name="Слайд think-cell" r:id="rId13" imgW="353" imgH="318" progId="TCLayout.ActiveDocument.1">
                  <p:embed/>
                </p:oleObj>
              </mc:Choice>
              <mc:Fallback>
                <p:oleObj name="Слайд think-cell" r:id="rId1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5DC2988-5D65-4953-9200-7090D2FA5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358F33-B34D-C846-861F-C128DF6CD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4431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E7C8371-5814-DC4E-BFAE-28AE134882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950" y="1062038"/>
            <a:ext cx="11233150" cy="3563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63538" lvl="0" indent="-363538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</a:pPr>
            <a:r>
              <a:rPr lang="ru-RU" dirty="0"/>
              <a:t>Образец текста
Второй уровень
Третий уровень
Четвертый уровень
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43729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6"/>
        </a:buClr>
        <a:buFont typeface="Arial" panose="020B0604020202020204" pitchFamily="34" charset="0"/>
        <a:buChar char="•"/>
        <a:defRPr lang="ru-RU" sz="1400" kern="1200" dirty="0" smtClean="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pos="3704">
          <p15:clr>
            <a:srgbClr val="F26B43"/>
          </p15:clr>
        </p15:guide>
        <p15:guide id="4" pos="1527">
          <p15:clr>
            <a:srgbClr val="F26B43"/>
          </p15:clr>
        </p15:guide>
        <p15:guide id="5" pos="2751">
          <p15:clr>
            <a:srgbClr val="F26B43"/>
          </p15:clr>
        </p15:guide>
        <p15:guide id="6" pos="6153">
          <p15:clr>
            <a:srgbClr val="F26B43"/>
          </p15:clr>
        </p15:guide>
        <p15:guide id="7" pos="4929">
          <p15:clr>
            <a:srgbClr val="F26B43"/>
          </p15:clr>
        </p15:guide>
        <p15:guide id="8" pos="1255">
          <p15:clr>
            <a:srgbClr val="F26B43"/>
          </p15:clr>
        </p15:guide>
        <p15:guide id="9" pos="2479">
          <p15:clr>
            <a:srgbClr val="F26B43"/>
          </p15:clr>
        </p15:guide>
        <p15:guide id="10" pos="3976">
          <p15:clr>
            <a:srgbClr val="F26B43"/>
          </p15:clr>
        </p15:guide>
        <p15:guide id="11" pos="5201">
          <p15:clr>
            <a:srgbClr val="F26B43"/>
          </p15:clr>
        </p15:guide>
        <p15:guide id="12" pos="6425">
          <p15:clr>
            <a:srgbClr val="F26B43"/>
          </p15:clr>
        </p15:guide>
        <p15:guide id="13" orient="horz" pos="164">
          <p15:clr>
            <a:srgbClr val="F26B43"/>
          </p15:clr>
        </p15:guide>
        <p15:guide id="14" orient="horz" pos="4156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7" orient="horz" pos="1911">
          <p15:clr>
            <a:srgbClr val="F26B43"/>
          </p15:clr>
        </p15:guide>
        <p15:guide id="18" orient="horz" pos="1412">
          <p15:clr>
            <a:srgbClr val="F26B43"/>
          </p15:clr>
        </p15:guide>
        <p15:guide id="19" orient="horz" pos="3657">
          <p15:clr>
            <a:srgbClr val="F26B43"/>
          </p15:clr>
        </p15:guide>
        <p15:guide id="21" orient="horz" pos="1162">
          <p15:clr>
            <a:srgbClr val="F26B43"/>
          </p15:clr>
        </p15:guide>
        <p15:guide id="22" orient="horz" pos="913">
          <p15:clr>
            <a:srgbClr val="F26B43"/>
          </p15:clr>
        </p15:guide>
        <p15:guide id="23" orient="horz" pos="663">
          <p15:clr>
            <a:srgbClr val="F26B43"/>
          </p15:clr>
        </p15:guide>
        <p15:guide id="24" orient="horz" pos="414">
          <p15:clr>
            <a:srgbClr val="F26B43"/>
          </p15:clr>
        </p15:guide>
        <p15:guide id="25" orient="horz" pos="1661">
          <p15:clr>
            <a:srgbClr val="F26B43"/>
          </p15:clr>
        </p15:guide>
        <p15:guide id="26" orient="horz" pos="2409">
          <p15:clr>
            <a:srgbClr val="F26B43"/>
          </p15:clr>
        </p15:guide>
        <p15:guide id="27" orient="horz" pos="2659">
          <p15:clr>
            <a:srgbClr val="F26B43"/>
          </p15:clr>
        </p15:guide>
        <p15:guide id="28" orient="horz" pos="2908">
          <p15:clr>
            <a:srgbClr val="F26B43"/>
          </p15:clr>
        </p15:guide>
        <p15:guide id="29" orient="horz" pos="3158">
          <p15:clr>
            <a:srgbClr val="F26B43"/>
          </p15:clr>
        </p15:guide>
        <p15:guide id="30" orient="horz" pos="3407">
          <p15:clr>
            <a:srgbClr val="F26B43"/>
          </p15:clr>
        </p15:guide>
        <p15:guide id="31" orient="horz" pos="390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37323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15" name="Слайд think-cell" r:id="rId13" imgW="353" imgH="318" progId="TCLayout.ActiveDocument.1">
                  <p:embed/>
                </p:oleObj>
              </mc:Choice>
              <mc:Fallback>
                <p:oleObj name="Слайд think-cell" r:id="rId1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5DC2988-5D65-4953-9200-7090D2FA5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358F33-B34D-C846-861F-C128DF6CD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4431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E7C8371-5814-DC4E-BFAE-28AE134882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950" y="1062038"/>
            <a:ext cx="11233150" cy="3563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63538" lvl="0" indent="-363538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</a:pPr>
            <a:r>
              <a:rPr lang="ru-RU" dirty="0"/>
              <a:t>Образец текста
Второй уровень
Третий уровень
Четвертый уровень
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97249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6"/>
        </a:buClr>
        <a:buFont typeface="Arial" panose="020B0604020202020204" pitchFamily="34" charset="0"/>
        <a:buChar char="•"/>
        <a:defRPr lang="ru-RU" sz="1400" kern="1200" dirty="0" smtClean="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pos="3704">
          <p15:clr>
            <a:srgbClr val="F26B43"/>
          </p15:clr>
        </p15:guide>
        <p15:guide id="4" pos="1527">
          <p15:clr>
            <a:srgbClr val="F26B43"/>
          </p15:clr>
        </p15:guide>
        <p15:guide id="5" pos="2751">
          <p15:clr>
            <a:srgbClr val="F26B43"/>
          </p15:clr>
        </p15:guide>
        <p15:guide id="6" pos="6153">
          <p15:clr>
            <a:srgbClr val="F26B43"/>
          </p15:clr>
        </p15:guide>
        <p15:guide id="7" pos="4929">
          <p15:clr>
            <a:srgbClr val="F26B43"/>
          </p15:clr>
        </p15:guide>
        <p15:guide id="8" pos="1255">
          <p15:clr>
            <a:srgbClr val="F26B43"/>
          </p15:clr>
        </p15:guide>
        <p15:guide id="9" pos="2479">
          <p15:clr>
            <a:srgbClr val="F26B43"/>
          </p15:clr>
        </p15:guide>
        <p15:guide id="10" pos="3976">
          <p15:clr>
            <a:srgbClr val="F26B43"/>
          </p15:clr>
        </p15:guide>
        <p15:guide id="11" pos="5201">
          <p15:clr>
            <a:srgbClr val="F26B43"/>
          </p15:clr>
        </p15:guide>
        <p15:guide id="12" pos="6425">
          <p15:clr>
            <a:srgbClr val="F26B43"/>
          </p15:clr>
        </p15:guide>
        <p15:guide id="13" orient="horz" pos="164">
          <p15:clr>
            <a:srgbClr val="F26B43"/>
          </p15:clr>
        </p15:guide>
        <p15:guide id="14" orient="horz" pos="4156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7" orient="horz" pos="1911">
          <p15:clr>
            <a:srgbClr val="F26B43"/>
          </p15:clr>
        </p15:guide>
        <p15:guide id="18" orient="horz" pos="1412">
          <p15:clr>
            <a:srgbClr val="F26B43"/>
          </p15:clr>
        </p15:guide>
        <p15:guide id="19" orient="horz" pos="3657">
          <p15:clr>
            <a:srgbClr val="F26B43"/>
          </p15:clr>
        </p15:guide>
        <p15:guide id="21" orient="horz" pos="1162">
          <p15:clr>
            <a:srgbClr val="F26B43"/>
          </p15:clr>
        </p15:guide>
        <p15:guide id="22" orient="horz" pos="913">
          <p15:clr>
            <a:srgbClr val="F26B43"/>
          </p15:clr>
        </p15:guide>
        <p15:guide id="23" orient="horz" pos="663">
          <p15:clr>
            <a:srgbClr val="F26B43"/>
          </p15:clr>
        </p15:guide>
        <p15:guide id="24" orient="horz" pos="414">
          <p15:clr>
            <a:srgbClr val="F26B43"/>
          </p15:clr>
        </p15:guide>
        <p15:guide id="25" orient="horz" pos="1661">
          <p15:clr>
            <a:srgbClr val="F26B43"/>
          </p15:clr>
        </p15:guide>
        <p15:guide id="26" orient="horz" pos="2409">
          <p15:clr>
            <a:srgbClr val="F26B43"/>
          </p15:clr>
        </p15:guide>
        <p15:guide id="27" orient="horz" pos="2659">
          <p15:clr>
            <a:srgbClr val="F26B43"/>
          </p15:clr>
        </p15:guide>
        <p15:guide id="28" orient="horz" pos="2908">
          <p15:clr>
            <a:srgbClr val="F26B43"/>
          </p15:clr>
        </p15:guide>
        <p15:guide id="29" orient="horz" pos="3158">
          <p15:clr>
            <a:srgbClr val="F26B43"/>
          </p15:clr>
        </p15:guide>
        <p15:guide id="30" orient="horz" pos="3407">
          <p15:clr>
            <a:srgbClr val="F26B43"/>
          </p15:clr>
        </p15:guide>
        <p15:guide id="31" orient="horz" pos="390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0353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47" name="Слайд think-cell" r:id="rId13" imgW="353" imgH="318" progId="TCLayout.ActiveDocument.1">
                  <p:embed/>
                </p:oleObj>
              </mc:Choice>
              <mc:Fallback>
                <p:oleObj name="Слайд think-cell" r:id="rId1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5DC2988-5D65-4953-9200-7090D2FA5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358F33-B34D-C846-861F-C128DF6CD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4431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E7C8371-5814-DC4E-BFAE-28AE134882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950" y="1062038"/>
            <a:ext cx="11233150" cy="3563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63538" lvl="0" indent="-363538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</a:pPr>
            <a:r>
              <a:rPr lang="ru-RU" dirty="0"/>
              <a:t>Образец текста
Второй уровень
Третий уровень
Четвертый уровень
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54946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6"/>
        </a:buClr>
        <a:buFont typeface="Arial" panose="020B0604020202020204" pitchFamily="34" charset="0"/>
        <a:buChar char="•"/>
        <a:defRPr lang="ru-RU" sz="1400" kern="1200" dirty="0" smtClean="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pos="3704">
          <p15:clr>
            <a:srgbClr val="F26B43"/>
          </p15:clr>
        </p15:guide>
        <p15:guide id="4" pos="1527">
          <p15:clr>
            <a:srgbClr val="F26B43"/>
          </p15:clr>
        </p15:guide>
        <p15:guide id="5" pos="2751">
          <p15:clr>
            <a:srgbClr val="F26B43"/>
          </p15:clr>
        </p15:guide>
        <p15:guide id="6" pos="6153">
          <p15:clr>
            <a:srgbClr val="F26B43"/>
          </p15:clr>
        </p15:guide>
        <p15:guide id="7" pos="4929">
          <p15:clr>
            <a:srgbClr val="F26B43"/>
          </p15:clr>
        </p15:guide>
        <p15:guide id="8" pos="1255">
          <p15:clr>
            <a:srgbClr val="F26B43"/>
          </p15:clr>
        </p15:guide>
        <p15:guide id="9" pos="2479">
          <p15:clr>
            <a:srgbClr val="F26B43"/>
          </p15:clr>
        </p15:guide>
        <p15:guide id="10" pos="3976">
          <p15:clr>
            <a:srgbClr val="F26B43"/>
          </p15:clr>
        </p15:guide>
        <p15:guide id="11" pos="5201">
          <p15:clr>
            <a:srgbClr val="F26B43"/>
          </p15:clr>
        </p15:guide>
        <p15:guide id="12" pos="6425">
          <p15:clr>
            <a:srgbClr val="F26B43"/>
          </p15:clr>
        </p15:guide>
        <p15:guide id="13" orient="horz" pos="164">
          <p15:clr>
            <a:srgbClr val="F26B43"/>
          </p15:clr>
        </p15:guide>
        <p15:guide id="14" orient="horz" pos="4156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7" orient="horz" pos="1911">
          <p15:clr>
            <a:srgbClr val="F26B43"/>
          </p15:clr>
        </p15:guide>
        <p15:guide id="18" orient="horz" pos="1412">
          <p15:clr>
            <a:srgbClr val="F26B43"/>
          </p15:clr>
        </p15:guide>
        <p15:guide id="19" orient="horz" pos="3657">
          <p15:clr>
            <a:srgbClr val="F26B43"/>
          </p15:clr>
        </p15:guide>
        <p15:guide id="21" orient="horz" pos="1162">
          <p15:clr>
            <a:srgbClr val="F26B43"/>
          </p15:clr>
        </p15:guide>
        <p15:guide id="22" orient="horz" pos="913">
          <p15:clr>
            <a:srgbClr val="F26B43"/>
          </p15:clr>
        </p15:guide>
        <p15:guide id="23" orient="horz" pos="663">
          <p15:clr>
            <a:srgbClr val="F26B43"/>
          </p15:clr>
        </p15:guide>
        <p15:guide id="24" orient="horz" pos="414">
          <p15:clr>
            <a:srgbClr val="F26B43"/>
          </p15:clr>
        </p15:guide>
        <p15:guide id="25" orient="horz" pos="1661">
          <p15:clr>
            <a:srgbClr val="F26B43"/>
          </p15:clr>
        </p15:guide>
        <p15:guide id="26" orient="horz" pos="2409">
          <p15:clr>
            <a:srgbClr val="F26B43"/>
          </p15:clr>
        </p15:guide>
        <p15:guide id="27" orient="horz" pos="2659">
          <p15:clr>
            <a:srgbClr val="F26B43"/>
          </p15:clr>
        </p15:guide>
        <p15:guide id="28" orient="horz" pos="2908">
          <p15:clr>
            <a:srgbClr val="F26B43"/>
          </p15:clr>
        </p15:guide>
        <p15:guide id="29" orient="horz" pos="3158">
          <p15:clr>
            <a:srgbClr val="F26B43"/>
          </p15:clr>
        </p15:guide>
        <p15:guide id="30" orient="horz" pos="3407">
          <p15:clr>
            <a:srgbClr val="F26B43"/>
          </p15:clr>
        </p15:guide>
        <p15:guide id="31" orient="horz" pos="390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18027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72" name="Слайд think-cell" r:id="rId14" imgW="353" imgH="318" progId="TCLayout.ActiveDocument.1">
                  <p:embed/>
                </p:oleObj>
              </mc:Choice>
              <mc:Fallback>
                <p:oleObj name="Слайд think-cell" r:id="rId1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5DC2988-5D65-4953-9200-7090D2FA5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358F33-B34D-C846-861F-C128DF6CD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4431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E7C8371-5814-DC4E-BFAE-28AE134882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950" y="1062038"/>
            <a:ext cx="11233150" cy="3563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63538" lvl="0" indent="-363538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</a:pPr>
            <a:r>
              <a:rPr lang="ru-RU" dirty="0"/>
              <a:t>Образец текста
Второй уровень
Третий уровень
Четвертый уровень
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21527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401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6"/>
        </a:buClr>
        <a:buFont typeface="Arial" panose="020B0604020202020204" pitchFamily="34" charset="0"/>
        <a:buChar char="•"/>
        <a:defRPr lang="ru-RU" sz="1400" kern="1200" dirty="0" smtClean="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pos="3704">
          <p15:clr>
            <a:srgbClr val="F26B43"/>
          </p15:clr>
        </p15:guide>
        <p15:guide id="4" pos="1527">
          <p15:clr>
            <a:srgbClr val="F26B43"/>
          </p15:clr>
        </p15:guide>
        <p15:guide id="5" pos="2751">
          <p15:clr>
            <a:srgbClr val="F26B43"/>
          </p15:clr>
        </p15:guide>
        <p15:guide id="6" pos="6153">
          <p15:clr>
            <a:srgbClr val="F26B43"/>
          </p15:clr>
        </p15:guide>
        <p15:guide id="7" pos="4929">
          <p15:clr>
            <a:srgbClr val="F26B43"/>
          </p15:clr>
        </p15:guide>
        <p15:guide id="8" pos="1255">
          <p15:clr>
            <a:srgbClr val="F26B43"/>
          </p15:clr>
        </p15:guide>
        <p15:guide id="9" pos="2479">
          <p15:clr>
            <a:srgbClr val="F26B43"/>
          </p15:clr>
        </p15:guide>
        <p15:guide id="10" pos="3976">
          <p15:clr>
            <a:srgbClr val="F26B43"/>
          </p15:clr>
        </p15:guide>
        <p15:guide id="11" pos="5201">
          <p15:clr>
            <a:srgbClr val="F26B43"/>
          </p15:clr>
        </p15:guide>
        <p15:guide id="12" pos="6425">
          <p15:clr>
            <a:srgbClr val="F26B43"/>
          </p15:clr>
        </p15:guide>
        <p15:guide id="13" orient="horz" pos="164">
          <p15:clr>
            <a:srgbClr val="F26B43"/>
          </p15:clr>
        </p15:guide>
        <p15:guide id="14" orient="horz" pos="4156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7" orient="horz" pos="1911">
          <p15:clr>
            <a:srgbClr val="F26B43"/>
          </p15:clr>
        </p15:guide>
        <p15:guide id="18" orient="horz" pos="1412">
          <p15:clr>
            <a:srgbClr val="F26B43"/>
          </p15:clr>
        </p15:guide>
        <p15:guide id="19" orient="horz" pos="3657">
          <p15:clr>
            <a:srgbClr val="F26B43"/>
          </p15:clr>
        </p15:guide>
        <p15:guide id="21" orient="horz" pos="1162">
          <p15:clr>
            <a:srgbClr val="F26B43"/>
          </p15:clr>
        </p15:guide>
        <p15:guide id="22" orient="horz" pos="913">
          <p15:clr>
            <a:srgbClr val="F26B43"/>
          </p15:clr>
        </p15:guide>
        <p15:guide id="23" orient="horz" pos="663">
          <p15:clr>
            <a:srgbClr val="F26B43"/>
          </p15:clr>
        </p15:guide>
        <p15:guide id="24" orient="horz" pos="414">
          <p15:clr>
            <a:srgbClr val="F26B43"/>
          </p15:clr>
        </p15:guide>
        <p15:guide id="25" orient="horz" pos="1661">
          <p15:clr>
            <a:srgbClr val="F26B43"/>
          </p15:clr>
        </p15:guide>
        <p15:guide id="26" orient="horz" pos="2409">
          <p15:clr>
            <a:srgbClr val="F26B43"/>
          </p15:clr>
        </p15:guide>
        <p15:guide id="27" orient="horz" pos="2659">
          <p15:clr>
            <a:srgbClr val="F26B43"/>
          </p15:clr>
        </p15:guide>
        <p15:guide id="28" orient="horz" pos="2908">
          <p15:clr>
            <a:srgbClr val="F26B43"/>
          </p15:clr>
        </p15:guide>
        <p15:guide id="29" orient="horz" pos="3158">
          <p15:clr>
            <a:srgbClr val="F26B43"/>
          </p15:clr>
        </p15:guide>
        <p15:guide id="30" orient="horz" pos="3407">
          <p15:clr>
            <a:srgbClr val="F26B43"/>
          </p15:clr>
        </p15:guide>
        <p15:guide id="31" orient="horz" pos="390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16" name="Слайд think-cell" r:id="rId23" imgW="282" imgH="254" progId="TCLayout.ActiveDocument.1">
                  <p:embed/>
                </p:oleObj>
              </mc:Choice>
              <mc:Fallback>
                <p:oleObj name="Слайд think-cell" r:id="rId23" imgW="282" imgH="254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5DC2988-5D65-4953-9200-7090D2FA5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358F33-B34D-C846-861F-C128DF6CD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4431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E7C8371-5814-DC4E-BFAE-28AE134882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950" y="1062038"/>
            <a:ext cx="11233150" cy="3563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63538" lvl="0" indent="-363538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</a:pPr>
            <a:r>
              <a:rPr lang="ru-RU" dirty="0"/>
              <a:t>Образец текста
Второй уровень
Третий уровень
Четвертый уровень
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67287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  <p:sldLayoutId id="2147484001" r:id="rId10"/>
    <p:sldLayoutId id="2147484002" r:id="rId11"/>
    <p:sldLayoutId id="2147484003" r:id="rId12"/>
    <p:sldLayoutId id="2147484004" r:id="rId13"/>
    <p:sldLayoutId id="2147484005" r:id="rId14"/>
    <p:sldLayoutId id="2147484006" r:id="rId15"/>
    <p:sldLayoutId id="2147484007" r:id="rId16"/>
    <p:sldLayoutId id="2147484008" r:id="rId17"/>
    <p:sldLayoutId id="2147484009" r:id="rId18"/>
    <p:sldLayoutId id="2147484010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6"/>
        </a:buClr>
        <a:buFont typeface="Arial" panose="020B0604020202020204" pitchFamily="34" charset="0"/>
        <a:buChar char="•"/>
        <a:defRPr lang="ru-RU" sz="1400" kern="1200" dirty="0" smtClean="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pos="3704">
          <p15:clr>
            <a:srgbClr val="F26B43"/>
          </p15:clr>
        </p15:guide>
        <p15:guide id="4" pos="1527">
          <p15:clr>
            <a:srgbClr val="F26B43"/>
          </p15:clr>
        </p15:guide>
        <p15:guide id="5" pos="2751">
          <p15:clr>
            <a:srgbClr val="F26B43"/>
          </p15:clr>
        </p15:guide>
        <p15:guide id="6" pos="6153">
          <p15:clr>
            <a:srgbClr val="F26B43"/>
          </p15:clr>
        </p15:guide>
        <p15:guide id="7" pos="4929">
          <p15:clr>
            <a:srgbClr val="F26B43"/>
          </p15:clr>
        </p15:guide>
        <p15:guide id="8" pos="1255">
          <p15:clr>
            <a:srgbClr val="F26B43"/>
          </p15:clr>
        </p15:guide>
        <p15:guide id="9" pos="2479">
          <p15:clr>
            <a:srgbClr val="F26B43"/>
          </p15:clr>
        </p15:guide>
        <p15:guide id="10" pos="3976">
          <p15:clr>
            <a:srgbClr val="F26B43"/>
          </p15:clr>
        </p15:guide>
        <p15:guide id="11" pos="5201">
          <p15:clr>
            <a:srgbClr val="F26B43"/>
          </p15:clr>
        </p15:guide>
        <p15:guide id="12" pos="6425">
          <p15:clr>
            <a:srgbClr val="F26B43"/>
          </p15:clr>
        </p15:guide>
        <p15:guide id="13" orient="horz" pos="164">
          <p15:clr>
            <a:srgbClr val="F26B43"/>
          </p15:clr>
        </p15:guide>
        <p15:guide id="14" orient="horz" pos="4156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7" orient="horz" pos="1911">
          <p15:clr>
            <a:srgbClr val="F26B43"/>
          </p15:clr>
        </p15:guide>
        <p15:guide id="18" orient="horz" pos="1412">
          <p15:clr>
            <a:srgbClr val="F26B43"/>
          </p15:clr>
        </p15:guide>
        <p15:guide id="19" orient="horz" pos="3657">
          <p15:clr>
            <a:srgbClr val="F26B43"/>
          </p15:clr>
        </p15:guide>
        <p15:guide id="21" orient="horz" pos="1162">
          <p15:clr>
            <a:srgbClr val="F26B43"/>
          </p15:clr>
        </p15:guide>
        <p15:guide id="22" orient="horz" pos="913">
          <p15:clr>
            <a:srgbClr val="F26B43"/>
          </p15:clr>
        </p15:guide>
        <p15:guide id="23" orient="horz" pos="663">
          <p15:clr>
            <a:srgbClr val="F26B43"/>
          </p15:clr>
        </p15:guide>
        <p15:guide id="24" orient="horz" pos="414">
          <p15:clr>
            <a:srgbClr val="F26B43"/>
          </p15:clr>
        </p15:guide>
        <p15:guide id="25" orient="horz" pos="1661">
          <p15:clr>
            <a:srgbClr val="F26B43"/>
          </p15:clr>
        </p15:guide>
        <p15:guide id="26" orient="horz" pos="2409">
          <p15:clr>
            <a:srgbClr val="F26B43"/>
          </p15:clr>
        </p15:guide>
        <p15:guide id="27" orient="horz" pos="2659">
          <p15:clr>
            <a:srgbClr val="F26B43"/>
          </p15:clr>
        </p15:guide>
        <p15:guide id="28" orient="horz" pos="2908">
          <p15:clr>
            <a:srgbClr val="F26B43"/>
          </p15:clr>
        </p15:guide>
        <p15:guide id="29" orient="horz" pos="3158">
          <p15:clr>
            <a:srgbClr val="F26B43"/>
          </p15:clr>
        </p15:guide>
        <p15:guide id="30" orient="horz" pos="3407">
          <p15:clr>
            <a:srgbClr val="F26B43"/>
          </p15:clr>
        </p15:guide>
        <p15:guide id="31" orient="horz" pos="39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0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13" Type="http://schemas.openxmlformats.org/officeDocument/2006/relationships/image" Target="../media/image60.png"/><Relationship Id="rId18" Type="http://schemas.openxmlformats.org/officeDocument/2006/relationships/image" Target="../media/image65.png"/><Relationship Id="rId3" Type="http://schemas.openxmlformats.org/officeDocument/2006/relationships/tags" Target="../tags/tag20.xml"/><Relationship Id="rId7" Type="http://schemas.openxmlformats.org/officeDocument/2006/relationships/image" Target="../media/image38.emf"/><Relationship Id="rId12" Type="http://schemas.openxmlformats.org/officeDocument/2006/relationships/image" Target="../media/image59.png"/><Relationship Id="rId17" Type="http://schemas.openxmlformats.org/officeDocument/2006/relationships/image" Target="../media/image64.png"/><Relationship Id="rId2" Type="http://schemas.openxmlformats.org/officeDocument/2006/relationships/tags" Target="../tags/tag19.xml"/><Relationship Id="rId16" Type="http://schemas.openxmlformats.org/officeDocument/2006/relationships/image" Target="../media/image63.png"/><Relationship Id="rId20" Type="http://schemas.openxmlformats.org/officeDocument/2006/relationships/image" Target="../media/image67.png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58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62.png"/><Relationship Id="rId10" Type="http://schemas.openxmlformats.org/officeDocument/2006/relationships/image" Target="../media/image57.png"/><Relationship Id="rId19" Type="http://schemas.openxmlformats.org/officeDocument/2006/relationships/image" Target="../media/image66.png"/><Relationship Id="rId4" Type="http://schemas.openxmlformats.org/officeDocument/2006/relationships/slideLayout" Target="../slideLayouts/slideLayout224.xml"/><Relationship Id="rId9" Type="http://schemas.openxmlformats.org/officeDocument/2006/relationships/image" Target="../media/image56.png"/><Relationship Id="rId14" Type="http://schemas.openxmlformats.org/officeDocument/2006/relationships/image" Target="../media/image6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slideLayout" Target="../slideLayouts/slideLayout178.xml"/><Relationship Id="rId7" Type="http://schemas.openxmlformats.org/officeDocument/2006/relationships/image" Target="../media/image39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5.emf"/><Relationship Id="rId11" Type="http://schemas.openxmlformats.org/officeDocument/2006/relationships/image" Target="../media/image68.jpe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71.sv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13" Type="http://schemas.openxmlformats.org/officeDocument/2006/relationships/image" Target="../media/image73.jpeg"/><Relationship Id="rId18" Type="http://schemas.openxmlformats.org/officeDocument/2006/relationships/image" Target="../media/image78.png"/><Relationship Id="rId26" Type="http://schemas.openxmlformats.org/officeDocument/2006/relationships/image" Target="../media/image81.png"/><Relationship Id="rId39" Type="http://schemas.openxmlformats.org/officeDocument/2006/relationships/image" Target="../media/image94.jpeg"/><Relationship Id="rId3" Type="http://schemas.openxmlformats.org/officeDocument/2006/relationships/tags" Target="../tags/tag23.xml"/><Relationship Id="rId21" Type="http://schemas.openxmlformats.org/officeDocument/2006/relationships/image" Target="../media/image80.png"/><Relationship Id="rId34" Type="http://schemas.openxmlformats.org/officeDocument/2006/relationships/image" Target="../media/image89.emf"/><Relationship Id="rId42" Type="http://schemas.openxmlformats.org/officeDocument/2006/relationships/image" Target="../media/image97.jpeg"/><Relationship Id="rId47" Type="http://schemas.openxmlformats.org/officeDocument/2006/relationships/image" Target="../media/image102.png"/><Relationship Id="rId7" Type="http://schemas.openxmlformats.org/officeDocument/2006/relationships/notesSlide" Target="../notesSlides/notesSlide13.xml"/><Relationship Id="rId12" Type="http://schemas.openxmlformats.org/officeDocument/2006/relationships/image" Target="../media/image72.jpeg"/><Relationship Id="rId17" Type="http://schemas.openxmlformats.org/officeDocument/2006/relationships/image" Target="../media/image77.png"/><Relationship Id="rId25" Type="http://schemas.openxmlformats.org/officeDocument/2006/relationships/image" Target="../media/image195.svg"/><Relationship Id="rId33" Type="http://schemas.openxmlformats.org/officeDocument/2006/relationships/image" Target="../media/image88.emf"/><Relationship Id="rId38" Type="http://schemas.openxmlformats.org/officeDocument/2006/relationships/image" Target="../media/image93.jpeg"/><Relationship Id="rId46" Type="http://schemas.openxmlformats.org/officeDocument/2006/relationships/image" Target="../media/image101.png"/><Relationship Id="rId2" Type="http://schemas.openxmlformats.org/officeDocument/2006/relationships/tags" Target="../tags/tag22.xml"/><Relationship Id="rId16" Type="http://schemas.openxmlformats.org/officeDocument/2006/relationships/image" Target="../media/image76.emf"/><Relationship Id="rId20" Type="http://schemas.openxmlformats.org/officeDocument/2006/relationships/chart" Target="../charts/chart5.xml"/><Relationship Id="rId29" Type="http://schemas.openxmlformats.org/officeDocument/2006/relationships/image" Target="../media/image84.png"/><Relationship Id="rId41" Type="http://schemas.openxmlformats.org/officeDocument/2006/relationships/image" Target="../media/image96.png"/><Relationship Id="rId1" Type="http://schemas.openxmlformats.org/officeDocument/2006/relationships/vmlDrawing" Target="../drawings/vmlDrawing19.v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71.emf"/><Relationship Id="rId32" Type="http://schemas.openxmlformats.org/officeDocument/2006/relationships/image" Target="../media/image87.png"/><Relationship Id="rId37" Type="http://schemas.openxmlformats.org/officeDocument/2006/relationships/image" Target="../media/image92.jpeg"/><Relationship Id="rId40" Type="http://schemas.openxmlformats.org/officeDocument/2006/relationships/image" Target="../media/image95.jpeg"/><Relationship Id="rId45" Type="http://schemas.openxmlformats.org/officeDocument/2006/relationships/image" Target="../media/image100.jpeg"/><Relationship Id="rId5" Type="http://schemas.openxmlformats.org/officeDocument/2006/relationships/tags" Target="../tags/tag25.xml"/><Relationship Id="rId15" Type="http://schemas.openxmlformats.org/officeDocument/2006/relationships/image" Target="../media/image75.png"/><Relationship Id="rId28" Type="http://schemas.openxmlformats.org/officeDocument/2006/relationships/image" Target="../media/image83.png"/><Relationship Id="rId36" Type="http://schemas.openxmlformats.org/officeDocument/2006/relationships/image" Target="../media/image91.png"/><Relationship Id="rId10" Type="http://schemas.openxmlformats.org/officeDocument/2006/relationships/image" Target="../media/image70.png"/><Relationship Id="rId19" Type="http://schemas.openxmlformats.org/officeDocument/2006/relationships/image" Target="../media/image79.jpeg"/><Relationship Id="rId31" Type="http://schemas.openxmlformats.org/officeDocument/2006/relationships/image" Target="../media/image86.png"/><Relationship Id="rId44" Type="http://schemas.openxmlformats.org/officeDocument/2006/relationships/image" Target="../media/image99.png"/><Relationship Id="rId4" Type="http://schemas.openxmlformats.org/officeDocument/2006/relationships/tags" Target="../tags/tag24.xml"/><Relationship Id="rId9" Type="http://schemas.openxmlformats.org/officeDocument/2006/relationships/image" Target="../media/image69.emf"/><Relationship Id="rId14" Type="http://schemas.openxmlformats.org/officeDocument/2006/relationships/image" Target="../media/image74.jpeg"/><Relationship Id="rId27" Type="http://schemas.openxmlformats.org/officeDocument/2006/relationships/image" Target="../media/image82.emf"/><Relationship Id="rId30" Type="http://schemas.openxmlformats.org/officeDocument/2006/relationships/image" Target="../media/image85.png"/><Relationship Id="rId35" Type="http://schemas.openxmlformats.org/officeDocument/2006/relationships/image" Target="../media/image90.emf"/><Relationship Id="rId43" Type="http://schemas.openxmlformats.org/officeDocument/2006/relationships/image" Target="../media/image98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3.sv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03.png"/><Relationship Id="rId12" Type="http://schemas.openxmlformats.org/officeDocument/2006/relationships/image" Target="../media/image227.svg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5.emf"/><Relationship Id="rId11" Type="http://schemas.openxmlformats.org/officeDocument/2006/relationships/image" Target="../media/image105.pn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225.sv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0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2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2.xml"/><Relationship Id="rId7" Type="http://schemas.openxmlformats.org/officeDocument/2006/relationships/chart" Target="../charts/char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201.xml"/><Relationship Id="rId7" Type="http://schemas.openxmlformats.org/officeDocument/2006/relationships/chart" Target="../charts/char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0.xml"/><Relationship Id="rId7" Type="http://schemas.openxmlformats.org/officeDocument/2006/relationships/image" Target="../media/image37.png"/><Relationship Id="rId33" Type="http://schemas.openxmlformats.org/officeDocument/2006/relationships/image" Target="../media/image667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15.xml"/><Relationship Id="rId7" Type="http://schemas.openxmlformats.org/officeDocument/2006/relationships/image" Target="../media/image69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9.png"/><Relationship Id="rId11" Type="http://schemas.openxmlformats.org/officeDocument/2006/relationships/image" Target="../media/image38.emf"/><Relationship Id="rId5" Type="http://schemas.openxmlformats.org/officeDocument/2006/relationships/notesSlide" Target="../notesSlides/notesSlide6.xml"/><Relationship Id="rId10" Type="http://schemas.openxmlformats.org/officeDocument/2006/relationships/oleObject" Target="../embeddings/oleObject13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7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3" Type="http://schemas.openxmlformats.org/officeDocument/2006/relationships/image" Target="../media/image41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65.svg"/><Relationship Id="rId5" Type="http://schemas.openxmlformats.org/officeDocument/2006/relationships/image" Target="../media/image42.png"/><Relationship Id="rId4" Type="http://schemas.openxmlformats.org/officeDocument/2006/relationships/image" Target="../media/image63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svg"/><Relationship Id="rId13" Type="http://schemas.openxmlformats.org/officeDocument/2006/relationships/image" Target="../media/image77.svg"/><Relationship Id="rId18" Type="http://schemas.openxmlformats.org/officeDocument/2006/relationships/image" Target="../media/image50.png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83.svg"/><Relationship Id="rId7" Type="http://schemas.openxmlformats.org/officeDocument/2006/relationships/image" Target="../media/image44.png"/><Relationship Id="rId12" Type="http://schemas.openxmlformats.org/officeDocument/2006/relationships/image" Target="../media/image47.png"/><Relationship Id="rId17" Type="http://schemas.openxmlformats.org/officeDocument/2006/relationships/image" Target="../media/image79.svg"/><Relationship Id="rId2" Type="http://schemas.openxmlformats.org/officeDocument/2006/relationships/tags" Target="../tags/tag16.xml"/><Relationship Id="rId16" Type="http://schemas.openxmlformats.org/officeDocument/2006/relationships/image" Target="../media/image49.png"/><Relationship Id="rId20" Type="http://schemas.openxmlformats.org/officeDocument/2006/relationships/image" Target="../media/image51.pn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5.emf"/><Relationship Id="rId11" Type="http://schemas.openxmlformats.org/officeDocument/2006/relationships/image" Target="../media/image75.sv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650.svg"/><Relationship Id="rId10" Type="http://schemas.openxmlformats.org/officeDocument/2006/relationships/image" Target="../media/image46.png"/><Relationship Id="rId19" Type="http://schemas.openxmlformats.org/officeDocument/2006/relationships/image" Target="../media/image81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5.png"/><Relationship Id="rId1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../media/image55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52.png"/><Relationship Id="rId12" Type="http://schemas.openxmlformats.org/officeDocument/2006/relationships/image" Target="NUL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5.emf"/><Relationship Id="rId11" Type="http://schemas.openxmlformats.org/officeDocument/2006/relationships/image" Target="../media/image54.png"/><Relationship Id="rId5" Type="http://schemas.openxmlformats.org/officeDocument/2006/relationships/oleObject" Target="../embeddings/oleObject15.bin"/><Relationship Id="rId10" Type="http://schemas.openxmlformats.org/officeDocument/2006/relationships/image" Target="NULL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53.png"/><Relationship Id="rId14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">
            <a:extLst>
              <a:ext uri="{FF2B5EF4-FFF2-40B4-BE49-F238E27FC236}">
                <a16:creationId xmlns:a16="http://schemas.microsoft.com/office/drawing/2014/main" id="{75FF1B23-B2A2-83DA-9BF0-884FC810EC93}"/>
              </a:ext>
            </a:extLst>
          </p:cNvPr>
          <p:cNvSpPr txBox="1">
            <a:spLocks/>
          </p:cNvSpPr>
          <p:nvPr/>
        </p:nvSpPr>
        <p:spPr>
          <a:xfrm>
            <a:off x="489014" y="6212431"/>
            <a:ext cx="1583749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400" dirty="0">
                <a:solidFill>
                  <a:schemeClr val="bg1"/>
                </a:solidFill>
                <a:latin typeface="Cera CY" pitchFamily="2" charset="0"/>
                <a:cs typeface="Arial" panose="020B0604020202020204" pitchFamily="34" charset="0"/>
              </a:rPr>
              <a:t>gazprombank.ru</a:t>
            </a:r>
          </a:p>
        </p:txBody>
      </p:sp>
      <p:sp>
        <p:nvSpPr>
          <p:cNvPr id="7" name="Текст 1">
            <a:extLst>
              <a:ext uri="{FF2B5EF4-FFF2-40B4-BE49-F238E27FC236}">
                <a16:creationId xmlns:a16="http://schemas.microsoft.com/office/drawing/2014/main" id="{8599B07C-6ECF-5032-00E3-ABE38C699B0F}"/>
              </a:ext>
            </a:extLst>
          </p:cNvPr>
          <p:cNvSpPr txBox="1">
            <a:spLocks/>
          </p:cNvSpPr>
          <p:nvPr/>
        </p:nvSpPr>
        <p:spPr>
          <a:xfrm>
            <a:off x="489012" y="2873522"/>
            <a:ext cx="8611787" cy="147732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48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Применение банковского сопровождения контрактов</a:t>
            </a:r>
            <a:endParaRPr lang="ru-RU" sz="4800" dirty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141113" y="6212431"/>
            <a:ext cx="95968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1400" dirty="0" smtClean="0">
                <a:solidFill>
                  <a:schemeClr val="bg1"/>
                </a:solidFill>
                <a:latin typeface="Cera CY" panose="00000500000000000000" pitchFamily="50" charset="-52"/>
              </a:rPr>
              <a:t>2025</a:t>
            </a:r>
            <a:endParaRPr lang="ru-RU" sz="1400" dirty="0">
              <a:solidFill>
                <a:schemeClr val="bg1"/>
              </a:solidFill>
              <a:latin typeface="Cera CY" panose="00000500000000000000" pitchFamily="50" charset="-52"/>
            </a:endParaRPr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8599B07C-6ECF-5032-00E3-ABE38C699B0F}"/>
              </a:ext>
            </a:extLst>
          </p:cNvPr>
          <p:cNvSpPr txBox="1">
            <a:spLocks/>
          </p:cNvSpPr>
          <p:nvPr/>
        </p:nvSpPr>
        <p:spPr>
          <a:xfrm>
            <a:off x="573418" y="4657850"/>
            <a:ext cx="8611787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4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При реализации проектов капитального строительства</a:t>
            </a:r>
            <a:endParaRPr lang="ru-RU" sz="2400" dirty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189440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305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03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Скругленный прямоугольник 92"/>
          <p:cNvSpPr/>
          <p:nvPr/>
        </p:nvSpPr>
        <p:spPr>
          <a:xfrm>
            <a:off x="3652573" y="4656682"/>
            <a:ext cx="6237385" cy="1817858"/>
          </a:xfrm>
          <a:prstGeom prst="roundRect">
            <a:avLst/>
          </a:prstGeom>
          <a:solidFill>
            <a:srgbClr val="FFAB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b="1" dirty="0">
              <a:latin typeface="Cera CY" panose="00000500000000000000" pitchFamily="2" charset="-52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0639A8E5-E974-4597-8E13-3E4353CDC0D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A9CFFD-EE99-4E11-B8BC-23AC5DDB75ED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400110"/>
          </a:xfrm>
        </p:spPr>
        <p:txBody>
          <a:bodyPr vert="horz"/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7900"/>
              </a:buClr>
            </a:pPr>
            <a:r>
              <a:rPr lang="ru-RU" sz="2600" dirty="0">
                <a:solidFill>
                  <a:prstClr val="black"/>
                </a:solidFill>
                <a:latin typeface="Cera CY" panose="00000500000000000000" pitchFamily="2" charset="-52"/>
                <a:ea typeface="+mn-ea"/>
                <a:cs typeface="+mn-cs"/>
              </a:rPr>
              <a:t>Этапы развития цифровых </a:t>
            </a:r>
            <a:r>
              <a:rPr lang="ru-RU" sz="2600" dirty="0" smtClean="0">
                <a:solidFill>
                  <a:prstClr val="black"/>
                </a:solidFill>
                <a:latin typeface="Cera CY" panose="00000500000000000000" pitchFamily="2" charset="-52"/>
                <a:ea typeface="+mn-ea"/>
                <a:cs typeface="+mn-cs"/>
              </a:rPr>
              <a:t>сервисов </a:t>
            </a:r>
            <a:r>
              <a:rPr lang="ru-RU" sz="2600" dirty="0">
                <a:solidFill>
                  <a:prstClr val="black"/>
                </a:solidFill>
                <a:latin typeface="Cera CY" panose="00000500000000000000" pitchFamily="2" charset="-52"/>
                <a:ea typeface="+mn-ea"/>
                <a:cs typeface="+mn-cs"/>
              </a:rPr>
              <a:t>БСК</a:t>
            </a:r>
          </a:p>
        </p:txBody>
      </p:sp>
      <p:sp>
        <p:nvSpPr>
          <p:cNvPr id="69" name="Левая круглая скобка 68">
            <a:extLst>
              <a:ext uri="{FF2B5EF4-FFF2-40B4-BE49-F238E27FC236}">
                <a16:creationId xmlns:a16="http://schemas.microsoft.com/office/drawing/2014/main" id="{BA20C8A2-801B-4E00-AFEE-A18CCA4340DE}"/>
              </a:ext>
            </a:extLst>
          </p:cNvPr>
          <p:cNvSpPr/>
          <p:nvPr/>
        </p:nvSpPr>
        <p:spPr>
          <a:xfrm rot="10800000">
            <a:off x="10807699" y="1092197"/>
            <a:ext cx="904871" cy="1943102"/>
          </a:xfrm>
          <a:prstGeom prst="leftBracket">
            <a:avLst>
              <a:gd name="adj" fmla="val 152138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73" name="Левая круглая скобка 72">
            <a:extLst>
              <a:ext uri="{FF2B5EF4-FFF2-40B4-BE49-F238E27FC236}">
                <a16:creationId xmlns:a16="http://schemas.microsoft.com/office/drawing/2014/main" id="{361B590B-BF5C-480C-99CD-C24C6F06F937}"/>
              </a:ext>
            </a:extLst>
          </p:cNvPr>
          <p:cNvSpPr/>
          <p:nvPr/>
        </p:nvSpPr>
        <p:spPr>
          <a:xfrm rot="10800000" flipH="1">
            <a:off x="486197" y="3035299"/>
            <a:ext cx="904871" cy="1943102"/>
          </a:xfrm>
          <a:prstGeom prst="leftBracket">
            <a:avLst>
              <a:gd name="adj" fmla="val 152138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53ABC3DA-0E4F-49FC-AE57-96D219C2C39F}"/>
              </a:ext>
            </a:extLst>
          </p:cNvPr>
          <p:cNvCxnSpPr>
            <a:cxnSpLocks/>
          </p:cNvCxnSpPr>
          <p:nvPr/>
        </p:nvCxnSpPr>
        <p:spPr>
          <a:xfrm>
            <a:off x="1391068" y="1092196"/>
            <a:ext cx="941663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id="{E5A81F68-C357-4BA9-88E8-401954A64EF4}"/>
              </a:ext>
            </a:extLst>
          </p:cNvPr>
          <p:cNvCxnSpPr>
            <a:cxnSpLocks/>
          </p:cNvCxnSpPr>
          <p:nvPr/>
        </p:nvCxnSpPr>
        <p:spPr>
          <a:xfrm>
            <a:off x="1391068" y="3035299"/>
            <a:ext cx="941663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>
            <a:extLst>
              <a:ext uri="{FF2B5EF4-FFF2-40B4-BE49-F238E27FC236}">
                <a16:creationId xmlns:a16="http://schemas.microsoft.com/office/drawing/2014/main" id="{BBCDAB90-78B2-4A6F-B98F-4559AD2E393B}"/>
              </a:ext>
            </a:extLst>
          </p:cNvPr>
          <p:cNvCxnSpPr>
            <a:cxnSpLocks/>
            <a:stCxn id="154" idx="6"/>
            <a:endCxn id="158" idx="2"/>
          </p:cNvCxnSpPr>
          <p:nvPr/>
        </p:nvCxnSpPr>
        <p:spPr>
          <a:xfrm>
            <a:off x="1556168" y="4985192"/>
            <a:ext cx="250705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" name="Группа 123">
            <a:extLst>
              <a:ext uri="{FF2B5EF4-FFF2-40B4-BE49-F238E27FC236}">
                <a16:creationId xmlns:a16="http://schemas.microsoft.com/office/drawing/2014/main" id="{FC9D0677-F204-4F1F-BD10-2318CEEAD09C}"/>
              </a:ext>
            </a:extLst>
          </p:cNvPr>
          <p:cNvGrpSpPr/>
          <p:nvPr/>
        </p:nvGrpSpPr>
        <p:grpSpPr>
          <a:xfrm>
            <a:off x="1225968" y="927096"/>
            <a:ext cx="330200" cy="330200"/>
            <a:chOff x="1225968" y="1320796"/>
            <a:chExt cx="330200" cy="330200"/>
          </a:xfrm>
          <a:solidFill>
            <a:schemeClr val="accent1"/>
          </a:solidFill>
        </p:grpSpPr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id="{9BBF6C58-8428-43D5-BD62-417B5FD419D0}"/>
                </a:ext>
              </a:extLst>
            </p:cNvPr>
            <p:cNvSpPr/>
            <p:nvPr/>
          </p:nvSpPr>
          <p:spPr>
            <a:xfrm>
              <a:off x="1225968" y="1320796"/>
              <a:ext cx="330200" cy="330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22" name="Овал 121">
              <a:extLst>
                <a:ext uri="{FF2B5EF4-FFF2-40B4-BE49-F238E27FC236}">
                  <a16:creationId xmlns:a16="http://schemas.microsoft.com/office/drawing/2014/main" id="{D5B9D169-FBFA-46AA-892F-B2647F64AB05}"/>
                </a:ext>
              </a:extLst>
            </p:cNvPr>
            <p:cNvSpPr/>
            <p:nvPr/>
          </p:nvSpPr>
          <p:spPr>
            <a:xfrm>
              <a:off x="1253373" y="1348201"/>
              <a:ext cx="275390" cy="2753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23" name="Овал 122">
              <a:extLst>
                <a:ext uri="{FF2B5EF4-FFF2-40B4-BE49-F238E27FC236}">
                  <a16:creationId xmlns:a16="http://schemas.microsoft.com/office/drawing/2014/main" id="{8245B8D6-8B28-4EF2-BC10-8C4C413578C3}"/>
                </a:ext>
              </a:extLst>
            </p:cNvPr>
            <p:cNvSpPr/>
            <p:nvPr/>
          </p:nvSpPr>
          <p:spPr>
            <a:xfrm>
              <a:off x="1291473" y="1386301"/>
              <a:ext cx="199190" cy="1991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id="{B1248194-CCC7-402D-B37E-4F7FC4EB806D}"/>
              </a:ext>
            </a:extLst>
          </p:cNvPr>
          <p:cNvGrpSpPr/>
          <p:nvPr/>
        </p:nvGrpSpPr>
        <p:grpSpPr>
          <a:xfrm>
            <a:off x="4063221" y="927096"/>
            <a:ext cx="330200" cy="330200"/>
            <a:chOff x="1225968" y="1320796"/>
            <a:chExt cx="330200" cy="330200"/>
          </a:xfrm>
        </p:grpSpPr>
        <p:sp>
          <p:nvSpPr>
            <p:cNvPr id="126" name="Овал 125">
              <a:extLst>
                <a:ext uri="{FF2B5EF4-FFF2-40B4-BE49-F238E27FC236}">
                  <a16:creationId xmlns:a16="http://schemas.microsoft.com/office/drawing/2014/main" id="{3CF86658-B43B-4B6D-A13F-4745B6A9B084}"/>
                </a:ext>
              </a:extLst>
            </p:cNvPr>
            <p:cNvSpPr/>
            <p:nvPr/>
          </p:nvSpPr>
          <p:spPr>
            <a:xfrm>
              <a:off x="1225968" y="1320796"/>
              <a:ext cx="330200" cy="3302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27" name="Овал 126">
              <a:extLst>
                <a:ext uri="{FF2B5EF4-FFF2-40B4-BE49-F238E27FC236}">
                  <a16:creationId xmlns:a16="http://schemas.microsoft.com/office/drawing/2014/main" id="{DEF25607-8548-41C0-9B2F-8259A6D571DC}"/>
                </a:ext>
              </a:extLst>
            </p:cNvPr>
            <p:cNvSpPr/>
            <p:nvPr/>
          </p:nvSpPr>
          <p:spPr>
            <a:xfrm>
              <a:off x="1253373" y="1348201"/>
              <a:ext cx="275390" cy="275390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28" name="Овал 127">
              <a:extLst>
                <a:ext uri="{FF2B5EF4-FFF2-40B4-BE49-F238E27FC236}">
                  <a16:creationId xmlns:a16="http://schemas.microsoft.com/office/drawing/2014/main" id="{D4A0F405-F97E-44DC-8228-D8A155C55497}"/>
                </a:ext>
              </a:extLst>
            </p:cNvPr>
            <p:cNvSpPr/>
            <p:nvPr/>
          </p:nvSpPr>
          <p:spPr>
            <a:xfrm>
              <a:off x="1291473" y="1386301"/>
              <a:ext cx="199190" cy="1991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2354D6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129" name="Группа 128">
            <a:extLst>
              <a:ext uri="{FF2B5EF4-FFF2-40B4-BE49-F238E27FC236}">
                <a16:creationId xmlns:a16="http://schemas.microsoft.com/office/drawing/2014/main" id="{AE3FFD70-2AB4-4EAB-963D-B5389C697200}"/>
              </a:ext>
            </a:extLst>
          </p:cNvPr>
          <p:cNvGrpSpPr/>
          <p:nvPr/>
        </p:nvGrpSpPr>
        <p:grpSpPr>
          <a:xfrm>
            <a:off x="6900474" y="927096"/>
            <a:ext cx="330200" cy="330200"/>
            <a:chOff x="1225968" y="1320796"/>
            <a:chExt cx="330200" cy="330200"/>
          </a:xfrm>
          <a:solidFill>
            <a:schemeClr val="accent1"/>
          </a:solidFill>
        </p:grpSpPr>
        <p:sp>
          <p:nvSpPr>
            <p:cNvPr id="130" name="Овал 129">
              <a:extLst>
                <a:ext uri="{FF2B5EF4-FFF2-40B4-BE49-F238E27FC236}">
                  <a16:creationId xmlns:a16="http://schemas.microsoft.com/office/drawing/2014/main" id="{1EF311FD-C049-49D5-BD88-6B39021B63C0}"/>
                </a:ext>
              </a:extLst>
            </p:cNvPr>
            <p:cNvSpPr/>
            <p:nvPr/>
          </p:nvSpPr>
          <p:spPr>
            <a:xfrm>
              <a:off x="1225968" y="1320796"/>
              <a:ext cx="330200" cy="330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31" name="Овал 130">
              <a:extLst>
                <a:ext uri="{FF2B5EF4-FFF2-40B4-BE49-F238E27FC236}">
                  <a16:creationId xmlns:a16="http://schemas.microsoft.com/office/drawing/2014/main" id="{42679630-D5B7-4444-9124-A72CC356CEE0}"/>
                </a:ext>
              </a:extLst>
            </p:cNvPr>
            <p:cNvSpPr/>
            <p:nvPr/>
          </p:nvSpPr>
          <p:spPr>
            <a:xfrm>
              <a:off x="1253373" y="1348201"/>
              <a:ext cx="275390" cy="2753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32" name="Овал 131">
              <a:extLst>
                <a:ext uri="{FF2B5EF4-FFF2-40B4-BE49-F238E27FC236}">
                  <a16:creationId xmlns:a16="http://schemas.microsoft.com/office/drawing/2014/main" id="{7CCAD092-916E-44C5-9B81-E1F664077090}"/>
                </a:ext>
              </a:extLst>
            </p:cNvPr>
            <p:cNvSpPr/>
            <p:nvPr/>
          </p:nvSpPr>
          <p:spPr>
            <a:xfrm>
              <a:off x="1291473" y="1386301"/>
              <a:ext cx="199190" cy="1991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133" name="Группа 132">
            <a:extLst>
              <a:ext uri="{FF2B5EF4-FFF2-40B4-BE49-F238E27FC236}">
                <a16:creationId xmlns:a16="http://schemas.microsoft.com/office/drawing/2014/main" id="{4C56EEB9-8E4F-474A-917D-92673C99D649}"/>
              </a:ext>
            </a:extLst>
          </p:cNvPr>
          <p:cNvGrpSpPr/>
          <p:nvPr/>
        </p:nvGrpSpPr>
        <p:grpSpPr>
          <a:xfrm>
            <a:off x="9737728" y="927096"/>
            <a:ext cx="330200" cy="330200"/>
            <a:chOff x="1225968" y="1320796"/>
            <a:chExt cx="330200" cy="330200"/>
          </a:xfrm>
        </p:grpSpPr>
        <p:sp>
          <p:nvSpPr>
            <p:cNvPr id="134" name="Овал 133">
              <a:extLst>
                <a:ext uri="{FF2B5EF4-FFF2-40B4-BE49-F238E27FC236}">
                  <a16:creationId xmlns:a16="http://schemas.microsoft.com/office/drawing/2014/main" id="{790F996C-CFF7-4ECC-9327-C781F8ED968F}"/>
                </a:ext>
              </a:extLst>
            </p:cNvPr>
            <p:cNvSpPr/>
            <p:nvPr/>
          </p:nvSpPr>
          <p:spPr>
            <a:xfrm>
              <a:off x="1225968" y="1320796"/>
              <a:ext cx="330200" cy="3302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35" name="Овал 134">
              <a:extLst>
                <a:ext uri="{FF2B5EF4-FFF2-40B4-BE49-F238E27FC236}">
                  <a16:creationId xmlns:a16="http://schemas.microsoft.com/office/drawing/2014/main" id="{FAA28974-93F4-4912-B58D-D7D1BC8B1104}"/>
                </a:ext>
              </a:extLst>
            </p:cNvPr>
            <p:cNvSpPr/>
            <p:nvPr/>
          </p:nvSpPr>
          <p:spPr>
            <a:xfrm>
              <a:off x="1253373" y="1348201"/>
              <a:ext cx="275390" cy="275390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36" name="Овал 135">
              <a:extLst>
                <a:ext uri="{FF2B5EF4-FFF2-40B4-BE49-F238E27FC236}">
                  <a16:creationId xmlns:a16="http://schemas.microsoft.com/office/drawing/2014/main" id="{A36FEE07-DDBB-4A06-9A3C-4A70EB600D4E}"/>
                </a:ext>
              </a:extLst>
            </p:cNvPr>
            <p:cNvSpPr/>
            <p:nvPr/>
          </p:nvSpPr>
          <p:spPr>
            <a:xfrm>
              <a:off x="1291473" y="1386301"/>
              <a:ext cx="199190" cy="1991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2354D6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137" name="Группа 136">
            <a:extLst>
              <a:ext uri="{FF2B5EF4-FFF2-40B4-BE49-F238E27FC236}">
                <a16:creationId xmlns:a16="http://schemas.microsoft.com/office/drawing/2014/main" id="{D090AA5F-E994-4E50-95CD-0E2FF1135EAF}"/>
              </a:ext>
            </a:extLst>
          </p:cNvPr>
          <p:cNvGrpSpPr/>
          <p:nvPr/>
        </p:nvGrpSpPr>
        <p:grpSpPr>
          <a:xfrm>
            <a:off x="1225968" y="2870199"/>
            <a:ext cx="330200" cy="330200"/>
            <a:chOff x="1225968" y="1320796"/>
            <a:chExt cx="330200" cy="330200"/>
          </a:xfrm>
        </p:grpSpPr>
        <p:sp>
          <p:nvSpPr>
            <p:cNvPr id="138" name="Овал 137">
              <a:extLst>
                <a:ext uri="{FF2B5EF4-FFF2-40B4-BE49-F238E27FC236}">
                  <a16:creationId xmlns:a16="http://schemas.microsoft.com/office/drawing/2014/main" id="{AF517D75-751C-4D76-9A51-C6D06093D60B}"/>
                </a:ext>
              </a:extLst>
            </p:cNvPr>
            <p:cNvSpPr/>
            <p:nvPr/>
          </p:nvSpPr>
          <p:spPr>
            <a:xfrm>
              <a:off x="1225968" y="1320796"/>
              <a:ext cx="330200" cy="3302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39" name="Овал 138">
              <a:extLst>
                <a:ext uri="{FF2B5EF4-FFF2-40B4-BE49-F238E27FC236}">
                  <a16:creationId xmlns:a16="http://schemas.microsoft.com/office/drawing/2014/main" id="{60B71CCE-4C97-40F7-860B-F8F5D24DAE44}"/>
                </a:ext>
              </a:extLst>
            </p:cNvPr>
            <p:cNvSpPr/>
            <p:nvPr/>
          </p:nvSpPr>
          <p:spPr>
            <a:xfrm>
              <a:off x="1253373" y="1348201"/>
              <a:ext cx="275390" cy="275390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40" name="Овал 139">
              <a:extLst>
                <a:ext uri="{FF2B5EF4-FFF2-40B4-BE49-F238E27FC236}">
                  <a16:creationId xmlns:a16="http://schemas.microsoft.com/office/drawing/2014/main" id="{57152928-5A89-4E55-AE29-7604AAFE95B9}"/>
                </a:ext>
              </a:extLst>
            </p:cNvPr>
            <p:cNvSpPr/>
            <p:nvPr/>
          </p:nvSpPr>
          <p:spPr>
            <a:xfrm>
              <a:off x="1291473" y="1386301"/>
              <a:ext cx="199190" cy="1991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2354D6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141" name="Группа 140">
            <a:extLst>
              <a:ext uri="{FF2B5EF4-FFF2-40B4-BE49-F238E27FC236}">
                <a16:creationId xmlns:a16="http://schemas.microsoft.com/office/drawing/2014/main" id="{193D3775-0F22-4F69-91BC-7A37B1A6EBBF}"/>
              </a:ext>
            </a:extLst>
          </p:cNvPr>
          <p:cNvGrpSpPr/>
          <p:nvPr/>
        </p:nvGrpSpPr>
        <p:grpSpPr>
          <a:xfrm>
            <a:off x="4063221" y="2870199"/>
            <a:ext cx="330200" cy="330200"/>
            <a:chOff x="1225968" y="1320796"/>
            <a:chExt cx="330200" cy="330200"/>
          </a:xfrm>
          <a:solidFill>
            <a:schemeClr val="accent1"/>
          </a:solidFill>
        </p:grpSpPr>
        <p:sp>
          <p:nvSpPr>
            <p:cNvPr id="142" name="Овал 141">
              <a:extLst>
                <a:ext uri="{FF2B5EF4-FFF2-40B4-BE49-F238E27FC236}">
                  <a16:creationId xmlns:a16="http://schemas.microsoft.com/office/drawing/2014/main" id="{7F3EF8E2-C269-4F0E-A1A0-E7820CB501BD}"/>
                </a:ext>
              </a:extLst>
            </p:cNvPr>
            <p:cNvSpPr/>
            <p:nvPr/>
          </p:nvSpPr>
          <p:spPr>
            <a:xfrm>
              <a:off x="1225968" y="1320796"/>
              <a:ext cx="330200" cy="330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43" name="Овал 142">
              <a:extLst>
                <a:ext uri="{FF2B5EF4-FFF2-40B4-BE49-F238E27FC236}">
                  <a16:creationId xmlns:a16="http://schemas.microsoft.com/office/drawing/2014/main" id="{4CDA4E7D-5CE5-4858-BBAD-CD020A265719}"/>
                </a:ext>
              </a:extLst>
            </p:cNvPr>
            <p:cNvSpPr/>
            <p:nvPr/>
          </p:nvSpPr>
          <p:spPr>
            <a:xfrm>
              <a:off x="1253373" y="1348201"/>
              <a:ext cx="275390" cy="2753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44" name="Овал 143">
              <a:extLst>
                <a:ext uri="{FF2B5EF4-FFF2-40B4-BE49-F238E27FC236}">
                  <a16:creationId xmlns:a16="http://schemas.microsoft.com/office/drawing/2014/main" id="{91B17598-05D9-4F0F-8499-B1266EF30FE5}"/>
                </a:ext>
              </a:extLst>
            </p:cNvPr>
            <p:cNvSpPr/>
            <p:nvPr/>
          </p:nvSpPr>
          <p:spPr>
            <a:xfrm>
              <a:off x="1291473" y="1386301"/>
              <a:ext cx="199190" cy="1991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7</a:t>
              </a:r>
            </a:p>
          </p:txBody>
        </p:sp>
      </p:grpSp>
      <p:grpSp>
        <p:nvGrpSpPr>
          <p:cNvPr id="145" name="Группа 144">
            <a:extLst>
              <a:ext uri="{FF2B5EF4-FFF2-40B4-BE49-F238E27FC236}">
                <a16:creationId xmlns:a16="http://schemas.microsoft.com/office/drawing/2014/main" id="{F63272C7-48AE-488B-A610-B9D5AD02F439}"/>
              </a:ext>
            </a:extLst>
          </p:cNvPr>
          <p:cNvGrpSpPr/>
          <p:nvPr/>
        </p:nvGrpSpPr>
        <p:grpSpPr>
          <a:xfrm>
            <a:off x="6900474" y="2870199"/>
            <a:ext cx="330200" cy="330200"/>
            <a:chOff x="1225968" y="1320796"/>
            <a:chExt cx="330200" cy="330200"/>
          </a:xfrm>
        </p:grpSpPr>
        <p:sp>
          <p:nvSpPr>
            <p:cNvPr id="146" name="Овал 145">
              <a:extLst>
                <a:ext uri="{FF2B5EF4-FFF2-40B4-BE49-F238E27FC236}">
                  <a16:creationId xmlns:a16="http://schemas.microsoft.com/office/drawing/2014/main" id="{51F19FA7-F504-44D6-9BAA-4215B4FC9783}"/>
                </a:ext>
              </a:extLst>
            </p:cNvPr>
            <p:cNvSpPr/>
            <p:nvPr/>
          </p:nvSpPr>
          <p:spPr>
            <a:xfrm>
              <a:off x="1225968" y="1320796"/>
              <a:ext cx="330200" cy="3302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47" name="Овал 146">
              <a:extLst>
                <a:ext uri="{FF2B5EF4-FFF2-40B4-BE49-F238E27FC236}">
                  <a16:creationId xmlns:a16="http://schemas.microsoft.com/office/drawing/2014/main" id="{55C61EBF-AE2E-4EA8-900C-69BAAB7983FE}"/>
                </a:ext>
              </a:extLst>
            </p:cNvPr>
            <p:cNvSpPr/>
            <p:nvPr/>
          </p:nvSpPr>
          <p:spPr>
            <a:xfrm>
              <a:off x="1253373" y="1348201"/>
              <a:ext cx="275390" cy="275390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48" name="Овал 147">
              <a:extLst>
                <a:ext uri="{FF2B5EF4-FFF2-40B4-BE49-F238E27FC236}">
                  <a16:creationId xmlns:a16="http://schemas.microsoft.com/office/drawing/2014/main" id="{39C53106-F110-4360-BE57-D022F56F0ED4}"/>
                </a:ext>
              </a:extLst>
            </p:cNvPr>
            <p:cNvSpPr/>
            <p:nvPr/>
          </p:nvSpPr>
          <p:spPr>
            <a:xfrm>
              <a:off x="1291473" y="1386301"/>
              <a:ext cx="199190" cy="1991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2354D6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6</a:t>
              </a:r>
            </a:p>
          </p:txBody>
        </p:sp>
      </p:grpSp>
      <p:grpSp>
        <p:nvGrpSpPr>
          <p:cNvPr id="149" name="Группа 148">
            <a:extLst>
              <a:ext uri="{FF2B5EF4-FFF2-40B4-BE49-F238E27FC236}">
                <a16:creationId xmlns:a16="http://schemas.microsoft.com/office/drawing/2014/main" id="{A6A97A18-9FBC-4A28-8730-E3E697ED2700}"/>
              </a:ext>
            </a:extLst>
          </p:cNvPr>
          <p:cNvGrpSpPr/>
          <p:nvPr/>
        </p:nvGrpSpPr>
        <p:grpSpPr>
          <a:xfrm>
            <a:off x="9737728" y="2870199"/>
            <a:ext cx="330200" cy="330200"/>
            <a:chOff x="1225968" y="1320796"/>
            <a:chExt cx="330200" cy="330200"/>
          </a:xfrm>
          <a:solidFill>
            <a:schemeClr val="accent1"/>
          </a:solidFill>
        </p:grpSpPr>
        <p:sp>
          <p:nvSpPr>
            <p:cNvPr id="150" name="Овал 149">
              <a:extLst>
                <a:ext uri="{FF2B5EF4-FFF2-40B4-BE49-F238E27FC236}">
                  <a16:creationId xmlns:a16="http://schemas.microsoft.com/office/drawing/2014/main" id="{6FEF6C62-2AEB-401C-88C6-B049B56A88DE}"/>
                </a:ext>
              </a:extLst>
            </p:cNvPr>
            <p:cNvSpPr/>
            <p:nvPr/>
          </p:nvSpPr>
          <p:spPr>
            <a:xfrm>
              <a:off x="1225968" y="1320796"/>
              <a:ext cx="330200" cy="330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51" name="Овал 150">
              <a:extLst>
                <a:ext uri="{FF2B5EF4-FFF2-40B4-BE49-F238E27FC236}">
                  <a16:creationId xmlns:a16="http://schemas.microsoft.com/office/drawing/2014/main" id="{0E2AB4B5-1A6D-427D-A7B8-A00E7F019722}"/>
                </a:ext>
              </a:extLst>
            </p:cNvPr>
            <p:cNvSpPr/>
            <p:nvPr/>
          </p:nvSpPr>
          <p:spPr>
            <a:xfrm>
              <a:off x="1253373" y="1348201"/>
              <a:ext cx="275390" cy="2753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52" name="Овал 151">
              <a:extLst>
                <a:ext uri="{FF2B5EF4-FFF2-40B4-BE49-F238E27FC236}">
                  <a16:creationId xmlns:a16="http://schemas.microsoft.com/office/drawing/2014/main" id="{E15C5807-A2F9-435D-A2C8-586D3951479C}"/>
                </a:ext>
              </a:extLst>
            </p:cNvPr>
            <p:cNvSpPr/>
            <p:nvPr/>
          </p:nvSpPr>
          <p:spPr>
            <a:xfrm>
              <a:off x="1291473" y="1386301"/>
              <a:ext cx="199190" cy="1991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153" name="Группа 152">
            <a:extLst>
              <a:ext uri="{FF2B5EF4-FFF2-40B4-BE49-F238E27FC236}">
                <a16:creationId xmlns:a16="http://schemas.microsoft.com/office/drawing/2014/main" id="{136E4EA0-CC15-4BD4-AB52-6CFEEF3507EB}"/>
              </a:ext>
            </a:extLst>
          </p:cNvPr>
          <p:cNvGrpSpPr/>
          <p:nvPr/>
        </p:nvGrpSpPr>
        <p:grpSpPr>
          <a:xfrm>
            <a:off x="1225968" y="4820092"/>
            <a:ext cx="330200" cy="330200"/>
            <a:chOff x="1225968" y="1320796"/>
            <a:chExt cx="330200" cy="330200"/>
          </a:xfrm>
          <a:solidFill>
            <a:schemeClr val="accent1"/>
          </a:solidFill>
        </p:grpSpPr>
        <p:sp>
          <p:nvSpPr>
            <p:cNvPr id="154" name="Овал 153">
              <a:extLst>
                <a:ext uri="{FF2B5EF4-FFF2-40B4-BE49-F238E27FC236}">
                  <a16:creationId xmlns:a16="http://schemas.microsoft.com/office/drawing/2014/main" id="{FA5ACD1D-B973-4DB1-AFFC-7F37436EC5D2}"/>
                </a:ext>
              </a:extLst>
            </p:cNvPr>
            <p:cNvSpPr/>
            <p:nvPr/>
          </p:nvSpPr>
          <p:spPr>
            <a:xfrm>
              <a:off x="1225968" y="1320796"/>
              <a:ext cx="330200" cy="3302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55" name="Овал 154">
              <a:extLst>
                <a:ext uri="{FF2B5EF4-FFF2-40B4-BE49-F238E27FC236}">
                  <a16:creationId xmlns:a16="http://schemas.microsoft.com/office/drawing/2014/main" id="{6260AF80-A9B8-43A0-AC2B-86B1A37BE3EC}"/>
                </a:ext>
              </a:extLst>
            </p:cNvPr>
            <p:cNvSpPr/>
            <p:nvPr/>
          </p:nvSpPr>
          <p:spPr>
            <a:xfrm>
              <a:off x="1253373" y="1348201"/>
              <a:ext cx="275390" cy="2753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56" name="Овал 155">
              <a:extLst>
                <a:ext uri="{FF2B5EF4-FFF2-40B4-BE49-F238E27FC236}">
                  <a16:creationId xmlns:a16="http://schemas.microsoft.com/office/drawing/2014/main" id="{1B9D06B6-296D-40EA-84B1-DEFD2439ED9A}"/>
                </a:ext>
              </a:extLst>
            </p:cNvPr>
            <p:cNvSpPr/>
            <p:nvPr/>
          </p:nvSpPr>
          <p:spPr>
            <a:xfrm>
              <a:off x="1291473" y="1386301"/>
              <a:ext cx="199190" cy="1991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9</a:t>
              </a:r>
            </a:p>
          </p:txBody>
        </p:sp>
      </p:grpSp>
      <p:grpSp>
        <p:nvGrpSpPr>
          <p:cNvPr id="157" name="Группа 156">
            <a:extLst>
              <a:ext uri="{FF2B5EF4-FFF2-40B4-BE49-F238E27FC236}">
                <a16:creationId xmlns:a16="http://schemas.microsoft.com/office/drawing/2014/main" id="{6DC5C414-5D9F-4C3B-AAF4-8818433B8F8D}"/>
              </a:ext>
            </a:extLst>
          </p:cNvPr>
          <p:cNvGrpSpPr/>
          <p:nvPr/>
        </p:nvGrpSpPr>
        <p:grpSpPr>
          <a:xfrm>
            <a:off x="4063221" y="4820092"/>
            <a:ext cx="330200" cy="330200"/>
            <a:chOff x="1225968" y="1320796"/>
            <a:chExt cx="330200" cy="330200"/>
          </a:xfrm>
        </p:grpSpPr>
        <p:sp>
          <p:nvSpPr>
            <p:cNvPr id="158" name="Овал 157">
              <a:extLst>
                <a:ext uri="{FF2B5EF4-FFF2-40B4-BE49-F238E27FC236}">
                  <a16:creationId xmlns:a16="http://schemas.microsoft.com/office/drawing/2014/main" id="{70A07990-8A83-4FF3-9B7D-0A4EA8ACC4CC}"/>
                </a:ext>
              </a:extLst>
            </p:cNvPr>
            <p:cNvSpPr/>
            <p:nvPr/>
          </p:nvSpPr>
          <p:spPr>
            <a:xfrm>
              <a:off x="1225968" y="1320796"/>
              <a:ext cx="330200" cy="3302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310D31A1-DE1B-4EF2-87A5-D2D87E76DA83}"/>
                </a:ext>
              </a:extLst>
            </p:cNvPr>
            <p:cNvSpPr/>
            <p:nvPr/>
          </p:nvSpPr>
          <p:spPr>
            <a:xfrm>
              <a:off x="1253373" y="1348201"/>
              <a:ext cx="275390" cy="275390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60" name="Овал 159">
              <a:extLst>
                <a:ext uri="{FF2B5EF4-FFF2-40B4-BE49-F238E27FC236}">
                  <a16:creationId xmlns:a16="http://schemas.microsoft.com/office/drawing/2014/main" id="{2628747C-04E5-4207-8557-BDDA394AD068}"/>
                </a:ext>
              </a:extLst>
            </p:cNvPr>
            <p:cNvSpPr/>
            <p:nvPr/>
          </p:nvSpPr>
          <p:spPr>
            <a:xfrm>
              <a:off x="1291473" y="1386301"/>
              <a:ext cx="199190" cy="1991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2354D6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10</a:t>
              </a:r>
            </a:p>
          </p:txBody>
        </p:sp>
      </p:grpSp>
      <p:sp>
        <p:nvSpPr>
          <p:cNvPr id="173" name="Текст 4">
            <a:extLst>
              <a:ext uri="{FF2B5EF4-FFF2-40B4-BE49-F238E27FC236}">
                <a16:creationId xmlns:a16="http://schemas.microsoft.com/office/drawing/2014/main" id="{33ADE971-3B80-47DD-81E8-3AD9A1C76619}"/>
              </a:ext>
            </a:extLst>
          </p:cNvPr>
          <p:cNvSpPr txBox="1">
            <a:spLocks/>
          </p:cNvSpPr>
          <p:nvPr/>
        </p:nvSpPr>
        <p:spPr>
          <a:xfrm>
            <a:off x="1225968" y="1363573"/>
            <a:ext cx="150852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15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4" name="Текст 4">
            <a:extLst>
              <a:ext uri="{FF2B5EF4-FFF2-40B4-BE49-F238E27FC236}">
                <a16:creationId xmlns:a16="http://schemas.microsoft.com/office/drawing/2014/main" id="{FE30CA2F-C0DE-485E-B362-15469B03E559}"/>
              </a:ext>
            </a:extLst>
          </p:cNvPr>
          <p:cNvSpPr txBox="1">
            <a:spLocks/>
          </p:cNvSpPr>
          <p:nvPr/>
        </p:nvSpPr>
        <p:spPr>
          <a:xfrm>
            <a:off x="1225970" y="1645375"/>
            <a:ext cx="1965678" cy="73866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>
                <a:solidFill>
                  <a:srgbClr val="2556D7"/>
                </a:solidFill>
                <a:latin typeface="Cera CY"/>
                <a:cs typeface="Calibri" panose="020F0502020204030204" pitchFamily="34" charset="0"/>
              </a:rPr>
              <a:t>Создание АС БСК. Реализация механизмов сопровождения в рамках </a:t>
            </a:r>
            <a:r>
              <a:rPr lang="ru-RU" sz="1200" b="1" dirty="0">
                <a:latin typeface="Cera CY"/>
                <a:cs typeface="Calibri" panose="020F0502020204030204" pitchFamily="34" charset="0"/>
              </a:rPr>
              <a:t>275-ФЗ (</a:t>
            </a:r>
            <a:r>
              <a:rPr lang="ru-RU" sz="1200" b="1" dirty="0" err="1">
                <a:latin typeface="Cera CY"/>
                <a:cs typeface="Calibri" panose="020F0502020204030204" pitchFamily="34" charset="0"/>
              </a:rPr>
              <a:t>Гособоронзаказ</a:t>
            </a:r>
            <a:r>
              <a:rPr lang="ru-RU" sz="1200" b="1" dirty="0">
                <a:latin typeface="Cera CY"/>
                <a:cs typeface="Calibri" panose="020F0502020204030204" pitchFamily="34" charset="0"/>
              </a:rPr>
              <a:t>)</a:t>
            </a:r>
            <a:endParaRPr lang="ru-RU" sz="1200" b="1" dirty="0">
              <a:latin typeface="Cera CY" panose="00000500000000000000" pitchFamily="50" charset="-52"/>
            </a:endParaRPr>
          </a:p>
        </p:txBody>
      </p:sp>
      <p:sp>
        <p:nvSpPr>
          <p:cNvPr id="177" name="Текст 4">
            <a:extLst>
              <a:ext uri="{FF2B5EF4-FFF2-40B4-BE49-F238E27FC236}">
                <a16:creationId xmlns:a16="http://schemas.microsoft.com/office/drawing/2014/main" id="{FF02141F-B5BF-43A8-A2FB-00C5767B45CF}"/>
              </a:ext>
            </a:extLst>
          </p:cNvPr>
          <p:cNvSpPr txBox="1">
            <a:spLocks/>
          </p:cNvSpPr>
          <p:nvPr/>
        </p:nvSpPr>
        <p:spPr>
          <a:xfrm>
            <a:off x="4063221" y="1363573"/>
            <a:ext cx="150852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16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8" name="Текст 4">
            <a:extLst>
              <a:ext uri="{FF2B5EF4-FFF2-40B4-BE49-F238E27FC236}">
                <a16:creationId xmlns:a16="http://schemas.microsoft.com/office/drawing/2014/main" id="{71464895-6B9A-475B-B8F9-5E326F2F460E}"/>
              </a:ext>
            </a:extLst>
          </p:cNvPr>
          <p:cNvSpPr txBox="1">
            <a:spLocks/>
          </p:cNvSpPr>
          <p:nvPr/>
        </p:nvSpPr>
        <p:spPr>
          <a:xfrm>
            <a:off x="4063222" y="1645375"/>
            <a:ext cx="2361641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>
                <a:solidFill>
                  <a:srgbClr val="2355D7"/>
                </a:solidFill>
                <a:latin typeface="Cera CY"/>
                <a:cs typeface="Calibri" panose="020F0502020204030204" pitchFamily="34" charset="0"/>
              </a:rPr>
              <a:t>Адаптация АС БСК под сопровождение строительных и государственных контрактов.</a:t>
            </a:r>
            <a:r>
              <a:rPr lang="ru-RU" sz="1200" b="1" dirty="0">
                <a:solidFill>
                  <a:srgbClr val="2556D7"/>
                </a:solidFill>
                <a:latin typeface="Cera CY"/>
                <a:cs typeface="Calibri" panose="020F0502020204030204" pitchFamily="34" charset="0"/>
              </a:rPr>
              <a:t> </a:t>
            </a:r>
            <a:r>
              <a:rPr lang="ru-RU" sz="1200" b="1" dirty="0">
                <a:latin typeface="Cera CY"/>
                <a:cs typeface="Calibri" panose="020F0502020204030204" pitchFamily="34" charset="0"/>
              </a:rPr>
              <a:t>Создание Портала приема обосновывающих </a:t>
            </a:r>
            <a:r>
              <a:rPr lang="ru-RU" sz="1200" b="1" dirty="0" smtClean="0">
                <a:latin typeface="Cera CY"/>
                <a:cs typeface="Calibri" panose="020F0502020204030204" pitchFamily="34" charset="0"/>
              </a:rPr>
              <a:t>документов.</a:t>
            </a:r>
            <a:endParaRPr lang="ru-RU" sz="1200" b="1" dirty="0">
              <a:latin typeface="Cera CY" panose="00000500000000000000" pitchFamily="50" charset="-52"/>
            </a:endParaRPr>
          </a:p>
        </p:txBody>
      </p:sp>
      <p:sp>
        <p:nvSpPr>
          <p:cNvPr id="179" name="Текст 4">
            <a:extLst>
              <a:ext uri="{FF2B5EF4-FFF2-40B4-BE49-F238E27FC236}">
                <a16:creationId xmlns:a16="http://schemas.microsoft.com/office/drawing/2014/main" id="{C06D29D8-9ADF-4B7B-B43A-8FE2B96F1C8B}"/>
              </a:ext>
            </a:extLst>
          </p:cNvPr>
          <p:cNvSpPr txBox="1">
            <a:spLocks/>
          </p:cNvSpPr>
          <p:nvPr/>
        </p:nvSpPr>
        <p:spPr>
          <a:xfrm>
            <a:off x="6894515" y="1363573"/>
            <a:ext cx="150852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17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0" name="Текст 4">
            <a:extLst>
              <a:ext uri="{FF2B5EF4-FFF2-40B4-BE49-F238E27FC236}">
                <a16:creationId xmlns:a16="http://schemas.microsoft.com/office/drawing/2014/main" id="{D628F9F9-6C01-425F-BA7D-C8BDF634B60C}"/>
              </a:ext>
            </a:extLst>
          </p:cNvPr>
          <p:cNvSpPr txBox="1">
            <a:spLocks/>
          </p:cNvSpPr>
          <p:nvPr/>
        </p:nvSpPr>
        <p:spPr>
          <a:xfrm>
            <a:off x="6894516" y="1645375"/>
            <a:ext cx="2521371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>
                <a:solidFill>
                  <a:srgbClr val="2556D7"/>
                </a:solidFill>
                <a:latin typeface="Cera CY"/>
                <a:cs typeface="Calibri" panose="020F0502020204030204" pitchFamily="34" charset="0"/>
              </a:rPr>
              <a:t>Запуск сопровождения закупок материальных ресурсов ПАО «Газпром</a:t>
            </a:r>
            <a:r>
              <a:rPr lang="ru-RU" sz="1200" b="1" dirty="0" smtClean="0">
                <a:solidFill>
                  <a:srgbClr val="2556D7"/>
                </a:solidFill>
                <a:latin typeface="Cera CY"/>
                <a:cs typeface="Calibri" panose="020F0502020204030204" pitchFamily="34" charset="0"/>
              </a:rPr>
              <a:t>». </a:t>
            </a:r>
            <a:r>
              <a:rPr lang="ru-RU" sz="1200" b="1" dirty="0" smtClean="0">
                <a:latin typeface="Cera CY"/>
                <a:cs typeface="Calibri" panose="020F0502020204030204" pitchFamily="34" charset="0"/>
              </a:rPr>
              <a:t>Создание </a:t>
            </a:r>
            <a:r>
              <a:rPr lang="ru-RU" sz="1200" b="1" dirty="0">
                <a:latin typeface="Cera CY"/>
                <a:cs typeface="Calibri" panose="020F0502020204030204" pitchFamily="34" charset="0"/>
              </a:rPr>
              <a:t>уникального </a:t>
            </a:r>
            <a:r>
              <a:rPr lang="ru-RU" sz="1200" b="1" dirty="0" smtClean="0">
                <a:latin typeface="Cera CY"/>
                <a:cs typeface="Calibri" panose="020F0502020204030204" pitchFamily="34" charset="0"/>
              </a:rPr>
              <a:t>механизма </a:t>
            </a:r>
            <a:endParaRPr lang="ru-RU" sz="1200" b="1" dirty="0">
              <a:latin typeface="Cera CY"/>
              <a:cs typeface="Calibri" panose="020F0502020204030204" pitchFamily="34" charset="0"/>
            </a:endParaRPr>
          </a:p>
          <a:p>
            <a:pPr marL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>
                <a:latin typeface="Cera CY"/>
                <a:cs typeface="Calibri" panose="020F0502020204030204" pitchFamily="34" charset="0"/>
              </a:rPr>
              <a:t> «Динамика цены договора поставки».</a:t>
            </a:r>
            <a:endParaRPr lang="ru-RU" sz="1200" b="1" dirty="0">
              <a:latin typeface="Cera CY" panose="00000500000000000000" pitchFamily="50" charset="-52"/>
            </a:endParaRPr>
          </a:p>
        </p:txBody>
      </p:sp>
      <p:sp>
        <p:nvSpPr>
          <p:cNvPr id="181" name="Текст 4">
            <a:extLst>
              <a:ext uri="{FF2B5EF4-FFF2-40B4-BE49-F238E27FC236}">
                <a16:creationId xmlns:a16="http://schemas.microsoft.com/office/drawing/2014/main" id="{D505A748-7A23-4820-9BD2-F699BB1274F8}"/>
              </a:ext>
            </a:extLst>
          </p:cNvPr>
          <p:cNvSpPr txBox="1">
            <a:spLocks/>
          </p:cNvSpPr>
          <p:nvPr/>
        </p:nvSpPr>
        <p:spPr>
          <a:xfrm>
            <a:off x="9765133" y="1363573"/>
            <a:ext cx="150852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18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2" name="Текст 4">
            <a:extLst>
              <a:ext uri="{FF2B5EF4-FFF2-40B4-BE49-F238E27FC236}">
                <a16:creationId xmlns:a16="http://schemas.microsoft.com/office/drawing/2014/main" id="{10F3EE6B-A228-479C-A40D-D4C811790F82}"/>
              </a:ext>
            </a:extLst>
          </p:cNvPr>
          <p:cNvSpPr txBox="1">
            <a:spLocks/>
          </p:cNvSpPr>
          <p:nvPr/>
        </p:nvSpPr>
        <p:spPr>
          <a:xfrm>
            <a:off x="9765134" y="1645375"/>
            <a:ext cx="1598191" cy="73866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>
                <a:latin typeface="Cera CY"/>
                <a:cs typeface="Calibri" panose="020F0502020204030204" pitchFamily="34" charset="0"/>
              </a:rPr>
              <a:t>Реализация первой версии сервиса «Интерактивная отчетность»</a:t>
            </a:r>
            <a:endParaRPr lang="ru-RU" sz="1200" dirty="0">
              <a:latin typeface="Cera CY" panose="00000500000000000000" pitchFamily="50" charset="-52"/>
            </a:endParaRPr>
          </a:p>
        </p:txBody>
      </p:sp>
      <p:sp>
        <p:nvSpPr>
          <p:cNvPr id="183" name="Текст 4">
            <a:extLst>
              <a:ext uri="{FF2B5EF4-FFF2-40B4-BE49-F238E27FC236}">
                <a16:creationId xmlns:a16="http://schemas.microsoft.com/office/drawing/2014/main" id="{FCAE350F-DC64-45AC-8EFA-6B5F991428B2}"/>
              </a:ext>
            </a:extLst>
          </p:cNvPr>
          <p:cNvSpPr txBox="1">
            <a:spLocks/>
          </p:cNvSpPr>
          <p:nvPr/>
        </p:nvSpPr>
        <p:spPr>
          <a:xfrm>
            <a:off x="1225968" y="3279679"/>
            <a:ext cx="150852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22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4" name="Текст 4">
            <a:extLst>
              <a:ext uri="{FF2B5EF4-FFF2-40B4-BE49-F238E27FC236}">
                <a16:creationId xmlns:a16="http://schemas.microsoft.com/office/drawing/2014/main" id="{823F84E8-B8D5-40EA-8D3B-E1C85BCCB12C}"/>
              </a:ext>
            </a:extLst>
          </p:cNvPr>
          <p:cNvSpPr txBox="1">
            <a:spLocks/>
          </p:cNvSpPr>
          <p:nvPr/>
        </p:nvSpPr>
        <p:spPr>
          <a:xfrm>
            <a:off x="1225970" y="3561481"/>
            <a:ext cx="1965678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>
                <a:solidFill>
                  <a:srgbClr val="2556D7"/>
                </a:solidFill>
                <a:latin typeface="Cera CY"/>
                <a:cs typeface="Calibri" panose="020F0502020204030204" pitchFamily="34" charset="0"/>
              </a:rPr>
              <a:t>Создание Портала 2.0. </a:t>
            </a:r>
            <a:endParaRPr lang="ru-RU" sz="1200" dirty="0">
              <a:solidFill>
                <a:prstClr val="black"/>
              </a:solidFill>
              <a:latin typeface="Cera CY" panose="00000500000000000000" pitchFamily="50" charset="-52"/>
            </a:endParaRPr>
          </a:p>
        </p:txBody>
      </p:sp>
      <p:sp>
        <p:nvSpPr>
          <p:cNvPr id="185" name="Текст 4">
            <a:extLst>
              <a:ext uri="{FF2B5EF4-FFF2-40B4-BE49-F238E27FC236}">
                <a16:creationId xmlns:a16="http://schemas.microsoft.com/office/drawing/2014/main" id="{6343FFF3-F929-44EE-B765-5D6A77A30703}"/>
              </a:ext>
            </a:extLst>
          </p:cNvPr>
          <p:cNvSpPr txBox="1">
            <a:spLocks/>
          </p:cNvSpPr>
          <p:nvPr/>
        </p:nvSpPr>
        <p:spPr>
          <a:xfrm>
            <a:off x="4063221" y="3279679"/>
            <a:ext cx="150852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21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6" name="Текст 4">
            <a:extLst>
              <a:ext uri="{FF2B5EF4-FFF2-40B4-BE49-F238E27FC236}">
                <a16:creationId xmlns:a16="http://schemas.microsoft.com/office/drawing/2014/main" id="{5B8F50F9-B559-4F03-9278-3F8039253E64}"/>
              </a:ext>
            </a:extLst>
          </p:cNvPr>
          <p:cNvSpPr txBox="1">
            <a:spLocks/>
          </p:cNvSpPr>
          <p:nvPr/>
        </p:nvSpPr>
        <p:spPr>
          <a:xfrm>
            <a:off x="4063222" y="3561481"/>
            <a:ext cx="1813703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>
                <a:solidFill>
                  <a:srgbClr val="2556D7"/>
                </a:solidFill>
                <a:latin typeface="Cera CY"/>
                <a:cs typeface="Calibri" panose="020F0502020204030204" pitchFamily="34" charset="0"/>
              </a:rPr>
              <a:t>Реализация сервиса </a:t>
            </a:r>
          </a:p>
          <a:p>
            <a:pPr marL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>
                <a:solidFill>
                  <a:srgbClr val="2556D7"/>
                </a:solidFill>
                <a:latin typeface="Cera CY"/>
                <a:cs typeface="Calibri" panose="020F0502020204030204" pitchFamily="34" charset="0"/>
              </a:rPr>
              <a:t>«Риски бизнеса»</a:t>
            </a:r>
            <a:endParaRPr lang="ru-RU" sz="1200" dirty="0">
              <a:solidFill>
                <a:prstClr val="black"/>
              </a:solidFill>
              <a:latin typeface="Cera CY" panose="00000500000000000000" pitchFamily="50" charset="-52"/>
            </a:endParaRPr>
          </a:p>
        </p:txBody>
      </p:sp>
      <p:sp>
        <p:nvSpPr>
          <p:cNvPr id="187" name="Текст 4">
            <a:extLst>
              <a:ext uri="{FF2B5EF4-FFF2-40B4-BE49-F238E27FC236}">
                <a16:creationId xmlns:a16="http://schemas.microsoft.com/office/drawing/2014/main" id="{F1CA3157-1FF9-484D-AB29-006B8A73EA43}"/>
              </a:ext>
            </a:extLst>
          </p:cNvPr>
          <p:cNvSpPr txBox="1">
            <a:spLocks/>
          </p:cNvSpPr>
          <p:nvPr/>
        </p:nvSpPr>
        <p:spPr>
          <a:xfrm>
            <a:off x="6894515" y="3279679"/>
            <a:ext cx="150852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20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8" name="Текст 4">
            <a:extLst>
              <a:ext uri="{FF2B5EF4-FFF2-40B4-BE49-F238E27FC236}">
                <a16:creationId xmlns:a16="http://schemas.microsoft.com/office/drawing/2014/main" id="{BF6A5EF2-FBDA-42A9-9D37-62C0DF6DAFA7}"/>
              </a:ext>
            </a:extLst>
          </p:cNvPr>
          <p:cNvSpPr txBox="1">
            <a:spLocks/>
          </p:cNvSpPr>
          <p:nvPr/>
        </p:nvSpPr>
        <p:spPr>
          <a:xfrm>
            <a:off x="6894517" y="3561481"/>
            <a:ext cx="4379136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 smtClean="0">
                <a:latin typeface="Cera CY"/>
                <a:cs typeface="Calibri" panose="020F0502020204030204" pitchFamily="34" charset="0"/>
              </a:rPr>
              <a:t>Масштабное внедрение БСК </a:t>
            </a:r>
            <a:endParaRPr lang="ru-RU" sz="1200" dirty="0">
              <a:latin typeface="Cera CY" panose="00000500000000000000" pitchFamily="50" charset="-52"/>
            </a:endParaRPr>
          </a:p>
        </p:txBody>
      </p:sp>
      <p:sp>
        <p:nvSpPr>
          <p:cNvPr id="189" name="Текст 4">
            <a:extLst>
              <a:ext uri="{FF2B5EF4-FFF2-40B4-BE49-F238E27FC236}">
                <a16:creationId xmlns:a16="http://schemas.microsoft.com/office/drawing/2014/main" id="{4C289C11-120D-4A50-ADEA-F468804C0FE0}"/>
              </a:ext>
            </a:extLst>
          </p:cNvPr>
          <p:cNvSpPr txBox="1">
            <a:spLocks/>
          </p:cNvSpPr>
          <p:nvPr/>
        </p:nvSpPr>
        <p:spPr>
          <a:xfrm>
            <a:off x="9765133" y="3279679"/>
            <a:ext cx="150852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19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1" name="Текст 4">
            <a:extLst>
              <a:ext uri="{FF2B5EF4-FFF2-40B4-BE49-F238E27FC236}">
                <a16:creationId xmlns:a16="http://schemas.microsoft.com/office/drawing/2014/main" id="{1DE44FE3-0CCA-41B7-92C5-0827AAF08B02}"/>
              </a:ext>
            </a:extLst>
          </p:cNvPr>
          <p:cNvSpPr txBox="1">
            <a:spLocks/>
          </p:cNvSpPr>
          <p:nvPr/>
        </p:nvSpPr>
        <p:spPr>
          <a:xfrm>
            <a:off x="1225968" y="5273125"/>
            <a:ext cx="150852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23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2" name="Текст 4">
            <a:extLst>
              <a:ext uri="{FF2B5EF4-FFF2-40B4-BE49-F238E27FC236}">
                <a16:creationId xmlns:a16="http://schemas.microsoft.com/office/drawing/2014/main" id="{DD2033CB-DB93-407C-A58E-0F38FC0A35A9}"/>
              </a:ext>
            </a:extLst>
          </p:cNvPr>
          <p:cNvSpPr txBox="1">
            <a:spLocks/>
          </p:cNvSpPr>
          <p:nvPr/>
        </p:nvSpPr>
        <p:spPr>
          <a:xfrm>
            <a:off x="1225970" y="5554927"/>
            <a:ext cx="1965678" cy="73866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>
                <a:solidFill>
                  <a:srgbClr val="2556D7"/>
                </a:solidFill>
                <a:latin typeface="Cera CY"/>
                <a:cs typeface="Calibri" panose="020F0502020204030204" pitchFamily="34" charset="0"/>
              </a:rPr>
              <a:t>Реализация новой технологии банковского сопровождения компаний </a:t>
            </a:r>
            <a:r>
              <a:rPr lang="ru-RU" sz="1200" b="1" dirty="0" smtClean="0">
                <a:solidFill>
                  <a:srgbClr val="2556D7"/>
                </a:solidFill>
                <a:latin typeface="Cera CY"/>
                <a:cs typeface="Calibri" panose="020F0502020204030204" pitchFamily="34" charset="0"/>
              </a:rPr>
              <a:t>ПАО «Газпром»</a:t>
            </a:r>
            <a:endParaRPr lang="ru-RU" sz="1200" dirty="0">
              <a:solidFill>
                <a:prstClr val="black"/>
              </a:solidFill>
              <a:latin typeface="Cera CY" panose="00000500000000000000" pitchFamily="50" charset="-52"/>
            </a:endParaRPr>
          </a:p>
        </p:txBody>
      </p:sp>
      <p:sp>
        <p:nvSpPr>
          <p:cNvPr id="193" name="Текст 4">
            <a:extLst>
              <a:ext uri="{FF2B5EF4-FFF2-40B4-BE49-F238E27FC236}">
                <a16:creationId xmlns:a16="http://schemas.microsoft.com/office/drawing/2014/main" id="{E2807625-90DA-40F9-9862-860242CCEA00}"/>
              </a:ext>
            </a:extLst>
          </p:cNvPr>
          <p:cNvSpPr txBox="1">
            <a:spLocks/>
          </p:cNvSpPr>
          <p:nvPr/>
        </p:nvSpPr>
        <p:spPr>
          <a:xfrm>
            <a:off x="4063221" y="5273125"/>
            <a:ext cx="150852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24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4" name="Текст 4">
            <a:extLst>
              <a:ext uri="{FF2B5EF4-FFF2-40B4-BE49-F238E27FC236}">
                <a16:creationId xmlns:a16="http://schemas.microsoft.com/office/drawing/2014/main" id="{FD607A50-F94A-4EAB-B7FF-08E969557988}"/>
              </a:ext>
            </a:extLst>
          </p:cNvPr>
          <p:cNvSpPr txBox="1">
            <a:spLocks/>
          </p:cNvSpPr>
          <p:nvPr/>
        </p:nvSpPr>
        <p:spPr>
          <a:xfrm>
            <a:off x="4854346" y="4944713"/>
            <a:ext cx="4769871" cy="129266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>
                <a:latin typeface="Cera CY"/>
                <a:cs typeface="Calibri" panose="020F0502020204030204" pitchFamily="34" charset="0"/>
              </a:rPr>
              <a:t>Реализация </a:t>
            </a:r>
            <a:r>
              <a:rPr lang="ru-RU" sz="1200" b="1" dirty="0" smtClean="0">
                <a:latin typeface="Cera CY"/>
                <a:cs typeface="Calibri" panose="020F0502020204030204" pitchFamily="34" charset="0"/>
              </a:rPr>
              <a:t>сервисов:</a:t>
            </a:r>
          </a:p>
          <a:p>
            <a:pPr lvl="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latin typeface="Cera CY"/>
                <a:cs typeface="Calibri" panose="020F0502020204030204" pitchFamily="34" charset="0"/>
              </a:rPr>
              <a:t>«</a:t>
            </a:r>
            <a:r>
              <a:rPr lang="ru-RU" sz="1200" b="1" dirty="0">
                <a:latin typeface="Cera CY"/>
                <a:cs typeface="Calibri" panose="020F0502020204030204" pitchFamily="34" charset="0"/>
              </a:rPr>
              <a:t>Интерактивная отчетность 2.0</a:t>
            </a:r>
            <a:r>
              <a:rPr lang="ru-RU" sz="1200" b="1" dirty="0" smtClean="0">
                <a:latin typeface="Cera CY"/>
                <a:cs typeface="Calibri" panose="020F0502020204030204" pitchFamily="34" charset="0"/>
              </a:rPr>
              <a:t>» </a:t>
            </a:r>
          </a:p>
          <a:p>
            <a:pPr lvl="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latin typeface="Cera CY"/>
                <a:cs typeface="Calibri" panose="020F0502020204030204" pitchFamily="34" charset="0"/>
              </a:rPr>
              <a:t>«Портал 3.0» </a:t>
            </a:r>
          </a:p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rgbClr val="2355D7"/>
                </a:solidFill>
                <a:latin typeface="Cera CY"/>
                <a:cs typeface="Calibri" panose="020F0502020204030204" pitchFamily="34" charset="0"/>
              </a:rPr>
              <a:t>Переход </a:t>
            </a:r>
            <a:r>
              <a:rPr lang="ru-RU" sz="1200" b="1" dirty="0">
                <a:solidFill>
                  <a:srgbClr val="2355D7"/>
                </a:solidFill>
                <a:latin typeface="Cera CY"/>
                <a:cs typeface="Calibri" panose="020F0502020204030204" pitchFamily="34" charset="0"/>
              </a:rPr>
              <a:t>всех сервисов БСК в </a:t>
            </a:r>
            <a:r>
              <a:rPr lang="ru-RU" sz="1200" b="1" dirty="0" smtClean="0">
                <a:solidFill>
                  <a:srgbClr val="2355D7"/>
                </a:solidFill>
                <a:latin typeface="Cera CY"/>
                <a:cs typeface="Calibri" panose="020F0502020204030204" pitchFamily="34" charset="0"/>
              </a:rPr>
              <a:t>единое </a:t>
            </a:r>
            <a:r>
              <a:rPr lang="ru-RU" sz="1200" b="1" dirty="0">
                <a:solidFill>
                  <a:srgbClr val="2355D7"/>
                </a:solidFill>
                <a:latin typeface="Cera CY"/>
                <a:cs typeface="Calibri" panose="020F0502020204030204" pitchFamily="34" charset="0"/>
              </a:rPr>
              <a:t>информационное пространство </a:t>
            </a:r>
            <a:r>
              <a:rPr lang="ru-RU" sz="1200" b="1" dirty="0" smtClean="0">
                <a:solidFill>
                  <a:srgbClr val="2355D7"/>
                </a:solidFill>
                <a:latin typeface="Cera CY"/>
                <a:cs typeface="Calibri" panose="020F0502020204030204" pitchFamily="34" charset="0"/>
              </a:rPr>
              <a:t>БСК</a:t>
            </a:r>
          </a:p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latin typeface="Cera CY"/>
                <a:cs typeface="Calibri" panose="020F0502020204030204" pitchFamily="34" charset="0"/>
              </a:rPr>
              <a:t>Реализация </a:t>
            </a:r>
            <a:r>
              <a:rPr lang="ru-RU" sz="1200" b="1" dirty="0">
                <a:latin typeface="Cera CY"/>
                <a:cs typeface="Calibri" panose="020F0502020204030204" pitchFamily="34" charset="0"/>
              </a:rPr>
              <a:t>возможности переходов между сервисами без дополнительной авторизации</a:t>
            </a:r>
            <a:endParaRPr lang="ru-RU" sz="1200" dirty="0">
              <a:latin typeface="Cera CY" panose="00000500000000000000" pitchFamily="50" charset="-52"/>
            </a:endParaRPr>
          </a:p>
        </p:txBody>
      </p:sp>
      <p:sp>
        <p:nvSpPr>
          <p:cNvPr id="86" name="Текст 4">
            <a:extLst>
              <a:ext uri="{FF2B5EF4-FFF2-40B4-BE49-F238E27FC236}">
                <a16:creationId xmlns:a16="http://schemas.microsoft.com/office/drawing/2014/main" id="{BF6A5EF2-FBDA-42A9-9D37-62C0DF6DAFA7}"/>
              </a:ext>
            </a:extLst>
          </p:cNvPr>
          <p:cNvSpPr txBox="1">
            <a:spLocks/>
          </p:cNvSpPr>
          <p:nvPr/>
        </p:nvSpPr>
        <p:spPr>
          <a:xfrm>
            <a:off x="6927879" y="3877213"/>
            <a:ext cx="4379136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>
                <a:solidFill>
                  <a:srgbClr val="2556D7"/>
                </a:solidFill>
                <a:latin typeface="Cera CY"/>
                <a:cs typeface="Calibri" panose="020F0502020204030204" pitchFamily="34" charset="0"/>
              </a:rPr>
              <a:t>Реализация механизмов сопровождения договоров на выполнение работ и оказание услуг, заключаемых в интересах компаний Группы Газпром</a:t>
            </a:r>
            <a:endParaRPr lang="ru-RU" sz="1200" dirty="0">
              <a:solidFill>
                <a:prstClr val="black"/>
              </a:solidFill>
              <a:latin typeface="Cera CY" panose="00000500000000000000" pitchFamily="50" charset="-52"/>
            </a:endParaRPr>
          </a:p>
        </p:txBody>
      </p:sp>
      <p:sp>
        <p:nvSpPr>
          <p:cNvPr id="89" name="Текст 4">
            <a:extLst>
              <a:ext uri="{FF2B5EF4-FFF2-40B4-BE49-F238E27FC236}">
                <a16:creationId xmlns:a16="http://schemas.microsoft.com/office/drawing/2014/main" id="{823F84E8-B8D5-40EA-8D3B-E1C85BCCB12C}"/>
              </a:ext>
            </a:extLst>
          </p:cNvPr>
          <p:cNvSpPr txBox="1">
            <a:spLocks/>
          </p:cNvSpPr>
          <p:nvPr/>
        </p:nvSpPr>
        <p:spPr>
          <a:xfrm>
            <a:off x="1225970" y="3874108"/>
            <a:ext cx="1965678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 smtClean="0">
                <a:latin typeface="Cera CY"/>
                <a:cs typeface="Calibri" panose="020F0502020204030204" pitchFamily="34" charset="0"/>
              </a:rPr>
              <a:t>Применение новой технологии БСК </a:t>
            </a:r>
            <a:endParaRPr lang="ru-RU" sz="1200" dirty="0">
              <a:latin typeface="Cera CY" panose="00000500000000000000" pitchFamily="50" charset="-52"/>
            </a:endParaRPr>
          </a:p>
        </p:txBody>
      </p:sp>
      <p:sp>
        <p:nvSpPr>
          <p:cNvPr id="95" name="Текст 4">
            <a:extLst>
              <a:ext uri="{FF2B5EF4-FFF2-40B4-BE49-F238E27FC236}">
                <a16:creationId xmlns:a16="http://schemas.microsoft.com/office/drawing/2014/main" id="{6E896D59-3BBA-4D19-AF36-2DFA6332EC64}"/>
              </a:ext>
            </a:extLst>
          </p:cNvPr>
          <p:cNvSpPr txBox="1">
            <a:spLocks/>
          </p:cNvSpPr>
          <p:nvPr/>
        </p:nvSpPr>
        <p:spPr>
          <a:xfrm>
            <a:off x="8811535" y="4385921"/>
            <a:ext cx="3078695" cy="126310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5400" b="1" dirty="0" smtClean="0">
                <a:solidFill>
                  <a:srgbClr val="2355D7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&gt;</a:t>
            </a:r>
            <a:r>
              <a:rPr kumimoji="0" lang="ru-RU" sz="5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10000</a:t>
            </a:r>
            <a:endParaRPr kumimoji="0" lang="ru-RU" sz="5400" b="1" i="0" u="none" strike="noStrike" kern="1200" cap="none" spc="0" normalizeH="0" baseline="0" noProof="0" dirty="0">
              <a:ln>
                <a:noFill/>
              </a:ln>
              <a:solidFill>
                <a:srgbClr val="FFA066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6" name="Текст 4">
            <a:extLst>
              <a:ext uri="{FF2B5EF4-FFF2-40B4-BE49-F238E27FC236}">
                <a16:creationId xmlns:a16="http://schemas.microsoft.com/office/drawing/2014/main" id="{6E896D59-3BBA-4D19-AF36-2DFA6332EC64}"/>
              </a:ext>
            </a:extLst>
          </p:cNvPr>
          <p:cNvSpPr txBox="1">
            <a:spLocks/>
          </p:cNvSpPr>
          <p:nvPr/>
        </p:nvSpPr>
        <p:spPr>
          <a:xfrm>
            <a:off x="10040523" y="5217017"/>
            <a:ext cx="1849707" cy="47339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400" b="1" noProof="0" dirty="0" smtClean="0">
                <a:solidFill>
                  <a:srgbClr val="FFAB78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внедрений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AB78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4318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950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25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2" name="Прямая соединительная линия 131"/>
          <p:cNvCxnSpPr/>
          <p:nvPr/>
        </p:nvCxnSpPr>
        <p:spPr>
          <a:xfrm flipH="1">
            <a:off x="7378262" y="3587930"/>
            <a:ext cx="4315288" cy="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Прямая соединительная линия 139"/>
          <p:cNvCxnSpPr/>
          <p:nvPr/>
        </p:nvCxnSpPr>
        <p:spPr>
          <a:xfrm flipH="1">
            <a:off x="479425" y="3587930"/>
            <a:ext cx="4315288" cy="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единительная линия 140"/>
          <p:cNvCxnSpPr/>
          <p:nvPr/>
        </p:nvCxnSpPr>
        <p:spPr>
          <a:xfrm flipH="1">
            <a:off x="479425" y="4826872"/>
            <a:ext cx="4315288" cy="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/>
          <p:cNvCxnSpPr/>
          <p:nvPr/>
        </p:nvCxnSpPr>
        <p:spPr>
          <a:xfrm flipH="1">
            <a:off x="7378262" y="4826872"/>
            <a:ext cx="4325797" cy="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H="1">
            <a:off x="479426" y="2360340"/>
            <a:ext cx="5280243" cy="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Прямая соединительная линия 130"/>
          <p:cNvCxnSpPr/>
          <p:nvPr/>
        </p:nvCxnSpPr>
        <p:spPr>
          <a:xfrm flipH="1">
            <a:off x="6076974" y="2360340"/>
            <a:ext cx="5616575" cy="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82931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7C24ABBD-7231-4FA2-9A00-486623B624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6318" y="330529"/>
            <a:ext cx="9733369" cy="360099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 sz="2600" b="1" dirty="0" smtClean="0">
                <a:solidFill>
                  <a:schemeClr val="tx1"/>
                </a:solidFill>
                <a:latin typeface="Cera CY" panose="00000500000000000000" pitchFamily="50" charset="-52"/>
              </a:rPr>
              <a:t>Цифровые сервисы БСК</a:t>
            </a:r>
            <a:endParaRPr lang="ru-RU" sz="2600" b="1" dirty="0">
              <a:solidFill>
                <a:schemeClr val="tx1"/>
              </a:solidFill>
              <a:latin typeface="Cera CY" panose="00000500000000000000" pitchFamily="50" charset="-52"/>
            </a:endParaRPr>
          </a:p>
        </p:txBody>
      </p:sp>
      <p:sp>
        <p:nvSpPr>
          <p:cNvPr id="67" name="Номер слайда 5">
            <a:extLst>
              <a:ext uri="{FF2B5EF4-FFF2-40B4-BE49-F238E27FC236}">
                <a16:creationId xmlns:a16="http://schemas.microsoft.com/office/drawing/2014/main" id="{D2DDD21C-655C-4ACE-95D1-6F9B062CB9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176098" y="6471703"/>
            <a:ext cx="517451" cy="12311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A9CFFD-EE99-4E11-B8BC-23AC5DDB75ED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24445867"/>
              </p:ext>
            </p:extLst>
          </p:nvPr>
        </p:nvGraphicFramePr>
        <p:xfrm>
          <a:off x="2032000" y="1707133"/>
          <a:ext cx="8128000" cy="3790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5053888" y="3309756"/>
            <a:ext cx="208422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11649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rPr>
              <a:t>БАНКОВСКОЕ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rPr>
              <a:t/>
            </a:r>
            <a:b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rPr>
            </a:b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rPr>
              <a:t>СОПРОВОЖДЕНИЕ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cxnSp>
        <p:nvCxnSpPr>
          <p:cNvPr id="146" name="Прямая соединительная линия 145"/>
          <p:cNvCxnSpPr/>
          <p:nvPr/>
        </p:nvCxnSpPr>
        <p:spPr>
          <a:xfrm flipH="1">
            <a:off x="479426" y="1189143"/>
            <a:ext cx="5400674" cy="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/>
          <p:cNvCxnSpPr/>
          <p:nvPr/>
        </p:nvCxnSpPr>
        <p:spPr>
          <a:xfrm flipH="1">
            <a:off x="6292875" y="1189143"/>
            <a:ext cx="5400674" cy="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Прямая соединительная линия 232"/>
          <p:cNvCxnSpPr/>
          <p:nvPr/>
        </p:nvCxnSpPr>
        <p:spPr>
          <a:xfrm flipH="1">
            <a:off x="479426" y="6024613"/>
            <a:ext cx="5400674" cy="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Прямая соединительная линия 233"/>
          <p:cNvCxnSpPr/>
          <p:nvPr/>
        </p:nvCxnSpPr>
        <p:spPr>
          <a:xfrm flipH="1">
            <a:off x="6292875" y="6024613"/>
            <a:ext cx="5400674" cy="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>
            <a:endCxn id="6" idx="2"/>
          </p:cNvCxnSpPr>
          <p:nvPr/>
        </p:nvCxnSpPr>
        <p:spPr>
          <a:xfrm flipV="1">
            <a:off x="5880100" y="5497153"/>
            <a:ext cx="215900" cy="52746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Прямая соединительная линия 253"/>
          <p:cNvCxnSpPr/>
          <p:nvPr/>
        </p:nvCxnSpPr>
        <p:spPr>
          <a:xfrm flipH="1" flipV="1">
            <a:off x="6096000" y="5497153"/>
            <a:ext cx="196875" cy="52746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Прямая соединительная линия 254"/>
          <p:cNvCxnSpPr>
            <a:stCxn id="6" idx="0"/>
          </p:cNvCxnSpPr>
          <p:nvPr/>
        </p:nvCxnSpPr>
        <p:spPr>
          <a:xfrm flipH="1" flipV="1">
            <a:off x="5880100" y="1189143"/>
            <a:ext cx="215900" cy="51799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Прямая соединительная линия 255"/>
          <p:cNvCxnSpPr>
            <a:stCxn id="6" idx="0"/>
          </p:cNvCxnSpPr>
          <p:nvPr/>
        </p:nvCxnSpPr>
        <p:spPr>
          <a:xfrm flipV="1">
            <a:off x="6096000" y="1189143"/>
            <a:ext cx="196875" cy="517990"/>
          </a:xfrm>
          <a:prstGeom prst="line">
            <a:avLst/>
          </a:prstGeom>
          <a:ln>
            <a:solidFill>
              <a:srgbClr val="FCBC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Рисунок 7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887" y="1270975"/>
            <a:ext cx="1432238" cy="989693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038" y="2261862"/>
            <a:ext cx="1634410" cy="1253048"/>
          </a:xfrm>
          <a:prstGeom prst="rect">
            <a:avLst/>
          </a:prstGeom>
        </p:spPr>
      </p:pic>
      <p:sp>
        <p:nvSpPr>
          <p:cNvPr id="257" name="Freeform 13">
            <a:extLst>
              <a:ext uri="{FF2B5EF4-FFF2-40B4-BE49-F238E27FC236}">
                <a16:creationId xmlns:a16="http://schemas.microsoft.com/office/drawing/2014/main" id="{9C1E136D-8696-4BF5-958B-B478B7CD46B1}"/>
              </a:ext>
            </a:extLst>
          </p:cNvPr>
          <p:cNvSpPr>
            <a:spLocks/>
          </p:cNvSpPr>
          <p:nvPr/>
        </p:nvSpPr>
        <p:spPr bwMode="auto">
          <a:xfrm>
            <a:off x="479425" y="3794169"/>
            <a:ext cx="1273547" cy="826464"/>
          </a:xfrm>
          <a:custGeom>
            <a:avLst/>
            <a:gdLst>
              <a:gd name="T0" fmla="*/ 267 w 479"/>
              <a:gd name="T1" fmla="*/ 0 h 311"/>
              <a:gd name="T2" fmla="*/ 86 w 479"/>
              <a:gd name="T3" fmla="*/ 117 h 311"/>
              <a:gd name="T4" fmla="*/ 0 w 479"/>
              <a:gd name="T5" fmla="*/ 311 h 311"/>
              <a:gd name="T6" fmla="*/ 213 w 479"/>
              <a:gd name="T7" fmla="*/ 311 h 311"/>
              <a:gd name="T8" fmla="*/ 393 w 479"/>
              <a:gd name="T9" fmla="*/ 194 h 311"/>
              <a:gd name="T10" fmla="*/ 479 w 479"/>
              <a:gd name="T11" fmla="*/ 0 h 311"/>
              <a:gd name="T12" fmla="*/ 267 w 479"/>
              <a:gd name="T13" fmla="*/ 0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9" h="311">
                <a:moveTo>
                  <a:pt x="267" y="0"/>
                </a:moveTo>
                <a:cubicBezTo>
                  <a:pt x="188" y="0"/>
                  <a:pt x="118" y="45"/>
                  <a:pt x="86" y="117"/>
                </a:cubicBezTo>
                <a:cubicBezTo>
                  <a:pt x="0" y="311"/>
                  <a:pt x="0" y="311"/>
                  <a:pt x="0" y="311"/>
                </a:cubicBezTo>
                <a:cubicBezTo>
                  <a:pt x="213" y="311"/>
                  <a:pt x="213" y="311"/>
                  <a:pt x="213" y="311"/>
                </a:cubicBezTo>
                <a:cubicBezTo>
                  <a:pt x="291" y="311"/>
                  <a:pt x="361" y="266"/>
                  <a:pt x="393" y="194"/>
                </a:cubicBezTo>
                <a:cubicBezTo>
                  <a:pt x="479" y="0"/>
                  <a:pt x="479" y="0"/>
                  <a:pt x="479" y="0"/>
                </a:cubicBezTo>
                <a:lnTo>
                  <a:pt x="267" y="0"/>
                </a:lnTo>
                <a:close/>
              </a:path>
            </a:pathLst>
          </a:custGeom>
          <a:gradFill flip="none" rotWithShape="1">
            <a:gsLst>
              <a:gs pos="77000">
                <a:schemeClr val="accent3">
                  <a:lumMod val="75000"/>
                </a:schemeClr>
              </a:gs>
              <a:gs pos="23000">
                <a:schemeClr val="accent2"/>
              </a:gs>
            </a:gsLst>
            <a:lin ang="17400000" scaled="0"/>
            <a:tileRect/>
          </a:gradFill>
          <a:ln w="6350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pic>
        <p:nvPicPr>
          <p:cNvPr id="258" name="Рисунок 25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4207" y="3825054"/>
            <a:ext cx="774259" cy="573074"/>
          </a:xfrm>
          <a:prstGeom prst="rect">
            <a:avLst/>
          </a:prstGeom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52" y="3900794"/>
            <a:ext cx="645788" cy="527359"/>
          </a:xfrm>
          <a:prstGeom prst="rect">
            <a:avLst/>
          </a:prstGeom>
        </p:spPr>
      </p:pic>
      <p:pic>
        <p:nvPicPr>
          <p:cNvPr id="260" name="Рисунок 25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32" y="4931442"/>
            <a:ext cx="1429286" cy="987653"/>
          </a:xfrm>
          <a:prstGeom prst="rect">
            <a:avLst/>
          </a:prstGeom>
        </p:spPr>
      </p:pic>
      <p:sp>
        <p:nvSpPr>
          <p:cNvPr id="261" name="Freeform 13">
            <a:extLst>
              <a:ext uri="{FF2B5EF4-FFF2-40B4-BE49-F238E27FC236}">
                <a16:creationId xmlns:a16="http://schemas.microsoft.com/office/drawing/2014/main" id="{9C1E136D-8696-4BF5-958B-B478B7CD46B1}"/>
              </a:ext>
            </a:extLst>
          </p:cNvPr>
          <p:cNvSpPr>
            <a:spLocks/>
          </p:cNvSpPr>
          <p:nvPr/>
        </p:nvSpPr>
        <p:spPr bwMode="auto">
          <a:xfrm>
            <a:off x="10439028" y="3794169"/>
            <a:ext cx="1273547" cy="826464"/>
          </a:xfrm>
          <a:custGeom>
            <a:avLst/>
            <a:gdLst>
              <a:gd name="T0" fmla="*/ 267 w 479"/>
              <a:gd name="T1" fmla="*/ 0 h 311"/>
              <a:gd name="T2" fmla="*/ 86 w 479"/>
              <a:gd name="T3" fmla="*/ 117 h 311"/>
              <a:gd name="T4" fmla="*/ 0 w 479"/>
              <a:gd name="T5" fmla="*/ 311 h 311"/>
              <a:gd name="T6" fmla="*/ 213 w 479"/>
              <a:gd name="T7" fmla="*/ 311 h 311"/>
              <a:gd name="T8" fmla="*/ 393 w 479"/>
              <a:gd name="T9" fmla="*/ 194 h 311"/>
              <a:gd name="T10" fmla="*/ 479 w 479"/>
              <a:gd name="T11" fmla="*/ 0 h 311"/>
              <a:gd name="T12" fmla="*/ 267 w 479"/>
              <a:gd name="T13" fmla="*/ 0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9" h="311">
                <a:moveTo>
                  <a:pt x="267" y="0"/>
                </a:moveTo>
                <a:cubicBezTo>
                  <a:pt x="188" y="0"/>
                  <a:pt x="118" y="45"/>
                  <a:pt x="86" y="117"/>
                </a:cubicBezTo>
                <a:cubicBezTo>
                  <a:pt x="0" y="311"/>
                  <a:pt x="0" y="311"/>
                  <a:pt x="0" y="311"/>
                </a:cubicBezTo>
                <a:cubicBezTo>
                  <a:pt x="213" y="311"/>
                  <a:pt x="213" y="311"/>
                  <a:pt x="213" y="311"/>
                </a:cubicBezTo>
                <a:cubicBezTo>
                  <a:pt x="291" y="311"/>
                  <a:pt x="361" y="266"/>
                  <a:pt x="393" y="194"/>
                </a:cubicBezTo>
                <a:cubicBezTo>
                  <a:pt x="479" y="0"/>
                  <a:pt x="479" y="0"/>
                  <a:pt x="479" y="0"/>
                </a:cubicBezTo>
                <a:lnTo>
                  <a:pt x="267" y="0"/>
                </a:lnTo>
                <a:close/>
              </a:path>
            </a:pathLst>
          </a:custGeom>
          <a:gradFill flip="none" rotWithShape="1">
            <a:gsLst>
              <a:gs pos="77000">
                <a:schemeClr val="accent3">
                  <a:lumMod val="75000"/>
                </a:schemeClr>
              </a:gs>
              <a:gs pos="23000">
                <a:schemeClr val="accent2"/>
              </a:gs>
            </a:gsLst>
            <a:lin ang="17400000" scaled="0"/>
            <a:tileRect/>
          </a:gradFill>
          <a:ln w="6350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62" name="Freeform 13">
            <a:extLst>
              <a:ext uri="{FF2B5EF4-FFF2-40B4-BE49-F238E27FC236}">
                <a16:creationId xmlns:a16="http://schemas.microsoft.com/office/drawing/2014/main" id="{9C1E136D-8696-4BF5-958B-B478B7CD46B1}"/>
              </a:ext>
            </a:extLst>
          </p:cNvPr>
          <p:cNvSpPr>
            <a:spLocks/>
          </p:cNvSpPr>
          <p:nvPr/>
        </p:nvSpPr>
        <p:spPr bwMode="auto">
          <a:xfrm>
            <a:off x="10439028" y="2560903"/>
            <a:ext cx="1273547" cy="826464"/>
          </a:xfrm>
          <a:custGeom>
            <a:avLst/>
            <a:gdLst>
              <a:gd name="T0" fmla="*/ 267 w 479"/>
              <a:gd name="T1" fmla="*/ 0 h 311"/>
              <a:gd name="T2" fmla="*/ 86 w 479"/>
              <a:gd name="T3" fmla="*/ 117 h 311"/>
              <a:gd name="T4" fmla="*/ 0 w 479"/>
              <a:gd name="T5" fmla="*/ 311 h 311"/>
              <a:gd name="T6" fmla="*/ 213 w 479"/>
              <a:gd name="T7" fmla="*/ 311 h 311"/>
              <a:gd name="T8" fmla="*/ 393 w 479"/>
              <a:gd name="T9" fmla="*/ 194 h 311"/>
              <a:gd name="T10" fmla="*/ 479 w 479"/>
              <a:gd name="T11" fmla="*/ 0 h 311"/>
              <a:gd name="T12" fmla="*/ 267 w 479"/>
              <a:gd name="T13" fmla="*/ 0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9" h="311">
                <a:moveTo>
                  <a:pt x="267" y="0"/>
                </a:moveTo>
                <a:cubicBezTo>
                  <a:pt x="188" y="0"/>
                  <a:pt x="118" y="45"/>
                  <a:pt x="86" y="117"/>
                </a:cubicBezTo>
                <a:cubicBezTo>
                  <a:pt x="0" y="311"/>
                  <a:pt x="0" y="311"/>
                  <a:pt x="0" y="311"/>
                </a:cubicBezTo>
                <a:cubicBezTo>
                  <a:pt x="213" y="311"/>
                  <a:pt x="213" y="311"/>
                  <a:pt x="213" y="311"/>
                </a:cubicBezTo>
                <a:cubicBezTo>
                  <a:pt x="291" y="311"/>
                  <a:pt x="361" y="266"/>
                  <a:pt x="393" y="194"/>
                </a:cubicBezTo>
                <a:cubicBezTo>
                  <a:pt x="479" y="0"/>
                  <a:pt x="479" y="0"/>
                  <a:pt x="479" y="0"/>
                </a:cubicBezTo>
                <a:lnTo>
                  <a:pt x="267" y="0"/>
                </a:lnTo>
                <a:close/>
              </a:path>
            </a:pathLst>
          </a:custGeom>
          <a:gradFill flip="none" rotWithShape="1">
            <a:gsLst>
              <a:gs pos="90000">
                <a:schemeClr val="accent3">
                  <a:lumMod val="90000"/>
                </a:schemeClr>
              </a:gs>
              <a:gs pos="37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  <a:ln w="6350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63" name="Freeform 13">
            <a:extLst>
              <a:ext uri="{FF2B5EF4-FFF2-40B4-BE49-F238E27FC236}">
                <a16:creationId xmlns:a16="http://schemas.microsoft.com/office/drawing/2014/main" id="{9C1E136D-8696-4BF5-958B-B478B7CD46B1}"/>
              </a:ext>
            </a:extLst>
          </p:cNvPr>
          <p:cNvSpPr>
            <a:spLocks/>
          </p:cNvSpPr>
          <p:nvPr/>
        </p:nvSpPr>
        <p:spPr bwMode="auto">
          <a:xfrm>
            <a:off x="10439028" y="1361509"/>
            <a:ext cx="1273547" cy="826464"/>
          </a:xfrm>
          <a:custGeom>
            <a:avLst/>
            <a:gdLst>
              <a:gd name="T0" fmla="*/ 267 w 479"/>
              <a:gd name="T1" fmla="*/ 0 h 311"/>
              <a:gd name="T2" fmla="*/ 86 w 479"/>
              <a:gd name="T3" fmla="*/ 117 h 311"/>
              <a:gd name="T4" fmla="*/ 0 w 479"/>
              <a:gd name="T5" fmla="*/ 311 h 311"/>
              <a:gd name="T6" fmla="*/ 213 w 479"/>
              <a:gd name="T7" fmla="*/ 311 h 311"/>
              <a:gd name="T8" fmla="*/ 393 w 479"/>
              <a:gd name="T9" fmla="*/ 194 h 311"/>
              <a:gd name="T10" fmla="*/ 479 w 479"/>
              <a:gd name="T11" fmla="*/ 0 h 311"/>
              <a:gd name="T12" fmla="*/ 267 w 479"/>
              <a:gd name="T13" fmla="*/ 0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9" h="311">
                <a:moveTo>
                  <a:pt x="267" y="0"/>
                </a:moveTo>
                <a:cubicBezTo>
                  <a:pt x="188" y="0"/>
                  <a:pt x="118" y="45"/>
                  <a:pt x="86" y="117"/>
                </a:cubicBezTo>
                <a:cubicBezTo>
                  <a:pt x="0" y="311"/>
                  <a:pt x="0" y="311"/>
                  <a:pt x="0" y="311"/>
                </a:cubicBezTo>
                <a:cubicBezTo>
                  <a:pt x="213" y="311"/>
                  <a:pt x="213" y="311"/>
                  <a:pt x="213" y="311"/>
                </a:cubicBezTo>
                <a:cubicBezTo>
                  <a:pt x="291" y="311"/>
                  <a:pt x="361" y="266"/>
                  <a:pt x="393" y="194"/>
                </a:cubicBezTo>
                <a:cubicBezTo>
                  <a:pt x="479" y="0"/>
                  <a:pt x="479" y="0"/>
                  <a:pt x="479" y="0"/>
                </a:cubicBezTo>
                <a:lnTo>
                  <a:pt x="267" y="0"/>
                </a:lnTo>
                <a:close/>
              </a:path>
            </a:pathLst>
          </a:custGeom>
          <a:gradFill flip="none" rotWithShape="1">
            <a:gsLst>
              <a:gs pos="77000">
                <a:schemeClr val="accent3">
                  <a:lumMod val="75000"/>
                </a:schemeClr>
              </a:gs>
              <a:gs pos="23000">
                <a:schemeClr val="accent2"/>
              </a:gs>
            </a:gsLst>
            <a:lin ang="17400000" scaled="0"/>
            <a:tileRect/>
          </a:gradFill>
          <a:ln w="6350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pic>
        <p:nvPicPr>
          <p:cNvPr id="265" name="Рисунок 26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1753" y="4841319"/>
            <a:ext cx="1540501" cy="1157150"/>
          </a:xfrm>
          <a:prstGeom prst="rect">
            <a:avLst/>
          </a:prstGeom>
        </p:spPr>
      </p:pic>
      <p:pic>
        <p:nvPicPr>
          <p:cNvPr id="266" name="Рисунок 26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494137" y="3697293"/>
            <a:ext cx="1079086" cy="829128"/>
          </a:xfrm>
          <a:prstGeom prst="rect">
            <a:avLst/>
          </a:prstGeom>
        </p:spPr>
      </p:pic>
      <p:pic>
        <p:nvPicPr>
          <p:cNvPr id="271" name="Рисунок 27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567556" y="2443200"/>
            <a:ext cx="1079086" cy="941330"/>
          </a:xfrm>
          <a:custGeom>
            <a:avLst/>
            <a:gdLst>
              <a:gd name="connsiteX0" fmla="*/ 179423 w 1079086"/>
              <a:gd name="connsiteY0" fmla="*/ 0 h 941330"/>
              <a:gd name="connsiteX1" fmla="*/ 1063114 w 1079086"/>
              <a:gd name="connsiteY1" fmla="*/ 0 h 941330"/>
              <a:gd name="connsiteX2" fmla="*/ 1062856 w 1079086"/>
              <a:gd name="connsiteY2" fmla="*/ 582 h 941330"/>
              <a:gd name="connsiteX3" fmla="*/ 1022374 w 1079086"/>
              <a:gd name="connsiteY3" fmla="*/ 91857 h 941330"/>
              <a:gd name="connsiteX4" fmla="*/ 1010911 w 1079086"/>
              <a:gd name="connsiteY4" fmla="*/ 117703 h 941330"/>
              <a:gd name="connsiteX5" fmla="*/ 1079086 w 1079086"/>
              <a:gd name="connsiteY5" fmla="*/ 117703 h 941330"/>
              <a:gd name="connsiteX6" fmla="*/ 1079086 w 1079086"/>
              <a:gd name="connsiteY6" fmla="*/ 266362 h 941330"/>
              <a:gd name="connsiteX7" fmla="*/ 1070718 w 1079086"/>
              <a:gd name="connsiteY7" fmla="*/ 285230 h 941330"/>
              <a:gd name="connsiteX8" fmla="*/ 916365 w 1079086"/>
              <a:gd name="connsiteY8" fmla="*/ 633247 h 941330"/>
              <a:gd name="connsiteX9" fmla="*/ 514404 w 1079086"/>
              <a:gd name="connsiteY9" fmla="*/ 938655 h 941330"/>
              <a:gd name="connsiteX10" fmla="*/ 477221 w 1079086"/>
              <a:gd name="connsiteY10" fmla="*/ 941330 h 941330"/>
              <a:gd name="connsiteX11" fmla="*/ 0 w 1079086"/>
              <a:gd name="connsiteY11" fmla="*/ 941330 h 941330"/>
              <a:gd name="connsiteX12" fmla="*/ 0 w 1079086"/>
              <a:gd name="connsiteY12" fmla="*/ 654377 h 941330"/>
              <a:gd name="connsiteX13" fmla="*/ 5580 w 1079086"/>
              <a:gd name="connsiteY13" fmla="*/ 641795 h 941330"/>
              <a:gd name="connsiteX14" fmla="*/ 0 w 1079086"/>
              <a:gd name="connsiteY14" fmla="*/ 641795 h 941330"/>
              <a:gd name="connsiteX15" fmla="*/ 0 w 1079086"/>
              <a:gd name="connsiteY15" fmla="*/ 352005 h 941330"/>
              <a:gd name="connsiteX16" fmla="*/ 24652 w 1079086"/>
              <a:gd name="connsiteY16" fmla="*/ 296422 h 941330"/>
              <a:gd name="connsiteX17" fmla="*/ 100126 w 1079086"/>
              <a:gd name="connsiteY17" fmla="*/ 126252 h 941330"/>
              <a:gd name="connsiteX18" fmla="*/ 136616 w 1079086"/>
              <a:gd name="connsiteY18" fmla="*/ 57958 h 941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79086" h="941330">
                <a:moveTo>
                  <a:pt x="179423" y="0"/>
                </a:moveTo>
                <a:lnTo>
                  <a:pt x="1063114" y="0"/>
                </a:lnTo>
                <a:lnTo>
                  <a:pt x="1062856" y="582"/>
                </a:lnTo>
                <a:cubicBezTo>
                  <a:pt x="1051119" y="27046"/>
                  <a:pt x="1037705" y="57291"/>
                  <a:pt x="1022374" y="91857"/>
                </a:cubicBezTo>
                <a:lnTo>
                  <a:pt x="1010911" y="117703"/>
                </a:lnTo>
                <a:lnTo>
                  <a:pt x="1079086" y="117703"/>
                </a:lnTo>
                <a:lnTo>
                  <a:pt x="1079086" y="266362"/>
                </a:lnTo>
                <a:lnTo>
                  <a:pt x="1070718" y="285230"/>
                </a:lnTo>
                <a:cubicBezTo>
                  <a:pt x="1036944" y="361378"/>
                  <a:pt x="987819" y="472140"/>
                  <a:pt x="916365" y="633247"/>
                </a:cubicBezTo>
                <a:cubicBezTo>
                  <a:pt x="841920" y="800665"/>
                  <a:pt x="690122" y="913150"/>
                  <a:pt x="514404" y="938655"/>
                </a:cubicBezTo>
                <a:lnTo>
                  <a:pt x="477221" y="941330"/>
                </a:lnTo>
                <a:lnTo>
                  <a:pt x="0" y="941330"/>
                </a:lnTo>
                <a:lnTo>
                  <a:pt x="0" y="654377"/>
                </a:lnTo>
                <a:lnTo>
                  <a:pt x="5580" y="641795"/>
                </a:lnTo>
                <a:lnTo>
                  <a:pt x="0" y="641795"/>
                </a:lnTo>
                <a:lnTo>
                  <a:pt x="0" y="352005"/>
                </a:lnTo>
                <a:lnTo>
                  <a:pt x="24652" y="296422"/>
                </a:lnTo>
                <a:cubicBezTo>
                  <a:pt x="46535" y="247083"/>
                  <a:pt x="71544" y="190695"/>
                  <a:pt x="100126" y="126252"/>
                </a:cubicBezTo>
                <a:cubicBezTo>
                  <a:pt x="110761" y="102335"/>
                  <a:pt x="122975" y="79539"/>
                  <a:pt x="136616" y="57958"/>
                </a:cubicBezTo>
                <a:close/>
              </a:path>
            </a:pathLst>
          </a:custGeom>
        </p:spPr>
      </p:pic>
      <p:pic>
        <p:nvPicPr>
          <p:cNvPr id="83" name="Рисунок 8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06275" y="2978372"/>
            <a:ext cx="328409" cy="357237"/>
          </a:xfrm>
          <a:prstGeom prst="rect">
            <a:avLst/>
          </a:prstGeom>
          <a:effectLst/>
        </p:spPr>
      </p:pic>
      <p:pic>
        <p:nvPicPr>
          <p:cNvPr id="84" name="Рисунок 8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7099" y="1475032"/>
            <a:ext cx="544863" cy="660440"/>
          </a:xfrm>
          <a:prstGeom prst="rect">
            <a:avLst/>
          </a:prstGeom>
        </p:spPr>
      </p:pic>
      <p:pic>
        <p:nvPicPr>
          <p:cNvPr id="85" name="Рисунок 8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230" y="1283807"/>
            <a:ext cx="652711" cy="657225"/>
          </a:xfrm>
          <a:prstGeom prst="rect">
            <a:avLst/>
          </a:prstGeom>
        </p:spPr>
      </p:pic>
      <p:pic>
        <p:nvPicPr>
          <p:cNvPr id="86" name="Рисунок 85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557" y="1915907"/>
            <a:ext cx="191111" cy="208354"/>
          </a:xfrm>
          <a:prstGeom prst="rect">
            <a:avLst/>
          </a:prstGeom>
        </p:spPr>
      </p:pic>
      <p:sp>
        <p:nvSpPr>
          <p:cNvPr id="87" name="TextBox 86"/>
          <p:cNvSpPr txBox="1"/>
          <p:nvPr/>
        </p:nvSpPr>
        <p:spPr>
          <a:xfrm>
            <a:off x="1828711" y="1628548"/>
            <a:ext cx="33829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СЕРВИС «ГПБ БИЗНЕС-ОНЛАЙН»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72" name="TextBox 271"/>
          <p:cNvSpPr txBox="1"/>
          <p:nvPr/>
        </p:nvSpPr>
        <p:spPr>
          <a:xfrm>
            <a:off x="1828711" y="2727913"/>
            <a:ext cx="33829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СЕРВИС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«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ИНТЕРАКТИВНАЯ ОТЧЕТНОСТЬ»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73" name="TextBox 272"/>
          <p:cNvSpPr txBox="1"/>
          <p:nvPr/>
        </p:nvSpPr>
        <p:spPr>
          <a:xfrm>
            <a:off x="1828711" y="4061207"/>
            <a:ext cx="33829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СЕРВИС «РИСКИ БИЗНЕСА»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74" name="TextBox 273"/>
          <p:cNvSpPr txBox="1"/>
          <p:nvPr/>
        </p:nvSpPr>
        <p:spPr>
          <a:xfrm>
            <a:off x="1828711" y="5279549"/>
            <a:ext cx="33829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СЕРВИС «ЛК БСК»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6990301" y="1628548"/>
            <a:ext cx="33829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ПОРТАЛ ПРИЕМА ДОКУМЕНТОВ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76" name="TextBox 275"/>
          <p:cNvSpPr txBox="1"/>
          <p:nvPr/>
        </p:nvSpPr>
        <p:spPr>
          <a:xfrm>
            <a:off x="6990301" y="2827941"/>
            <a:ext cx="33829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КОМПЕТЕНЦИИ КОМАНДЫ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77" name="TextBox 276"/>
          <p:cNvSpPr txBox="1"/>
          <p:nvPr/>
        </p:nvSpPr>
        <p:spPr>
          <a:xfrm>
            <a:off x="6990301" y="4061207"/>
            <a:ext cx="33829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АС БСК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78" name="TextBox 277"/>
          <p:cNvSpPr txBox="1"/>
          <p:nvPr/>
        </p:nvSpPr>
        <p:spPr>
          <a:xfrm>
            <a:off x="6990301" y="5179521"/>
            <a:ext cx="33829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СОПУТСТВУЮЩИЕ ПРОДУКТЫ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И  СЕРВИСЫ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9655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11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17">
            <a:extLst>
              <a:ext uri="{FF2B5EF4-FFF2-40B4-BE49-F238E27FC236}">
                <a16:creationId xmlns:a16="http://schemas.microsoft.com/office/drawing/2014/main" id="{67AD1864-C213-40BF-9CE0-7B1D24C33834}"/>
              </a:ext>
            </a:extLst>
          </p:cNvPr>
          <p:cNvSpPr txBox="1">
            <a:spLocks/>
          </p:cNvSpPr>
          <p:nvPr/>
        </p:nvSpPr>
        <p:spPr>
          <a:xfrm>
            <a:off x="457199" y="351072"/>
            <a:ext cx="9733085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600" b="1" dirty="0" smtClean="0">
                <a:solidFill>
                  <a:prstClr val="black"/>
                </a:solidFill>
                <a:latin typeface="Cera CY" panose="00000500000000000000" pitchFamily="2" charset="-52"/>
              </a:rPr>
              <a:t>Дальнейшие шаги цифрового развития БСК</a:t>
            </a:r>
            <a:endParaRPr kumimoji="0" lang="ru-RU" sz="2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 panose="00000500000000000000" pitchFamily="2" charset="-52"/>
            </a:endParaRPr>
          </a:p>
        </p:txBody>
      </p:sp>
      <p:sp>
        <p:nvSpPr>
          <p:cNvPr id="4" name="Номер слайда 1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A9CFFD-EE99-4E11-B8BC-23AC5DDB75ED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18" name="Прямоугольник: скругленные углы 31">
            <a:extLst>
              <a:ext uri="{FF2B5EF4-FFF2-40B4-BE49-F238E27FC236}">
                <a16:creationId xmlns:a16="http://schemas.microsoft.com/office/drawing/2014/main" id="{D63DA913-9027-4281-856F-EE31E7724A1F}"/>
              </a:ext>
            </a:extLst>
          </p:cNvPr>
          <p:cNvSpPr/>
          <p:nvPr/>
        </p:nvSpPr>
        <p:spPr>
          <a:xfrm>
            <a:off x="360000" y="1298697"/>
            <a:ext cx="5354458" cy="4334808"/>
          </a:xfrm>
          <a:prstGeom prst="roundRect">
            <a:avLst>
              <a:gd name="adj" fmla="val 785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31">
            <a:extLst>
              <a:ext uri="{FF2B5EF4-FFF2-40B4-BE49-F238E27FC236}">
                <a16:creationId xmlns:a16="http://schemas.microsoft.com/office/drawing/2014/main" id="{0480DEB3-153A-4B33-BEF8-F2122EF87D2C}"/>
              </a:ext>
            </a:extLst>
          </p:cNvPr>
          <p:cNvSpPr/>
          <p:nvPr/>
        </p:nvSpPr>
        <p:spPr>
          <a:xfrm>
            <a:off x="623936" y="1523740"/>
            <a:ext cx="10646979" cy="4617824"/>
          </a:xfrm>
          <a:prstGeom prst="roundRect">
            <a:avLst>
              <a:gd name="adj" fmla="val 15208"/>
            </a:avLst>
          </a:prstGeom>
          <a:solidFill>
            <a:schemeClr val="bg1"/>
          </a:solidFill>
          <a:ln>
            <a:noFill/>
            <a:prstDash val="sysDash"/>
          </a:ln>
          <a:effectLst>
            <a:outerShdw blurRad="254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20" name="Прямоугольник: скругленные углы 88">
            <a:extLst>
              <a:ext uri="{FF2B5EF4-FFF2-40B4-BE49-F238E27FC236}">
                <a16:creationId xmlns:a16="http://schemas.microsoft.com/office/drawing/2014/main" id="{2539A766-D979-4A2F-A0DA-AEF63E113461}"/>
              </a:ext>
            </a:extLst>
          </p:cNvPr>
          <p:cNvSpPr/>
          <p:nvPr/>
        </p:nvSpPr>
        <p:spPr>
          <a:xfrm>
            <a:off x="1260919" y="1927468"/>
            <a:ext cx="540000" cy="540000"/>
          </a:xfrm>
          <a:prstGeom prst="roundRect">
            <a:avLst>
              <a:gd name="adj" fmla="val 50000"/>
            </a:avLst>
          </a:prstGeom>
          <a:solidFill>
            <a:srgbClr val="4478FF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21" name="Прямоугольник: скругленные углы 88">
            <a:extLst>
              <a:ext uri="{FF2B5EF4-FFF2-40B4-BE49-F238E27FC236}">
                <a16:creationId xmlns:a16="http://schemas.microsoft.com/office/drawing/2014/main" id="{F4128701-2F21-4071-B6E3-061BA1C9A3AA}"/>
              </a:ext>
            </a:extLst>
          </p:cNvPr>
          <p:cNvSpPr/>
          <p:nvPr/>
        </p:nvSpPr>
        <p:spPr>
          <a:xfrm>
            <a:off x="1260919" y="2769252"/>
            <a:ext cx="540000" cy="540000"/>
          </a:xfrm>
          <a:prstGeom prst="roundRect">
            <a:avLst>
              <a:gd name="adj" fmla="val 50000"/>
            </a:avLst>
          </a:prstGeom>
          <a:solidFill>
            <a:srgbClr val="4478FF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sp>
        <p:nvSpPr>
          <p:cNvPr id="22" name="Прямоугольник: скругленные углы 88">
            <a:extLst>
              <a:ext uri="{FF2B5EF4-FFF2-40B4-BE49-F238E27FC236}">
                <a16:creationId xmlns:a16="http://schemas.microsoft.com/office/drawing/2014/main" id="{2E6A4842-3AA4-4F08-ADA1-1BDEF9A17964}"/>
              </a:ext>
            </a:extLst>
          </p:cNvPr>
          <p:cNvSpPr/>
          <p:nvPr/>
        </p:nvSpPr>
        <p:spPr>
          <a:xfrm>
            <a:off x="1260919" y="3597951"/>
            <a:ext cx="540000" cy="540000"/>
          </a:xfrm>
          <a:prstGeom prst="roundRect">
            <a:avLst>
              <a:gd name="adj" fmla="val 50000"/>
            </a:avLst>
          </a:prstGeom>
          <a:solidFill>
            <a:srgbClr val="4478FF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  <p:sp>
        <p:nvSpPr>
          <p:cNvPr id="23" name="Прямоугольник: скругленные углы 88">
            <a:extLst>
              <a:ext uri="{FF2B5EF4-FFF2-40B4-BE49-F238E27FC236}">
                <a16:creationId xmlns:a16="http://schemas.microsoft.com/office/drawing/2014/main" id="{FDFC733C-5B74-465E-B004-FADE279BCF1F}"/>
              </a:ext>
            </a:extLst>
          </p:cNvPr>
          <p:cNvSpPr/>
          <p:nvPr/>
        </p:nvSpPr>
        <p:spPr>
          <a:xfrm>
            <a:off x="1260919" y="4451213"/>
            <a:ext cx="540000" cy="540000"/>
          </a:xfrm>
          <a:prstGeom prst="roundRect">
            <a:avLst>
              <a:gd name="adj" fmla="val 50000"/>
            </a:avLst>
          </a:prstGeom>
          <a:solidFill>
            <a:srgbClr val="4478FF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</a:p>
        </p:txBody>
      </p:sp>
      <p:sp>
        <p:nvSpPr>
          <p:cNvPr id="24" name="Прямоугольник: скругленные углы 88">
            <a:extLst>
              <a:ext uri="{FF2B5EF4-FFF2-40B4-BE49-F238E27FC236}">
                <a16:creationId xmlns:a16="http://schemas.microsoft.com/office/drawing/2014/main" id="{FDFC733C-5B74-465E-B004-FADE279BCF1F}"/>
              </a:ext>
            </a:extLst>
          </p:cNvPr>
          <p:cNvSpPr/>
          <p:nvPr/>
        </p:nvSpPr>
        <p:spPr>
          <a:xfrm>
            <a:off x="1260919" y="5294603"/>
            <a:ext cx="540000" cy="540000"/>
          </a:xfrm>
          <a:prstGeom prst="roundRect">
            <a:avLst>
              <a:gd name="adj" fmla="val 50000"/>
            </a:avLst>
          </a:prstGeom>
          <a:solidFill>
            <a:srgbClr val="4478FF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Текст 4">
            <a:extLst>
              <a:ext uri="{FF2B5EF4-FFF2-40B4-BE49-F238E27FC236}">
                <a16:creationId xmlns:a16="http://schemas.microsoft.com/office/drawing/2014/main" id="{22730CA2-E99F-4367-A55D-E34C9F32E82F}"/>
              </a:ext>
            </a:extLst>
          </p:cNvPr>
          <p:cNvSpPr txBox="1">
            <a:spLocks/>
          </p:cNvSpPr>
          <p:nvPr/>
        </p:nvSpPr>
        <p:spPr>
          <a:xfrm>
            <a:off x="2064855" y="2017931"/>
            <a:ext cx="4750421" cy="35907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ts val="1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itchFamily="2" charset="0"/>
                <a:ea typeface="+mn-ea"/>
                <a:cs typeface="+mn-cs"/>
              </a:rPr>
              <a:t>Запуск обособленного (казначейско-банковского) сопровожден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ED65ACC0-A92A-4843-9DC5-5C069D815565}"/>
              </a:ext>
            </a:extLst>
          </p:cNvPr>
          <p:cNvSpPr txBox="1">
            <a:spLocks/>
          </p:cNvSpPr>
          <p:nvPr/>
        </p:nvSpPr>
        <p:spPr>
          <a:xfrm>
            <a:off x="2064855" y="2886832"/>
            <a:ext cx="5685841" cy="35907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ts val="1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itchFamily="2" charset="0"/>
                <a:ea typeface="+mn-ea"/>
                <a:cs typeface="+mn-cs"/>
              </a:rPr>
              <a:t>Реализация интеграции учетных систем клиентов и Заказчиков с БСК Банк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Текст 4">
            <a:extLst>
              <a:ext uri="{FF2B5EF4-FFF2-40B4-BE49-F238E27FC236}">
                <a16:creationId xmlns:a16="http://schemas.microsoft.com/office/drawing/2014/main" id="{E4D2658D-517A-4757-911E-4520A85690E8}"/>
              </a:ext>
            </a:extLst>
          </p:cNvPr>
          <p:cNvSpPr txBox="1">
            <a:spLocks/>
          </p:cNvSpPr>
          <p:nvPr/>
        </p:nvSpPr>
        <p:spPr>
          <a:xfrm>
            <a:off x="2064855" y="3740096"/>
            <a:ext cx="5215185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itchFamily="2" charset="0"/>
                <a:ea typeface="+mn-ea"/>
                <a:cs typeface="+mn-cs"/>
              </a:rPr>
              <a:t>Реализац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itchFamily="2" charset="0"/>
                <a:ea typeface="+mn-ea"/>
                <a:cs typeface="+mn-cs"/>
              </a:rPr>
              <a:t>электронного документооборота</a:t>
            </a: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id="{64D72005-0854-4D0E-852C-FF97C8D8AE93}"/>
              </a:ext>
            </a:extLst>
          </p:cNvPr>
          <p:cNvSpPr txBox="1">
            <a:spLocks/>
          </p:cNvSpPr>
          <p:nvPr/>
        </p:nvSpPr>
        <p:spPr>
          <a:xfrm>
            <a:off x="2064855" y="4505769"/>
            <a:ext cx="6206819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itchFamily="2" charset="0"/>
                <a:ea typeface="+mn-ea"/>
                <a:cs typeface="+mn-cs"/>
              </a:rPr>
              <a:t>Расширение возможностей платформы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itchFamily="2" charset="0"/>
                <a:ea typeface="+mn-ea"/>
                <a:cs typeface="+mn-cs"/>
              </a:rPr>
              <a:t>межбанковского/трансграничного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itchFamily="2" charset="0"/>
                <a:ea typeface="+mn-ea"/>
                <a:cs typeface="+mn-cs"/>
              </a:rPr>
              <a:t>сопровождения</a:t>
            </a:r>
          </a:p>
        </p:txBody>
      </p:sp>
      <p:sp>
        <p:nvSpPr>
          <p:cNvPr id="30" name="Текст 4">
            <a:extLst>
              <a:ext uri="{FF2B5EF4-FFF2-40B4-BE49-F238E27FC236}">
                <a16:creationId xmlns:a16="http://schemas.microsoft.com/office/drawing/2014/main" id="{64D72005-0854-4D0E-852C-FF97C8D8AE93}"/>
              </a:ext>
            </a:extLst>
          </p:cNvPr>
          <p:cNvSpPr txBox="1">
            <a:spLocks/>
          </p:cNvSpPr>
          <p:nvPr/>
        </p:nvSpPr>
        <p:spPr>
          <a:xfrm>
            <a:off x="2065952" y="5349160"/>
            <a:ext cx="5460303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itchFamily="2" charset="0"/>
                <a:ea typeface="+mn-ea"/>
                <a:cs typeface="+mn-cs"/>
              </a:rPr>
              <a:t>Повышение функциональных возможностей цифровых сервисов БСК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A025212C-41CA-4280-B47B-72DF7F850FD9}"/>
              </a:ext>
            </a:extLst>
          </p:cNvPr>
          <p:cNvGrpSpPr/>
          <p:nvPr/>
        </p:nvGrpSpPr>
        <p:grpSpPr>
          <a:xfrm>
            <a:off x="7876754" y="1296285"/>
            <a:ext cx="4014870" cy="3225691"/>
            <a:chOff x="382856" y="1199496"/>
            <a:chExt cx="7477937" cy="6008042"/>
          </a:xfrm>
        </p:grpSpPr>
        <p:sp>
          <p:nvSpPr>
            <p:cNvPr id="31" name="Shape">
              <a:extLst>
                <a:ext uri="{FF2B5EF4-FFF2-40B4-BE49-F238E27FC236}">
                  <a16:creationId xmlns:a16="http://schemas.microsoft.com/office/drawing/2014/main" id="{BE80C3A0-B5C9-47C2-8598-795FD49CB3C8}"/>
                </a:ext>
              </a:extLst>
            </p:cNvPr>
            <p:cNvSpPr/>
            <p:nvPr/>
          </p:nvSpPr>
          <p:spPr>
            <a:xfrm>
              <a:off x="3115362" y="1199496"/>
              <a:ext cx="1980666" cy="1503605"/>
            </a:xfrm>
            <a:custGeom>
              <a:avLst/>
              <a:gdLst>
                <a:gd name="connsiteX0" fmla="*/ 10927 w 21600"/>
                <a:gd name="connsiteY0" fmla="*/ 0 h 37254"/>
                <a:gd name="connsiteX1" fmla="*/ 5473 w 21600"/>
                <a:gd name="connsiteY1" fmla="*/ 15654 h 37254"/>
                <a:gd name="connsiteX2" fmla="*/ 0 w 21600"/>
                <a:gd name="connsiteY2" fmla="*/ 37254 h 37254"/>
                <a:gd name="connsiteX3" fmla="*/ 21600 w 21600"/>
                <a:gd name="connsiteY3" fmla="*/ 37254 h 37254"/>
                <a:gd name="connsiteX4" fmla="*/ 10927 w 21600"/>
                <a:gd name="connsiteY4" fmla="*/ 0 h 37254"/>
                <a:gd name="connsiteX0" fmla="*/ 10927 w 21600"/>
                <a:gd name="connsiteY0" fmla="*/ 0 h 37254"/>
                <a:gd name="connsiteX1" fmla="*/ 6112 w 21600"/>
                <a:gd name="connsiteY1" fmla="*/ 17103 h 37254"/>
                <a:gd name="connsiteX2" fmla="*/ 0 w 21600"/>
                <a:gd name="connsiteY2" fmla="*/ 37254 h 37254"/>
                <a:gd name="connsiteX3" fmla="*/ 21600 w 21600"/>
                <a:gd name="connsiteY3" fmla="*/ 37254 h 37254"/>
                <a:gd name="connsiteX4" fmla="*/ 10927 w 21600"/>
                <a:gd name="connsiteY4" fmla="*/ 0 h 37254"/>
                <a:gd name="connsiteX0" fmla="*/ 10927 w 21600"/>
                <a:gd name="connsiteY0" fmla="*/ 0 h 37254"/>
                <a:gd name="connsiteX1" fmla="*/ 5826 w 21600"/>
                <a:gd name="connsiteY1" fmla="*/ 17535 h 37254"/>
                <a:gd name="connsiteX2" fmla="*/ 0 w 21600"/>
                <a:gd name="connsiteY2" fmla="*/ 37254 h 37254"/>
                <a:gd name="connsiteX3" fmla="*/ 21600 w 21600"/>
                <a:gd name="connsiteY3" fmla="*/ 37254 h 37254"/>
                <a:gd name="connsiteX4" fmla="*/ 10927 w 21600"/>
                <a:gd name="connsiteY4" fmla="*/ 0 h 37254"/>
                <a:gd name="connsiteX0" fmla="*/ 10736 w 21600"/>
                <a:gd name="connsiteY0" fmla="*/ 0 h 37182"/>
                <a:gd name="connsiteX1" fmla="*/ 5826 w 21600"/>
                <a:gd name="connsiteY1" fmla="*/ 17463 h 37182"/>
                <a:gd name="connsiteX2" fmla="*/ 0 w 21600"/>
                <a:gd name="connsiteY2" fmla="*/ 37182 h 37182"/>
                <a:gd name="connsiteX3" fmla="*/ 21600 w 21600"/>
                <a:gd name="connsiteY3" fmla="*/ 37182 h 37182"/>
                <a:gd name="connsiteX4" fmla="*/ 10736 w 21600"/>
                <a:gd name="connsiteY4" fmla="*/ 0 h 37182"/>
                <a:gd name="connsiteX0" fmla="*/ 10736 w 21600"/>
                <a:gd name="connsiteY0" fmla="*/ 0 h 37182"/>
                <a:gd name="connsiteX1" fmla="*/ 5731 w 21600"/>
                <a:gd name="connsiteY1" fmla="*/ 16959 h 37182"/>
                <a:gd name="connsiteX2" fmla="*/ 0 w 21600"/>
                <a:gd name="connsiteY2" fmla="*/ 37182 h 37182"/>
                <a:gd name="connsiteX3" fmla="*/ 21600 w 21600"/>
                <a:gd name="connsiteY3" fmla="*/ 37182 h 37182"/>
                <a:gd name="connsiteX4" fmla="*/ 10736 w 21600"/>
                <a:gd name="connsiteY4" fmla="*/ 0 h 37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00" h="37182" extrusionOk="0">
                  <a:moveTo>
                    <a:pt x="10736" y="0"/>
                  </a:moveTo>
                  <a:lnTo>
                    <a:pt x="5731" y="16959"/>
                  </a:lnTo>
                  <a:lnTo>
                    <a:pt x="0" y="37182"/>
                  </a:lnTo>
                  <a:lnTo>
                    <a:pt x="21600" y="37182"/>
                  </a:lnTo>
                  <a:lnTo>
                    <a:pt x="10736" y="0"/>
                  </a:lnTo>
                  <a:close/>
                </a:path>
              </a:pathLst>
            </a:custGeom>
            <a:solidFill>
              <a:srgbClr val="FF7900"/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>
                  <a:solidFill>
                    <a:srgbClr val="4AA4A7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kumimoji="0" sz="1797" b="0" i="0" u="none" strike="noStrike" kern="0" cap="none" spc="0" normalizeH="0" baseline="0" noProof="0" dirty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Cera CY" panose="00000500000000000000" pitchFamily="50" charset="-52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Email">
              <a:extLst>
                <a:ext uri="{FF2B5EF4-FFF2-40B4-BE49-F238E27FC236}">
                  <a16:creationId xmlns:a16="http://schemas.microsoft.com/office/drawing/2014/main" id="{D38C44F7-F263-45FF-BB45-CA3D283A4AEF}"/>
                </a:ext>
              </a:extLst>
            </p:cNvPr>
            <p:cNvSpPr txBox="1"/>
            <p:nvPr/>
          </p:nvSpPr>
          <p:spPr>
            <a:xfrm>
              <a:off x="4107550" y="1838775"/>
              <a:ext cx="121" cy="8928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>
                <a:lnSpc>
                  <a:spcPct val="120000"/>
                </a:lnSpc>
                <a:defRPr sz="2600">
                  <a:solidFill>
                    <a:srgbClr val="F6FAFF"/>
                  </a:solidFill>
                  <a:latin typeface="Aileron"/>
                  <a:ea typeface="Aileron"/>
                  <a:cs typeface="Aileron"/>
                  <a:sym typeface="Aileron"/>
                </a:defRPr>
              </a:lvl1pPr>
            </a:lstStyle>
            <a:p>
              <a:pPr marL="0" marR="0" lvl="0" indent="0" algn="ctr" defTabSz="912828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96" b="0" i="0" u="none" strike="noStrike" kern="0" cap="none" spc="0" normalizeH="0" baseline="0" noProof="0" dirty="0">
                <a:ln>
                  <a:noFill/>
                </a:ln>
                <a:solidFill>
                  <a:srgbClr val="F6FAFF"/>
                </a:solidFill>
                <a:effectLst/>
                <a:uLnTx/>
                <a:uFillTx/>
                <a:latin typeface="Cera CY"/>
                <a:sym typeface="Aileron"/>
              </a:endParaRPr>
            </a:p>
          </p:txBody>
        </p:sp>
        <p:sp>
          <p:nvSpPr>
            <p:cNvPr id="33" name="Shape">
              <a:extLst>
                <a:ext uri="{FF2B5EF4-FFF2-40B4-BE49-F238E27FC236}">
                  <a16:creationId xmlns:a16="http://schemas.microsoft.com/office/drawing/2014/main" id="{CE523DDA-0980-4F76-8824-03FC3D4E7973}"/>
                </a:ext>
              </a:extLst>
            </p:cNvPr>
            <p:cNvSpPr/>
            <p:nvPr/>
          </p:nvSpPr>
          <p:spPr>
            <a:xfrm>
              <a:off x="2456025" y="2928132"/>
              <a:ext cx="3325370" cy="8734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65" y="0"/>
                  </a:moveTo>
                  <a:lnTo>
                    <a:pt x="3235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18365" y="0"/>
                  </a:lnTo>
                  <a:close/>
                </a:path>
              </a:pathLst>
            </a:custGeom>
            <a:solidFill>
              <a:srgbClr val="D1E5FF">
                <a:lumMod val="9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>
                  <a:solidFill>
                    <a:srgbClr val="2E3239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kumimoji="0" sz="1797" b="0" i="0" u="none" strike="noStrike" kern="0" cap="none" spc="0" normalizeH="0" baseline="0" noProof="0" dirty="0">
                <a:ln>
                  <a:noFill/>
                </a:ln>
                <a:solidFill>
                  <a:srgbClr val="2E3239"/>
                </a:solidFill>
                <a:effectLst/>
                <a:uLnTx/>
                <a:uFillTx/>
                <a:latin typeface="Cera CY" panose="00000500000000000000" pitchFamily="50" charset="-52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Marketing">
              <a:extLst>
                <a:ext uri="{FF2B5EF4-FFF2-40B4-BE49-F238E27FC236}">
                  <a16:creationId xmlns:a16="http://schemas.microsoft.com/office/drawing/2014/main" id="{874FEA51-A4A3-4998-AB23-C35CD3AE989B}"/>
                </a:ext>
              </a:extLst>
            </p:cNvPr>
            <p:cNvSpPr txBox="1"/>
            <p:nvPr/>
          </p:nvSpPr>
          <p:spPr>
            <a:xfrm>
              <a:off x="4118649" y="2937289"/>
              <a:ext cx="121" cy="8928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>
                <a:lnSpc>
                  <a:spcPct val="120000"/>
                </a:lnSpc>
                <a:defRPr sz="2600">
                  <a:solidFill>
                    <a:srgbClr val="F6FAFF"/>
                  </a:solidFill>
                  <a:latin typeface="Aileron"/>
                  <a:ea typeface="Aileron"/>
                  <a:cs typeface="Aileron"/>
                  <a:sym typeface="Aileron"/>
                </a:defRPr>
              </a:lvl1pPr>
            </a:lstStyle>
            <a:p>
              <a:pPr marL="0" marR="0" lvl="0" indent="0" algn="ctr" defTabSz="912828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596" b="0" i="0" u="none" strike="noStrike" kern="0" cap="none" spc="0" normalizeH="0" baseline="0" noProof="0" dirty="0">
                <a:ln>
                  <a:noFill/>
                </a:ln>
                <a:solidFill>
                  <a:srgbClr val="F6FAFF"/>
                </a:solidFill>
                <a:effectLst/>
                <a:uLnTx/>
                <a:uFillTx/>
                <a:latin typeface="Cera CY"/>
                <a:sym typeface="Aileron"/>
              </a:endParaRPr>
            </a:p>
          </p:txBody>
        </p:sp>
        <p:sp>
          <p:nvSpPr>
            <p:cNvPr id="35" name="Shape">
              <a:extLst>
                <a:ext uri="{FF2B5EF4-FFF2-40B4-BE49-F238E27FC236}">
                  <a16:creationId xmlns:a16="http://schemas.microsoft.com/office/drawing/2014/main" id="{D39B61F8-0084-4ABD-A1F5-1E6F67AE6301}"/>
                </a:ext>
              </a:extLst>
            </p:cNvPr>
            <p:cNvSpPr/>
            <p:nvPr/>
          </p:nvSpPr>
          <p:spPr>
            <a:xfrm>
              <a:off x="1781756" y="4027670"/>
              <a:ext cx="4673907" cy="8734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9281" y="0"/>
                  </a:lnTo>
                  <a:lnTo>
                    <a:pt x="2319" y="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4478FF"/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>
                  <a:solidFill>
                    <a:srgbClr val="2E3239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kumimoji="0" sz="1797" b="0" i="0" u="none" strike="noStrike" kern="0" cap="none" spc="0" normalizeH="0" baseline="0" noProof="0" dirty="0">
                <a:ln>
                  <a:noFill/>
                </a:ln>
                <a:solidFill>
                  <a:srgbClr val="2E3239"/>
                </a:solidFill>
                <a:effectLst/>
                <a:uLnTx/>
                <a:uFillTx/>
                <a:latin typeface="Cera CY" panose="00000500000000000000" pitchFamily="50" charset="-52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Shape">
              <a:extLst>
                <a:ext uri="{FF2B5EF4-FFF2-40B4-BE49-F238E27FC236}">
                  <a16:creationId xmlns:a16="http://schemas.microsoft.com/office/drawing/2014/main" id="{B449908F-16B7-4B29-9A82-93094D55230E}"/>
                </a:ext>
              </a:extLst>
            </p:cNvPr>
            <p:cNvSpPr/>
            <p:nvPr/>
          </p:nvSpPr>
          <p:spPr>
            <a:xfrm>
              <a:off x="1107487" y="5130048"/>
              <a:ext cx="6030107" cy="8734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9775" y="0"/>
                  </a:lnTo>
                  <a:lnTo>
                    <a:pt x="1798" y="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2354D6"/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>
                  <a:solidFill>
                    <a:srgbClr val="2E3239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kumimoji="0" sz="1797" b="0" i="0" u="none" strike="noStrike" kern="0" cap="none" spc="0" normalizeH="0" baseline="0" noProof="0" dirty="0">
                <a:ln>
                  <a:noFill/>
                </a:ln>
                <a:solidFill>
                  <a:srgbClr val="2E3239"/>
                </a:solidFill>
                <a:effectLst/>
                <a:uLnTx/>
                <a:uFillTx/>
                <a:latin typeface="Cera CY" panose="00000500000000000000" pitchFamily="50" charset="-52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Shape">
              <a:extLst>
                <a:ext uri="{FF2B5EF4-FFF2-40B4-BE49-F238E27FC236}">
                  <a16:creationId xmlns:a16="http://schemas.microsoft.com/office/drawing/2014/main" id="{EACFEBD7-E3AB-474B-9C00-1D17D9ECB6DE}"/>
                </a:ext>
              </a:extLst>
            </p:cNvPr>
            <p:cNvSpPr/>
            <p:nvPr/>
          </p:nvSpPr>
          <p:spPr>
            <a:xfrm>
              <a:off x="382856" y="6360183"/>
              <a:ext cx="7477937" cy="847355"/>
            </a:xfrm>
            <a:custGeom>
              <a:avLst/>
              <a:gdLst>
                <a:gd name="connsiteX0" fmla="*/ 0 w 21600"/>
                <a:gd name="connsiteY0" fmla="*/ 21600 h 21600"/>
                <a:gd name="connsiteX1" fmla="*/ 21600 w 21600"/>
                <a:gd name="connsiteY1" fmla="*/ 21600 h 21600"/>
                <a:gd name="connsiteX2" fmla="*/ 19775 w 21600"/>
                <a:gd name="connsiteY2" fmla="*/ 0 h 21600"/>
                <a:gd name="connsiteX3" fmla="*/ 1662 w 21600"/>
                <a:gd name="connsiteY3" fmla="*/ 0 h 21600"/>
                <a:gd name="connsiteX4" fmla="*/ 0 w 21600"/>
                <a:gd name="connsiteY4" fmla="*/ 21600 h 21600"/>
                <a:gd name="connsiteX0" fmla="*/ 0 w 21600"/>
                <a:gd name="connsiteY0" fmla="*/ 21600 h 21600"/>
                <a:gd name="connsiteX1" fmla="*/ 21600 w 21600"/>
                <a:gd name="connsiteY1" fmla="*/ 21600 h 21600"/>
                <a:gd name="connsiteX2" fmla="*/ 19941 w 21600"/>
                <a:gd name="connsiteY2" fmla="*/ 0 h 21600"/>
                <a:gd name="connsiteX3" fmla="*/ 1662 w 21600"/>
                <a:gd name="connsiteY3" fmla="*/ 0 h 21600"/>
                <a:gd name="connsiteX4" fmla="*/ 0 w 21600"/>
                <a:gd name="connsiteY4" fmla="*/ 21600 h 2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9941" y="0"/>
                  </a:lnTo>
                  <a:lnTo>
                    <a:pt x="1662" y="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797" b="0" i="0" u="none" strike="noStrike" kern="0" cap="none" spc="0" normalizeH="0" baseline="0" noProof="0" dirty="0">
                <a:ln>
                  <a:noFill/>
                </a:ln>
                <a:solidFill>
                  <a:srgbClr val="2E3239"/>
                </a:solidFill>
                <a:effectLst/>
                <a:uLnTx/>
                <a:uFillTx/>
                <a:latin typeface="Cera CY" panose="00000500000000000000" pitchFamily="50" charset="-52"/>
                <a:cs typeface="Calibri"/>
              </a:endParaRPr>
            </a:p>
          </p:txBody>
        </p:sp>
      </p:grp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D68D47E1-B967-4EC7-B2B2-804424F43C4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54911" y="1653773"/>
            <a:ext cx="260711" cy="338924"/>
          </a:xfrm>
          <a:prstGeom prst="rect">
            <a:avLst/>
          </a:prstGeom>
        </p:spPr>
      </p:pic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96AF1518-6FAF-45E2-8355-EE7750BC4251}"/>
              </a:ext>
            </a:extLst>
          </p:cNvPr>
          <p:cNvGrpSpPr/>
          <p:nvPr/>
        </p:nvGrpSpPr>
        <p:grpSpPr>
          <a:xfrm>
            <a:off x="9945159" y="1856939"/>
            <a:ext cx="153673" cy="135258"/>
            <a:chOff x="3271904" y="2490334"/>
            <a:chExt cx="183432" cy="161450"/>
          </a:xfrm>
          <a:solidFill>
            <a:srgbClr val="FFFFFF"/>
          </a:solidFill>
        </p:grpSpPr>
        <p:sp>
          <p:nvSpPr>
            <p:cNvPr id="40" name="Полилиния: фигура 39">
              <a:extLst>
                <a:ext uri="{FF2B5EF4-FFF2-40B4-BE49-F238E27FC236}">
                  <a16:creationId xmlns:a16="http://schemas.microsoft.com/office/drawing/2014/main" id="{B4105A01-5DBE-438A-9C20-2FD833C85A2B}"/>
                </a:ext>
              </a:extLst>
            </p:cNvPr>
            <p:cNvSpPr/>
            <p:nvPr/>
          </p:nvSpPr>
          <p:spPr>
            <a:xfrm>
              <a:off x="3271904" y="2620079"/>
              <a:ext cx="182939" cy="31705"/>
            </a:xfrm>
            <a:custGeom>
              <a:avLst/>
              <a:gdLst>
                <a:gd name="connsiteX0" fmla="*/ 172371 w 182939"/>
                <a:gd name="connsiteY0" fmla="*/ 31705 h 31705"/>
                <a:gd name="connsiteX1" fmla="*/ 10568 w 182939"/>
                <a:gd name="connsiteY1" fmla="*/ 31705 h 31705"/>
                <a:gd name="connsiteX2" fmla="*/ 0 w 182939"/>
                <a:gd name="connsiteY2" fmla="*/ 21137 h 31705"/>
                <a:gd name="connsiteX3" fmla="*/ 0 w 182939"/>
                <a:gd name="connsiteY3" fmla="*/ 3664 h 31705"/>
                <a:gd name="connsiteX4" fmla="*/ 3523 w 182939"/>
                <a:gd name="connsiteY4" fmla="*/ 141 h 31705"/>
                <a:gd name="connsiteX5" fmla="*/ 7046 w 182939"/>
                <a:gd name="connsiteY5" fmla="*/ 3664 h 31705"/>
                <a:gd name="connsiteX6" fmla="*/ 7046 w 182939"/>
                <a:gd name="connsiteY6" fmla="*/ 21137 h 31705"/>
                <a:gd name="connsiteX7" fmla="*/ 10568 w 182939"/>
                <a:gd name="connsiteY7" fmla="*/ 24660 h 31705"/>
                <a:gd name="connsiteX8" fmla="*/ 172371 w 182939"/>
                <a:gd name="connsiteY8" fmla="*/ 24660 h 31705"/>
                <a:gd name="connsiteX9" fmla="*/ 175894 w 182939"/>
                <a:gd name="connsiteY9" fmla="*/ 21137 h 31705"/>
                <a:gd name="connsiteX10" fmla="*/ 175894 w 182939"/>
                <a:gd name="connsiteY10" fmla="*/ 3523 h 31705"/>
                <a:gd name="connsiteX11" fmla="*/ 179417 w 182939"/>
                <a:gd name="connsiteY11" fmla="*/ 0 h 31705"/>
                <a:gd name="connsiteX12" fmla="*/ 182939 w 182939"/>
                <a:gd name="connsiteY12" fmla="*/ 3523 h 31705"/>
                <a:gd name="connsiteX13" fmla="*/ 182939 w 182939"/>
                <a:gd name="connsiteY13" fmla="*/ 21137 h 31705"/>
                <a:gd name="connsiteX14" fmla="*/ 172371 w 182939"/>
                <a:gd name="connsiteY14" fmla="*/ 31705 h 3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2939" h="31705">
                  <a:moveTo>
                    <a:pt x="172371" y="31705"/>
                  </a:moveTo>
                  <a:lnTo>
                    <a:pt x="10568" y="31705"/>
                  </a:lnTo>
                  <a:cubicBezTo>
                    <a:pt x="4756" y="31705"/>
                    <a:pt x="0" y="26950"/>
                    <a:pt x="0" y="21137"/>
                  </a:cubicBezTo>
                  <a:lnTo>
                    <a:pt x="0" y="3664"/>
                  </a:lnTo>
                  <a:cubicBezTo>
                    <a:pt x="0" y="1726"/>
                    <a:pt x="1585" y="141"/>
                    <a:pt x="3523" y="141"/>
                  </a:cubicBezTo>
                  <a:cubicBezTo>
                    <a:pt x="5460" y="141"/>
                    <a:pt x="7046" y="1726"/>
                    <a:pt x="7046" y="3664"/>
                  </a:cubicBezTo>
                  <a:lnTo>
                    <a:pt x="7046" y="21137"/>
                  </a:lnTo>
                  <a:cubicBezTo>
                    <a:pt x="7046" y="23075"/>
                    <a:pt x="8631" y="24660"/>
                    <a:pt x="10568" y="24660"/>
                  </a:cubicBezTo>
                  <a:lnTo>
                    <a:pt x="172371" y="24660"/>
                  </a:lnTo>
                  <a:cubicBezTo>
                    <a:pt x="174309" y="24660"/>
                    <a:pt x="175894" y="23075"/>
                    <a:pt x="175894" y="21137"/>
                  </a:cubicBezTo>
                  <a:lnTo>
                    <a:pt x="175894" y="3523"/>
                  </a:lnTo>
                  <a:cubicBezTo>
                    <a:pt x="175894" y="1585"/>
                    <a:pt x="177479" y="0"/>
                    <a:pt x="179417" y="0"/>
                  </a:cubicBezTo>
                  <a:cubicBezTo>
                    <a:pt x="181354" y="0"/>
                    <a:pt x="182939" y="1585"/>
                    <a:pt x="182939" y="3523"/>
                  </a:cubicBezTo>
                  <a:lnTo>
                    <a:pt x="182939" y="21137"/>
                  </a:lnTo>
                  <a:cubicBezTo>
                    <a:pt x="182939" y="26985"/>
                    <a:pt x="178184" y="31705"/>
                    <a:pt x="172371" y="31705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6406F5F8-B279-407F-B2C0-D589BBDC7E98}"/>
                </a:ext>
              </a:extLst>
            </p:cNvPr>
            <p:cNvSpPr/>
            <p:nvPr/>
          </p:nvSpPr>
          <p:spPr>
            <a:xfrm>
              <a:off x="3271904" y="2511506"/>
              <a:ext cx="183432" cy="94728"/>
            </a:xfrm>
            <a:custGeom>
              <a:avLst/>
              <a:gdLst>
                <a:gd name="connsiteX0" fmla="*/ 172899 w 183432"/>
                <a:gd name="connsiteY0" fmla="*/ 94729 h 94728"/>
                <a:gd name="connsiteX1" fmla="*/ 130168 w 183432"/>
                <a:gd name="connsiteY1" fmla="*/ 94729 h 94728"/>
                <a:gd name="connsiteX2" fmla="*/ 126645 w 183432"/>
                <a:gd name="connsiteY2" fmla="*/ 91206 h 94728"/>
                <a:gd name="connsiteX3" fmla="*/ 130168 w 183432"/>
                <a:gd name="connsiteY3" fmla="*/ 87683 h 94728"/>
                <a:gd name="connsiteX4" fmla="*/ 172864 w 183432"/>
                <a:gd name="connsiteY4" fmla="*/ 87683 h 94728"/>
                <a:gd name="connsiteX5" fmla="*/ 176387 w 183432"/>
                <a:gd name="connsiteY5" fmla="*/ 84160 h 94728"/>
                <a:gd name="connsiteX6" fmla="*/ 176387 w 183432"/>
                <a:gd name="connsiteY6" fmla="*/ 10568 h 94728"/>
                <a:gd name="connsiteX7" fmla="*/ 172864 w 183432"/>
                <a:gd name="connsiteY7" fmla="*/ 7046 h 94728"/>
                <a:gd name="connsiteX8" fmla="*/ 10568 w 183432"/>
                <a:gd name="connsiteY8" fmla="*/ 7046 h 94728"/>
                <a:gd name="connsiteX9" fmla="*/ 7046 w 183432"/>
                <a:gd name="connsiteY9" fmla="*/ 10568 h 94728"/>
                <a:gd name="connsiteX10" fmla="*/ 7046 w 183432"/>
                <a:gd name="connsiteY10" fmla="*/ 84160 h 94728"/>
                <a:gd name="connsiteX11" fmla="*/ 10568 w 183432"/>
                <a:gd name="connsiteY11" fmla="*/ 87683 h 94728"/>
                <a:gd name="connsiteX12" fmla="*/ 52666 w 183432"/>
                <a:gd name="connsiteY12" fmla="*/ 87683 h 94728"/>
                <a:gd name="connsiteX13" fmla="*/ 56189 w 183432"/>
                <a:gd name="connsiteY13" fmla="*/ 91206 h 94728"/>
                <a:gd name="connsiteX14" fmla="*/ 52666 w 183432"/>
                <a:gd name="connsiteY14" fmla="*/ 94729 h 94728"/>
                <a:gd name="connsiteX15" fmla="*/ 10568 w 183432"/>
                <a:gd name="connsiteY15" fmla="*/ 94729 h 94728"/>
                <a:gd name="connsiteX16" fmla="*/ 0 w 183432"/>
                <a:gd name="connsiteY16" fmla="*/ 84160 h 94728"/>
                <a:gd name="connsiteX17" fmla="*/ 0 w 183432"/>
                <a:gd name="connsiteY17" fmla="*/ 10568 h 94728"/>
                <a:gd name="connsiteX18" fmla="*/ 10568 w 183432"/>
                <a:gd name="connsiteY18" fmla="*/ 0 h 94728"/>
                <a:gd name="connsiteX19" fmla="*/ 172864 w 183432"/>
                <a:gd name="connsiteY19" fmla="*/ 0 h 94728"/>
                <a:gd name="connsiteX20" fmla="*/ 183433 w 183432"/>
                <a:gd name="connsiteY20" fmla="*/ 10568 h 94728"/>
                <a:gd name="connsiteX21" fmla="*/ 183433 w 183432"/>
                <a:gd name="connsiteY21" fmla="*/ 84160 h 94728"/>
                <a:gd name="connsiteX22" fmla="*/ 172899 w 183432"/>
                <a:gd name="connsiteY22" fmla="*/ 94729 h 94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83432" h="94728">
                  <a:moveTo>
                    <a:pt x="172899" y="94729"/>
                  </a:moveTo>
                  <a:lnTo>
                    <a:pt x="130168" y="94729"/>
                  </a:lnTo>
                  <a:cubicBezTo>
                    <a:pt x="128230" y="94729"/>
                    <a:pt x="126645" y="93144"/>
                    <a:pt x="126645" y="91206"/>
                  </a:cubicBezTo>
                  <a:cubicBezTo>
                    <a:pt x="126645" y="89268"/>
                    <a:pt x="128230" y="87683"/>
                    <a:pt x="130168" y="87683"/>
                  </a:cubicBezTo>
                  <a:lnTo>
                    <a:pt x="172864" y="87683"/>
                  </a:lnTo>
                  <a:cubicBezTo>
                    <a:pt x="174802" y="87683"/>
                    <a:pt x="176387" y="86098"/>
                    <a:pt x="176387" y="84160"/>
                  </a:cubicBezTo>
                  <a:lnTo>
                    <a:pt x="176387" y="10568"/>
                  </a:lnTo>
                  <a:cubicBezTo>
                    <a:pt x="176387" y="8631"/>
                    <a:pt x="174802" y="7046"/>
                    <a:pt x="172864" y="7046"/>
                  </a:cubicBezTo>
                  <a:lnTo>
                    <a:pt x="10568" y="7046"/>
                  </a:lnTo>
                  <a:cubicBezTo>
                    <a:pt x="8631" y="7046"/>
                    <a:pt x="7046" y="8631"/>
                    <a:pt x="7046" y="10568"/>
                  </a:cubicBezTo>
                  <a:lnTo>
                    <a:pt x="7046" y="84160"/>
                  </a:lnTo>
                  <a:cubicBezTo>
                    <a:pt x="7046" y="86098"/>
                    <a:pt x="8631" y="87683"/>
                    <a:pt x="10568" y="87683"/>
                  </a:cubicBezTo>
                  <a:lnTo>
                    <a:pt x="52666" y="87683"/>
                  </a:lnTo>
                  <a:cubicBezTo>
                    <a:pt x="54604" y="87683"/>
                    <a:pt x="56189" y="89268"/>
                    <a:pt x="56189" y="91206"/>
                  </a:cubicBezTo>
                  <a:cubicBezTo>
                    <a:pt x="56189" y="93144"/>
                    <a:pt x="54604" y="94729"/>
                    <a:pt x="52666" y="94729"/>
                  </a:cubicBezTo>
                  <a:lnTo>
                    <a:pt x="10568" y="94729"/>
                  </a:lnTo>
                  <a:cubicBezTo>
                    <a:pt x="4756" y="94729"/>
                    <a:pt x="0" y="89973"/>
                    <a:pt x="0" y="84160"/>
                  </a:cubicBezTo>
                  <a:lnTo>
                    <a:pt x="0" y="10568"/>
                  </a:lnTo>
                  <a:cubicBezTo>
                    <a:pt x="0" y="4756"/>
                    <a:pt x="4756" y="0"/>
                    <a:pt x="10568" y="0"/>
                  </a:cubicBezTo>
                  <a:lnTo>
                    <a:pt x="172864" y="0"/>
                  </a:lnTo>
                  <a:cubicBezTo>
                    <a:pt x="178677" y="0"/>
                    <a:pt x="183433" y="4756"/>
                    <a:pt x="183433" y="10568"/>
                  </a:cubicBezTo>
                  <a:lnTo>
                    <a:pt x="183433" y="84160"/>
                  </a:lnTo>
                  <a:cubicBezTo>
                    <a:pt x="183468" y="89973"/>
                    <a:pt x="178712" y="94729"/>
                    <a:pt x="172899" y="94729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903A23D6-0D30-48BF-9165-B22612CF0C2F}"/>
                </a:ext>
              </a:extLst>
            </p:cNvPr>
            <p:cNvSpPr/>
            <p:nvPr/>
          </p:nvSpPr>
          <p:spPr>
            <a:xfrm>
              <a:off x="3342430" y="2574600"/>
              <a:ext cx="41991" cy="59888"/>
            </a:xfrm>
            <a:custGeom>
              <a:avLst/>
              <a:gdLst>
                <a:gd name="connsiteX0" fmla="*/ 20996 w 41991"/>
                <a:gd name="connsiteY0" fmla="*/ 59888 h 59888"/>
                <a:gd name="connsiteX1" fmla="*/ 0 w 41991"/>
                <a:gd name="connsiteY1" fmla="*/ 38892 h 59888"/>
                <a:gd name="connsiteX2" fmla="*/ 0 w 41991"/>
                <a:gd name="connsiteY2" fmla="*/ 10568 h 59888"/>
                <a:gd name="connsiteX3" fmla="*/ 10568 w 41991"/>
                <a:gd name="connsiteY3" fmla="*/ 0 h 59888"/>
                <a:gd name="connsiteX4" fmla="*/ 31423 w 41991"/>
                <a:gd name="connsiteY4" fmla="*/ 0 h 59888"/>
                <a:gd name="connsiteX5" fmla="*/ 41992 w 41991"/>
                <a:gd name="connsiteY5" fmla="*/ 10568 h 59888"/>
                <a:gd name="connsiteX6" fmla="*/ 41992 w 41991"/>
                <a:gd name="connsiteY6" fmla="*/ 38892 h 59888"/>
                <a:gd name="connsiteX7" fmla="*/ 20996 w 41991"/>
                <a:gd name="connsiteY7" fmla="*/ 59888 h 59888"/>
                <a:gd name="connsiteX8" fmla="*/ 10533 w 41991"/>
                <a:gd name="connsiteY8" fmla="*/ 7046 h 59888"/>
                <a:gd name="connsiteX9" fmla="*/ 7010 w 41991"/>
                <a:gd name="connsiteY9" fmla="*/ 10568 h 59888"/>
                <a:gd name="connsiteX10" fmla="*/ 7010 w 41991"/>
                <a:gd name="connsiteY10" fmla="*/ 38892 h 59888"/>
                <a:gd name="connsiteX11" fmla="*/ 20961 w 41991"/>
                <a:gd name="connsiteY11" fmla="*/ 52842 h 59888"/>
                <a:gd name="connsiteX12" fmla="*/ 34911 w 41991"/>
                <a:gd name="connsiteY12" fmla="*/ 38892 h 59888"/>
                <a:gd name="connsiteX13" fmla="*/ 34911 w 41991"/>
                <a:gd name="connsiteY13" fmla="*/ 10568 h 59888"/>
                <a:gd name="connsiteX14" fmla="*/ 31388 w 41991"/>
                <a:gd name="connsiteY14" fmla="*/ 7046 h 59888"/>
                <a:gd name="connsiteX15" fmla="*/ 10533 w 41991"/>
                <a:gd name="connsiteY15" fmla="*/ 7046 h 5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991" h="59888">
                  <a:moveTo>
                    <a:pt x="20996" y="59888"/>
                  </a:moveTo>
                  <a:cubicBezTo>
                    <a:pt x="9406" y="59888"/>
                    <a:pt x="0" y="50447"/>
                    <a:pt x="0" y="38892"/>
                  </a:cubicBezTo>
                  <a:lnTo>
                    <a:pt x="0" y="10568"/>
                  </a:lnTo>
                  <a:cubicBezTo>
                    <a:pt x="0" y="4756"/>
                    <a:pt x="4756" y="0"/>
                    <a:pt x="10568" y="0"/>
                  </a:cubicBezTo>
                  <a:lnTo>
                    <a:pt x="31423" y="0"/>
                  </a:lnTo>
                  <a:cubicBezTo>
                    <a:pt x="37236" y="0"/>
                    <a:pt x="41992" y="4756"/>
                    <a:pt x="41992" y="10568"/>
                  </a:cubicBezTo>
                  <a:lnTo>
                    <a:pt x="41992" y="38892"/>
                  </a:lnTo>
                  <a:cubicBezTo>
                    <a:pt x="41992" y="50447"/>
                    <a:pt x="32551" y="59888"/>
                    <a:pt x="20996" y="59888"/>
                  </a:cubicBezTo>
                  <a:close/>
                  <a:moveTo>
                    <a:pt x="10533" y="7046"/>
                  </a:moveTo>
                  <a:cubicBezTo>
                    <a:pt x="8596" y="7046"/>
                    <a:pt x="7010" y="8631"/>
                    <a:pt x="7010" y="10568"/>
                  </a:cubicBezTo>
                  <a:lnTo>
                    <a:pt x="7010" y="38892"/>
                  </a:lnTo>
                  <a:cubicBezTo>
                    <a:pt x="7010" y="46607"/>
                    <a:pt x="13281" y="52842"/>
                    <a:pt x="20961" y="52842"/>
                  </a:cubicBezTo>
                  <a:cubicBezTo>
                    <a:pt x="28640" y="52842"/>
                    <a:pt x="34911" y="46572"/>
                    <a:pt x="34911" y="38892"/>
                  </a:cubicBezTo>
                  <a:lnTo>
                    <a:pt x="34911" y="10568"/>
                  </a:lnTo>
                  <a:cubicBezTo>
                    <a:pt x="34911" y="8631"/>
                    <a:pt x="33326" y="7046"/>
                    <a:pt x="31388" y="7046"/>
                  </a:cubicBezTo>
                  <a:lnTo>
                    <a:pt x="10533" y="7046"/>
                  </a:ln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9AA2869C-B36C-4285-BFC5-FDEDB1713280}"/>
                </a:ext>
              </a:extLst>
            </p:cNvPr>
            <p:cNvSpPr/>
            <p:nvPr/>
          </p:nvSpPr>
          <p:spPr>
            <a:xfrm>
              <a:off x="3335420" y="2490334"/>
              <a:ext cx="56224" cy="24871"/>
            </a:xfrm>
            <a:custGeom>
              <a:avLst/>
              <a:gdLst>
                <a:gd name="connsiteX0" fmla="*/ 52701 w 56224"/>
                <a:gd name="connsiteY0" fmla="*/ 24871 h 24871"/>
                <a:gd name="connsiteX1" fmla="*/ 49178 w 56224"/>
                <a:gd name="connsiteY1" fmla="*/ 21348 h 24871"/>
                <a:gd name="connsiteX2" fmla="*/ 49178 w 56224"/>
                <a:gd name="connsiteY2" fmla="*/ 10568 h 24871"/>
                <a:gd name="connsiteX3" fmla="*/ 45656 w 56224"/>
                <a:gd name="connsiteY3" fmla="*/ 7046 h 24871"/>
                <a:gd name="connsiteX4" fmla="*/ 10568 w 56224"/>
                <a:gd name="connsiteY4" fmla="*/ 7046 h 24871"/>
                <a:gd name="connsiteX5" fmla="*/ 7046 w 56224"/>
                <a:gd name="connsiteY5" fmla="*/ 10568 h 24871"/>
                <a:gd name="connsiteX6" fmla="*/ 7046 w 56224"/>
                <a:gd name="connsiteY6" fmla="*/ 21137 h 24871"/>
                <a:gd name="connsiteX7" fmla="*/ 3523 w 56224"/>
                <a:gd name="connsiteY7" fmla="*/ 24660 h 24871"/>
                <a:gd name="connsiteX8" fmla="*/ 0 w 56224"/>
                <a:gd name="connsiteY8" fmla="*/ 21137 h 24871"/>
                <a:gd name="connsiteX9" fmla="*/ 0 w 56224"/>
                <a:gd name="connsiteY9" fmla="*/ 10568 h 24871"/>
                <a:gd name="connsiteX10" fmla="*/ 10568 w 56224"/>
                <a:gd name="connsiteY10" fmla="*/ 0 h 24871"/>
                <a:gd name="connsiteX11" fmla="*/ 45656 w 56224"/>
                <a:gd name="connsiteY11" fmla="*/ 0 h 24871"/>
                <a:gd name="connsiteX12" fmla="*/ 56224 w 56224"/>
                <a:gd name="connsiteY12" fmla="*/ 10568 h 24871"/>
                <a:gd name="connsiteX13" fmla="*/ 56224 w 56224"/>
                <a:gd name="connsiteY13" fmla="*/ 21348 h 24871"/>
                <a:gd name="connsiteX14" fmla="*/ 52701 w 56224"/>
                <a:gd name="connsiteY14" fmla="*/ 24871 h 2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224" h="24871">
                  <a:moveTo>
                    <a:pt x="52701" y="24871"/>
                  </a:moveTo>
                  <a:cubicBezTo>
                    <a:pt x="50764" y="24871"/>
                    <a:pt x="49178" y="23286"/>
                    <a:pt x="49178" y="21348"/>
                  </a:cubicBezTo>
                  <a:lnTo>
                    <a:pt x="49178" y="10568"/>
                  </a:lnTo>
                  <a:cubicBezTo>
                    <a:pt x="49178" y="8631"/>
                    <a:pt x="47593" y="7046"/>
                    <a:pt x="45656" y="7046"/>
                  </a:cubicBezTo>
                  <a:lnTo>
                    <a:pt x="10568" y="7046"/>
                  </a:lnTo>
                  <a:cubicBezTo>
                    <a:pt x="8631" y="7046"/>
                    <a:pt x="7046" y="8631"/>
                    <a:pt x="7046" y="10568"/>
                  </a:cubicBezTo>
                  <a:lnTo>
                    <a:pt x="7046" y="21137"/>
                  </a:lnTo>
                  <a:cubicBezTo>
                    <a:pt x="7046" y="23075"/>
                    <a:pt x="5460" y="24660"/>
                    <a:pt x="3523" y="24660"/>
                  </a:cubicBezTo>
                  <a:cubicBezTo>
                    <a:pt x="1585" y="24660"/>
                    <a:pt x="0" y="23075"/>
                    <a:pt x="0" y="21137"/>
                  </a:cubicBezTo>
                  <a:lnTo>
                    <a:pt x="0" y="10568"/>
                  </a:lnTo>
                  <a:cubicBezTo>
                    <a:pt x="0" y="4756"/>
                    <a:pt x="4756" y="0"/>
                    <a:pt x="10568" y="0"/>
                  </a:cubicBezTo>
                  <a:lnTo>
                    <a:pt x="45656" y="0"/>
                  </a:lnTo>
                  <a:cubicBezTo>
                    <a:pt x="51468" y="0"/>
                    <a:pt x="56224" y="4756"/>
                    <a:pt x="56224" y="10568"/>
                  </a:cubicBezTo>
                  <a:lnTo>
                    <a:pt x="56224" y="21348"/>
                  </a:lnTo>
                  <a:cubicBezTo>
                    <a:pt x="56224" y="23321"/>
                    <a:pt x="54639" y="24871"/>
                    <a:pt x="52701" y="2487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</p:grp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3114B05F-DF10-4821-9794-4D56E3196C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53670" y="2295010"/>
            <a:ext cx="260711" cy="338924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19A64369-B792-47E7-8F2E-DE1BAA0989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49846" y="2876364"/>
            <a:ext cx="260711" cy="338924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F5E51BAE-A49D-4E4F-BED1-0CD7B3E75DA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10871" y="2876364"/>
            <a:ext cx="260711" cy="338924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7587F3B0-6136-4D9B-83B4-B32B6040E80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63898" y="3462907"/>
            <a:ext cx="260711" cy="338924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2B4C3633-BDAF-4C55-B2F2-0AC37326025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63693" y="3462907"/>
            <a:ext cx="260711" cy="338924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7E194B98-1C51-42DC-8827-65BE26F5A04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364105" y="3462907"/>
            <a:ext cx="260711" cy="338924"/>
          </a:xfrm>
          <a:prstGeom prst="rect">
            <a:avLst/>
          </a:prstGeom>
        </p:spPr>
      </p:pic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7E163C46-859A-4F03-B2CD-60778F26FC5B}"/>
              </a:ext>
            </a:extLst>
          </p:cNvPr>
          <p:cNvGrpSpPr/>
          <p:nvPr/>
        </p:nvGrpSpPr>
        <p:grpSpPr>
          <a:xfrm>
            <a:off x="8800934" y="4106760"/>
            <a:ext cx="260711" cy="338922"/>
            <a:chOff x="1963982" y="4441248"/>
            <a:chExt cx="261120" cy="339454"/>
          </a:xfrm>
          <a:solidFill>
            <a:srgbClr val="696E82"/>
          </a:solidFill>
        </p:grpSpPr>
        <p:sp>
          <p:nvSpPr>
            <p:cNvPr id="51" name="Полилиния: фигура 4">
              <a:extLst>
                <a:ext uri="{FF2B5EF4-FFF2-40B4-BE49-F238E27FC236}">
                  <a16:creationId xmlns:a16="http://schemas.microsoft.com/office/drawing/2014/main" id="{33D066D2-F48B-41EB-B989-10570B252602}"/>
                </a:ext>
              </a:extLst>
            </p:cNvPr>
            <p:cNvSpPr/>
            <p:nvPr/>
          </p:nvSpPr>
          <p:spPr>
            <a:xfrm>
              <a:off x="2029262" y="4506527"/>
              <a:ext cx="13056" cy="26111"/>
            </a:xfrm>
            <a:custGeom>
              <a:avLst/>
              <a:gdLst>
                <a:gd name="connsiteX0" fmla="*/ 13056 w 13056"/>
                <a:gd name="connsiteY0" fmla="*/ 26112 h 26111"/>
                <a:gd name="connsiteX1" fmla="*/ 0 w 13056"/>
                <a:gd name="connsiteY1" fmla="*/ 13056 h 26111"/>
                <a:gd name="connsiteX2" fmla="*/ 13056 w 13056"/>
                <a:gd name="connsiteY2" fmla="*/ 0 h 26111"/>
                <a:gd name="connsiteX3" fmla="*/ 13056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13056" y="26112"/>
                  </a:moveTo>
                  <a:cubicBezTo>
                    <a:pt x="5875" y="26112"/>
                    <a:pt x="0" y="20302"/>
                    <a:pt x="0" y="13056"/>
                  </a:cubicBezTo>
                  <a:cubicBezTo>
                    <a:pt x="0" y="5875"/>
                    <a:pt x="5875" y="0"/>
                    <a:pt x="13056" y="0"/>
                  </a:cubicBezTo>
                  <a:lnTo>
                    <a:pt x="13056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52" name="Полилиния: фигура 6">
              <a:extLst>
                <a:ext uri="{FF2B5EF4-FFF2-40B4-BE49-F238E27FC236}">
                  <a16:creationId xmlns:a16="http://schemas.microsoft.com/office/drawing/2014/main" id="{25D9E46D-6272-40FC-9C82-DF015BFCD02C}"/>
                </a:ext>
              </a:extLst>
            </p:cNvPr>
            <p:cNvSpPr/>
            <p:nvPr/>
          </p:nvSpPr>
          <p:spPr>
            <a:xfrm>
              <a:off x="2146766" y="4506527"/>
              <a:ext cx="13056" cy="26111"/>
            </a:xfrm>
            <a:custGeom>
              <a:avLst/>
              <a:gdLst>
                <a:gd name="connsiteX0" fmla="*/ 0 w 13056"/>
                <a:gd name="connsiteY0" fmla="*/ 26112 h 26111"/>
                <a:gd name="connsiteX1" fmla="*/ 13056 w 13056"/>
                <a:gd name="connsiteY1" fmla="*/ 13056 h 26111"/>
                <a:gd name="connsiteX2" fmla="*/ 0 w 13056"/>
                <a:gd name="connsiteY2" fmla="*/ 0 h 26111"/>
                <a:gd name="connsiteX3" fmla="*/ 0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0" y="26112"/>
                  </a:moveTo>
                  <a:cubicBezTo>
                    <a:pt x="7181" y="26112"/>
                    <a:pt x="13056" y="20302"/>
                    <a:pt x="13056" y="13056"/>
                  </a:cubicBezTo>
                  <a:cubicBezTo>
                    <a:pt x="13056" y="5875"/>
                    <a:pt x="7181" y="0"/>
                    <a:pt x="0" y="0"/>
                  </a:cubicBezTo>
                  <a:lnTo>
                    <a:pt x="0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53" name="Полилиния: фигура 7">
              <a:extLst>
                <a:ext uri="{FF2B5EF4-FFF2-40B4-BE49-F238E27FC236}">
                  <a16:creationId xmlns:a16="http://schemas.microsoft.com/office/drawing/2014/main" id="{C7CFA364-55AE-4A91-A0F3-62D55C27E680}"/>
                </a:ext>
              </a:extLst>
            </p:cNvPr>
            <p:cNvSpPr/>
            <p:nvPr/>
          </p:nvSpPr>
          <p:spPr>
            <a:xfrm>
              <a:off x="2035790" y="4441248"/>
              <a:ext cx="117504" cy="143615"/>
            </a:xfrm>
            <a:custGeom>
              <a:avLst/>
              <a:gdLst>
                <a:gd name="connsiteX0" fmla="*/ 58752 w 117504"/>
                <a:gd name="connsiteY0" fmla="*/ 143616 h 143615"/>
                <a:gd name="connsiteX1" fmla="*/ 0 w 117504"/>
                <a:gd name="connsiteY1" fmla="*/ 58752 h 143615"/>
                <a:gd name="connsiteX2" fmla="*/ 58752 w 117504"/>
                <a:gd name="connsiteY2" fmla="*/ 0 h 143615"/>
                <a:gd name="connsiteX3" fmla="*/ 117504 w 117504"/>
                <a:gd name="connsiteY3" fmla="*/ 58752 h 143615"/>
                <a:gd name="connsiteX4" fmla="*/ 58752 w 117504"/>
                <a:gd name="connsiteY4" fmla="*/ 143616 h 143615"/>
                <a:gd name="connsiteX5" fmla="*/ 58752 w 117504"/>
                <a:gd name="connsiteY5" fmla="*/ 13056 h 143615"/>
                <a:gd name="connsiteX6" fmla="*/ 13056 w 117504"/>
                <a:gd name="connsiteY6" fmla="*/ 58752 h 143615"/>
                <a:gd name="connsiteX7" fmla="*/ 58752 w 117504"/>
                <a:gd name="connsiteY7" fmla="*/ 130560 h 143615"/>
                <a:gd name="connsiteX8" fmla="*/ 104448 w 117504"/>
                <a:gd name="connsiteY8" fmla="*/ 58752 h 143615"/>
                <a:gd name="connsiteX9" fmla="*/ 58752 w 117504"/>
                <a:gd name="connsiteY9" fmla="*/ 13056 h 14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4" h="143615">
                  <a:moveTo>
                    <a:pt x="58752" y="143616"/>
                  </a:moveTo>
                  <a:cubicBezTo>
                    <a:pt x="24219" y="143616"/>
                    <a:pt x="0" y="88585"/>
                    <a:pt x="0" y="58752"/>
                  </a:cubicBezTo>
                  <a:cubicBezTo>
                    <a:pt x="0" y="26373"/>
                    <a:pt x="26373" y="0"/>
                    <a:pt x="58752" y="0"/>
                  </a:cubicBezTo>
                  <a:cubicBezTo>
                    <a:pt x="91131" y="0"/>
                    <a:pt x="117504" y="26373"/>
                    <a:pt x="117504" y="58752"/>
                  </a:cubicBezTo>
                  <a:cubicBezTo>
                    <a:pt x="117504" y="88585"/>
                    <a:pt x="93285" y="143616"/>
                    <a:pt x="58752" y="143616"/>
                  </a:cubicBezTo>
                  <a:close/>
                  <a:moveTo>
                    <a:pt x="58752" y="13056"/>
                  </a:moveTo>
                  <a:cubicBezTo>
                    <a:pt x="33554" y="13056"/>
                    <a:pt x="13056" y="33554"/>
                    <a:pt x="13056" y="58752"/>
                  </a:cubicBezTo>
                  <a:cubicBezTo>
                    <a:pt x="13056" y="85778"/>
                    <a:pt x="35186" y="130560"/>
                    <a:pt x="58752" y="130560"/>
                  </a:cubicBezTo>
                  <a:cubicBezTo>
                    <a:pt x="82318" y="130560"/>
                    <a:pt x="104448" y="85778"/>
                    <a:pt x="104448" y="58752"/>
                  </a:cubicBezTo>
                  <a:cubicBezTo>
                    <a:pt x="104448" y="33554"/>
                    <a:pt x="83950" y="13056"/>
                    <a:pt x="5875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54" name="Полилиния: фигура 8">
              <a:extLst>
                <a:ext uri="{FF2B5EF4-FFF2-40B4-BE49-F238E27FC236}">
                  <a16:creationId xmlns:a16="http://schemas.microsoft.com/office/drawing/2014/main" id="{DA49A8C4-FB29-43EB-BAAC-37BD0E34CC16}"/>
                </a:ext>
              </a:extLst>
            </p:cNvPr>
            <p:cNvSpPr/>
            <p:nvPr/>
          </p:nvSpPr>
          <p:spPr>
            <a:xfrm>
              <a:off x="2087997" y="4480464"/>
              <a:ext cx="63687" cy="28282"/>
            </a:xfrm>
            <a:custGeom>
              <a:avLst/>
              <a:gdLst>
                <a:gd name="connsiteX0" fmla="*/ 43558 w 63687"/>
                <a:gd name="connsiteY0" fmla="*/ 28282 h 28282"/>
                <a:gd name="connsiteX1" fmla="*/ 1909 w 63687"/>
                <a:gd name="connsiteY1" fmla="*/ 11114 h 28282"/>
                <a:gd name="connsiteX2" fmla="*/ 1909 w 63687"/>
                <a:gd name="connsiteY2" fmla="*/ 1909 h 28282"/>
                <a:gd name="connsiteX3" fmla="*/ 11114 w 63687"/>
                <a:gd name="connsiteY3" fmla="*/ 1909 h 28282"/>
                <a:gd name="connsiteX4" fmla="*/ 55439 w 63687"/>
                <a:gd name="connsiteY4" fmla="*/ 13725 h 28282"/>
                <a:gd name="connsiteX5" fmla="*/ 63468 w 63687"/>
                <a:gd name="connsiteY5" fmla="*/ 18295 h 28282"/>
                <a:gd name="connsiteX6" fmla="*/ 58899 w 63687"/>
                <a:gd name="connsiteY6" fmla="*/ 26324 h 28282"/>
                <a:gd name="connsiteX7" fmla="*/ 43558 w 63687"/>
                <a:gd name="connsiteY7" fmla="*/ 28282 h 28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687" h="28282">
                  <a:moveTo>
                    <a:pt x="43558" y="28282"/>
                  </a:moveTo>
                  <a:cubicBezTo>
                    <a:pt x="28152" y="28282"/>
                    <a:pt x="13072" y="22211"/>
                    <a:pt x="1909" y="11114"/>
                  </a:cubicBezTo>
                  <a:cubicBezTo>
                    <a:pt x="-636" y="8568"/>
                    <a:pt x="-636" y="4455"/>
                    <a:pt x="1909" y="1909"/>
                  </a:cubicBezTo>
                  <a:cubicBezTo>
                    <a:pt x="4455" y="-636"/>
                    <a:pt x="8568" y="-636"/>
                    <a:pt x="11114" y="1909"/>
                  </a:cubicBezTo>
                  <a:cubicBezTo>
                    <a:pt x="22668" y="13464"/>
                    <a:pt x="39641" y="17968"/>
                    <a:pt x="55439" y="13725"/>
                  </a:cubicBezTo>
                  <a:cubicBezTo>
                    <a:pt x="58899" y="12746"/>
                    <a:pt x="62489" y="14835"/>
                    <a:pt x="63468" y="18295"/>
                  </a:cubicBezTo>
                  <a:cubicBezTo>
                    <a:pt x="64382" y="21754"/>
                    <a:pt x="62359" y="25345"/>
                    <a:pt x="58899" y="26324"/>
                  </a:cubicBezTo>
                  <a:cubicBezTo>
                    <a:pt x="53872" y="27630"/>
                    <a:pt x="48715" y="28282"/>
                    <a:pt x="43558" y="2828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55" name="Полилиния: фигура 9">
              <a:extLst>
                <a:ext uri="{FF2B5EF4-FFF2-40B4-BE49-F238E27FC236}">
                  <a16:creationId xmlns:a16="http://schemas.microsoft.com/office/drawing/2014/main" id="{B5B40C44-C7B6-4C3E-AD93-EED84D092FEC}"/>
                </a:ext>
              </a:extLst>
            </p:cNvPr>
            <p:cNvSpPr/>
            <p:nvPr/>
          </p:nvSpPr>
          <p:spPr>
            <a:xfrm>
              <a:off x="2068430" y="4480415"/>
              <a:ext cx="32640" cy="13055"/>
            </a:xfrm>
            <a:custGeom>
              <a:avLst/>
              <a:gdLst>
                <a:gd name="connsiteX0" fmla="*/ 26112 w 32640"/>
                <a:gd name="connsiteY0" fmla="*/ 13056 h 13055"/>
                <a:gd name="connsiteX1" fmla="*/ 6528 w 32640"/>
                <a:gd name="connsiteY1" fmla="*/ 13056 h 13055"/>
                <a:gd name="connsiteX2" fmla="*/ 0 w 32640"/>
                <a:gd name="connsiteY2" fmla="*/ 6528 h 13055"/>
                <a:gd name="connsiteX3" fmla="*/ 6528 w 32640"/>
                <a:gd name="connsiteY3" fmla="*/ 0 h 13055"/>
                <a:gd name="connsiteX4" fmla="*/ 26112 w 32640"/>
                <a:gd name="connsiteY4" fmla="*/ 0 h 13055"/>
                <a:gd name="connsiteX5" fmla="*/ 32640 w 32640"/>
                <a:gd name="connsiteY5" fmla="*/ 6528 h 13055"/>
                <a:gd name="connsiteX6" fmla="*/ 26112 w 32640"/>
                <a:gd name="connsiteY6" fmla="*/ 13056 h 13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40" h="13055">
                  <a:moveTo>
                    <a:pt x="26112" y="13056"/>
                  </a:moveTo>
                  <a:lnTo>
                    <a:pt x="6528" y="13056"/>
                  </a:lnTo>
                  <a:cubicBezTo>
                    <a:pt x="2938" y="13056"/>
                    <a:pt x="0" y="10118"/>
                    <a:pt x="0" y="6528"/>
                  </a:cubicBezTo>
                  <a:cubicBezTo>
                    <a:pt x="0" y="2938"/>
                    <a:pt x="2938" y="0"/>
                    <a:pt x="6528" y="0"/>
                  </a:cubicBezTo>
                  <a:lnTo>
                    <a:pt x="26112" y="0"/>
                  </a:lnTo>
                  <a:cubicBezTo>
                    <a:pt x="29702" y="0"/>
                    <a:pt x="32640" y="2938"/>
                    <a:pt x="32640" y="6528"/>
                  </a:cubicBezTo>
                  <a:cubicBezTo>
                    <a:pt x="32640" y="10118"/>
                    <a:pt x="29702" y="13056"/>
                    <a:pt x="2611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56" name="Полилиния: фигура 10">
              <a:extLst>
                <a:ext uri="{FF2B5EF4-FFF2-40B4-BE49-F238E27FC236}">
                  <a16:creationId xmlns:a16="http://schemas.microsoft.com/office/drawing/2014/main" id="{90BE4C21-54A4-40AC-866F-D4F17F3BD23B}"/>
                </a:ext>
              </a:extLst>
            </p:cNvPr>
            <p:cNvSpPr/>
            <p:nvPr/>
          </p:nvSpPr>
          <p:spPr>
            <a:xfrm>
              <a:off x="1963982" y="4600772"/>
              <a:ext cx="261120" cy="179930"/>
            </a:xfrm>
            <a:custGeom>
              <a:avLst/>
              <a:gdLst>
                <a:gd name="connsiteX0" fmla="*/ 241536 w 261120"/>
                <a:gd name="connsiteY0" fmla="*/ 179931 h 179930"/>
                <a:gd name="connsiteX1" fmla="*/ 19584 w 261120"/>
                <a:gd name="connsiteY1" fmla="*/ 179931 h 179930"/>
                <a:gd name="connsiteX2" fmla="*/ 0 w 261120"/>
                <a:gd name="connsiteY2" fmla="*/ 160347 h 179930"/>
                <a:gd name="connsiteX3" fmla="*/ 0 w 261120"/>
                <a:gd name="connsiteY3" fmla="*/ 68825 h 179930"/>
                <a:gd name="connsiteX4" fmla="*/ 44390 w 261120"/>
                <a:gd name="connsiteY4" fmla="*/ 9747 h 179930"/>
                <a:gd name="connsiteX5" fmla="*/ 77030 w 261120"/>
                <a:gd name="connsiteY5" fmla="*/ 281 h 179930"/>
                <a:gd name="connsiteX6" fmla="*/ 85125 w 261120"/>
                <a:gd name="connsiteY6" fmla="*/ 4720 h 179930"/>
                <a:gd name="connsiteX7" fmla="*/ 80686 w 261120"/>
                <a:gd name="connsiteY7" fmla="*/ 12815 h 179930"/>
                <a:gd name="connsiteX8" fmla="*/ 48046 w 261120"/>
                <a:gd name="connsiteY8" fmla="*/ 22280 h 179930"/>
                <a:gd name="connsiteX9" fmla="*/ 13056 w 261120"/>
                <a:gd name="connsiteY9" fmla="*/ 68825 h 179930"/>
                <a:gd name="connsiteX10" fmla="*/ 13056 w 261120"/>
                <a:gd name="connsiteY10" fmla="*/ 160347 h 179930"/>
                <a:gd name="connsiteX11" fmla="*/ 19584 w 261120"/>
                <a:gd name="connsiteY11" fmla="*/ 166875 h 179930"/>
                <a:gd name="connsiteX12" fmla="*/ 241536 w 261120"/>
                <a:gd name="connsiteY12" fmla="*/ 166875 h 179930"/>
                <a:gd name="connsiteX13" fmla="*/ 248064 w 261120"/>
                <a:gd name="connsiteY13" fmla="*/ 160347 h 179930"/>
                <a:gd name="connsiteX14" fmla="*/ 248064 w 261120"/>
                <a:gd name="connsiteY14" fmla="*/ 69282 h 179930"/>
                <a:gd name="connsiteX15" fmla="*/ 213531 w 261120"/>
                <a:gd name="connsiteY15" fmla="*/ 22933 h 179930"/>
                <a:gd name="connsiteX16" fmla="*/ 179455 w 261120"/>
                <a:gd name="connsiteY16" fmla="*/ 12749 h 179930"/>
                <a:gd name="connsiteX17" fmla="*/ 175081 w 261120"/>
                <a:gd name="connsiteY17" fmla="*/ 4655 h 179930"/>
                <a:gd name="connsiteX18" fmla="*/ 183176 w 261120"/>
                <a:gd name="connsiteY18" fmla="*/ 281 h 179930"/>
                <a:gd name="connsiteX19" fmla="*/ 217252 w 261120"/>
                <a:gd name="connsiteY19" fmla="*/ 10465 h 179930"/>
                <a:gd name="connsiteX20" fmla="*/ 261120 w 261120"/>
                <a:gd name="connsiteY20" fmla="*/ 69347 h 179930"/>
                <a:gd name="connsiteX21" fmla="*/ 261120 w 261120"/>
                <a:gd name="connsiteY21" fmla="*/ 160347 h 179930"/>
                <a:gd name="connsiteX22" fmla="*/ 241536 w 261120"/>
                <a:gd name="connsiteY22" fmla="*/ 179931 h 17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120" h="179930">
                  <a:moveTo>
                    <a:pt x="241536" y="179931"/>
                  </a:moveTo>
                  <a:lnTo>
                    <a:pt x="19584" y="179931"/>
                  </a:lnTo>
                  <a:cubicBezTo>
                    <a:pt x="8813" y="179931"/>
                    <a:pt x="0" y="171118"/>
                    <a:pt x="0" y="160347"/>
                  </a:cubicBezTo>
                  <a:lnTo>
                    <a:pt x="0" y="68825"/>
                  </a:lnTo>
                  <a:cubicBezTo>
                    <a:pt x="0" y="41603"/>
                    <a:pt x="18278" y="17319"/>
                    <a:pt x="44390" y="9747"/>
                  </a:cubicBezTo>
                  <a:lnTo>
                    <a:pt x="77030" y="281"/>
                  </a:lnTo>
                  <a:cubicBezTo>
                    <a:pt x="80490" y="-698"/>
                    <a:pt x="84146" y="1260"/>
                    <a:pt x="85125" y="4720"/>
                  </a:cubicBezTo>
                  <a:cubicBezTo>
                    <a:pt x="86104" y="8180"/>
                    <a:pt x="84146" y="11835"/>
                    <a:pt x="80686" y="12815"/>
                  </a:cubicBezTo>
                  <a:lnTo>
                    <a:pt x="48046" y="22280"/>
                  </a:lnTo>
                  <a:cubicBezTo>
                    <a:pt x="27418" y="28221"/>
                    <a:pt x="13056" y="47348"/>
                    <a:pt x="13056" y="68825"/>
                  </a:cubicBezTo>
                  <a:lnTo>
                    <a:pt x="13056" y="160347"/>
                  </a:lnTo>
                  <a:cubicBezTo>
                    <a:pt x="13056" y="163937"/>
                    <a:pt x="15994" y="166875"/>
                    <a:pt x="19584" y="166875"/>
                  </a:cubicBezTo>
                  <a:lnTo>
                    <a:pt x="241536" y="166875"/>
                  </a:lnTo>
                  <a:cubicBezTo>
                    <a:pt x="245126" y="166875"/>
                    <a:pt x="248064" y="163937"/>
                    <a:pt x="248064" y="160347"/>
                  </a:cubicBezTo>
                  <a:lnTo>
                    <a:pt x="248064" y="69282"/>
                  </a:lnTo>
                  <a:cubicBezTo>
                    <a:pt x="248064" y="48066"/>
                    <a:pt x="233898" y="29004"/>
                    <a:pt x="213531" y="22933"/>
                  </a:cubicBezTo>
                  <a:lnTo>
                    <a:pt x="179455" y="12749"/>
                  </a:lnTo>
                  <a:cubicBezTo>
                    <a:pt x="175995" y="11705"/>
                    <a:pt x="174036" y="8115"/>
                    <a:pt x="175081" y="4655"/>
                  </a:cubicBezTo>
                  <a:cubicBezTo>
                    <a:pt x="176125" y="1195"/>
                    <a:pt x="179716" y="-764"/>
                    <a:pt x="183176" y="281"/>
                  </a:cubicBezTo>
                  <a:lnTo>
                    <a:pt x="217252" y="10465"/>
                  </a:lnTo>
                  <a:cubicBezTo>
                    <a:pt x="243103" y="18168"/>
                    <a:pt x="261120" y="42386"/>
                    <a:pt x="261120" y="69347"/>
                  </a:cubicBezTo>
                  <a:lnTo>
                    <a:pt x="261120" y="160347"/>
                  </a:lnTo>
                  <a:cubicBezTo>
                    <a:pt x="261120" y="171118"/>
                    <a:pt x="252307" y="179931"/>
                    <a:pt x="241536" y="179931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grpSp>
          <p:nvGrpSpPr>
            <p:cNvPr id="57" name="Рисунок 79">
              <a:extLst>
                <a:ext uri="{FF2B5EF4-FFF2-40B4-BE49-F238E27FC236}">
                  <a16:creationId xmlns:a16="http://schemas.microsoft.com/office/drawing/2014/main" id="{BED9F0E7-22D0-4D1F-A413-E55436FA831B}"/>
                </a:ext>
              </a:extLst>
            </p:cNvPr>
            <p:cNvGrpSpPr/>
            <p:nvPr/>
          </p:nvGrpSpPr>
          <p:grpSpPr>
            <a:xfrm>
              <a:off x="2065918" y="4637535"/>
              <a:ext cx="57181" cy="104064"/>
              <a:chOff x="2065918" y="4637535"/>
              <a:chExt cx="57181" cy="104064"/>
            </a:xfrm>
            <a:grpFill/>
          </p:grpSpPr>
          <p:sp>
            <p:nvSpPr>
              <p:cNvPr id="62" name="Полилиния: фигура 12">
                <a:extLst>
                  <a:ext uri="{FF2B5EF4-FFF2-40B4-BE49-F238E27FC236}">
                    <a16:creationId xmlns:a16="http://schemas.microsoft.com/office/drawing/2014/main" id="{D614181B-6825-449C-9E58-5C6C5A7C7ADE}"/>
                  </a:ext>
                </a:extLst>
              </p:cNvPr>
              <p:cNvSpPr/>
              <p:nvPr/>
            </p:nvSpPr>
            <p:spPr>
              <a:xfrm>
                <a:off x="2065918" y="4651560"/>
                <a:ext cx="57181" cy="90039"/>
              </a:xfrm>
              <a:custGeom>
                <a:avLst/>
                <a:gdLst>
                  <a:gd name="connsiteX0" fmla="*/ 28623 w 57181"/>
                  <a:gd name="connsiteY0" fmla="*/ 90040 h 90039"/>
                  <a:gd name="connsiteX1" fmla="*/ 24380 w 57181"/>
                  <a:gd name="connsiteY1" fmla="*/ 88473 h 90039"/>
                  <a:gd name="connsiteX2" fmla="*/ 2250 w 57181"/>
                  <a:gd name="connsiteY2" fmla="*/ 69346 h 90039"/>
                  <a:gd name="connsiteX3" fmla="*/ 227 w 57181"/>
                  <a:gd name="connsiteY3" fmla="*/ 62753 h 90039"/>
                  <a:gd name="connsiteX4" fmla="*/ 15502 w 57181"/>
                  <a:gd name="connsiteY4" fmla="*/ 4850 h 90039"/>
                  <a:gd name="connsiteX5" fmla="*/ 23466 w 57181"/>
                  <a:gd name="connsiteY5" fmla="*/ 215 h 90039"/>
                  <a:gd name="connsiteX6" fmla="*/ 28101 w 57181"/>
                  <a:gd name="connsiteY6" fmla="*/ 8179 h 90039"/>
                  <a:gd name="connsiteX7" fmla="*/ 13870 w 57181"/>
                  <a:gd name="connsiteY7" fmla="*/ 62165 h 90039"/>
                  <a:gd name="connsiteX8" fmla="*/ 28623 w 57181"/>
                  <a:gd name="connsiteY8" fmla="*/ 74895 h 90039"/>
                  <a:gd name="connsiteX9" fmla="*/ 43311 w 57181"/>
                  <a:gd name="connsiteY9" fmla="*/ 62165 h 90039"/>
                  <a:gd name="connsiteX10" fmla="*/ 29080 w 57181"/>
                  <a:gd name="connsiteY10" fmla="*/ 8179 h 90039"/>
                  <a:gd name="connsiteX11" fmla="*/ 33715 w 57181"/>
                  <a:gd name="connsiteY11" fmla="*/ 215 h 90039"/>
                  <a:gd name="connsiteX12" fmla="*/ 41679 w 57181"/>
                  <a:gd name="connsiteY12" fmla="*/ 4850 h 90039"/>
                  <a:gd name="connsiteX13" fmla="*/ 56955 w 57181"/>
                  <a:gd name="connsiteY13" fmla="*/ 62753 h 90039"/>
                  <a:gd name="connsiteX14" fmla="*/ 54931 w 57181"/>
                  <a:gd name="connsiteY14" fmla="*/ 69346 h 90039"/>
                  <a:gd name="connsiteX15" fmla="*/ 32867 w 57181"/>
                  <a:gd name="connsiteY15" fmla="*/ 88473 h 90039"/>
                  <a:gd name="connsiteX16" fmla="*/ 28623 w 57181"/>
                  <a:gd name="connsiteY16" fmla="*/ 90040 h 9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7181" h="90039">
                    <a:moveTo>
                      <a:pt x="28623" y="90040"/>
                    </a:moveTo>
                    <a:cubicBezTo>
                      <a:pt x="27122" y="90040"/>
                      <a:pt x="25555" y="89518"/>
                      <a:pt x="24380" y="88473"/>
                    </a:cubicBezTo>
                    <a:lnTo>
                      <a:pt x="2250" y="69346"/>
                    </a:lnTo>
                    <a:cubicBezTo>
                      <a:pt x="357" y="67714"/>
                      <a:pt x="-426" y="65168"/>
                      <a:pt x="227" y="62753"/>
                    </a:cubicBezTo>
                    <a:lnTo>
                      <a:pt x="15502" y="4850"/>
                    </a:lnTo>
                    <a:cubicBezTo>
                      <a:pt x="16416" y="1390"/>
                      <a:pt x="20006" y="-699"/>
                      <a:pt x="23466" y="215"/>
                    </a:cubicBezTo>
                    <a:cubicBezTo>
                      <a:pt x="26926" y="1129"/>
                      <a:pt x="29015" y="4719"/>
                      <a:pt x="28101" y="8179"/>
                    </a:cubicBezTo>
                    <a:lnTo>
                      <a:pt x="13870" y="62165"/>
                    </a:lnTo>
                    <a:lnTo>
                      <a:pt x="28623" y="74895"/>
                    </a:lnTo>
                    <a:lnTo>
                      <a:pt x="43311" y="62165"/>
                    </a:lnTo>
                    <a:lnTo>
                      <a:pt x="29080" y="8179"/>
                    </a:lnTo>
                    <a:cubicBezTo>
                      <a:pt x="28166" y="4719"/>
                      <a:pt x="30255" y="1129"/>
                      <a:pt x="33715" y="215"/>
                    </a:cubicBezTo>
                    <a:cubicBezTo>
                      <a:pt x="37175" y="-699"/>
                      <a:pt x="40765" y="1390"/>
                      <a:pt x="41679" y="4850"/>
                    </a:cubicBezTo>
                    <a:lnTo>
                      <a:pt x="56955" y="62753"/>
                    </a:lnTo>
                    <a:cubicBezTo>
                      <a:pt x="57608" y="65168"/>
                      <a:pt x="56824" y="67714"/>
                      <a:pt x="54931" y="69346"/>
                    </a:cubicBezTo>
                    <a:lnTo>
                      <a:pt x="32867" y="88473"/>
                    </a:lnTo>
                    <a:cubicBezTo>
                      <a:pt x="31691" y="89518"/>
                      <a:pt x="30190" y="90040"/>
                      <a:pt x="28623" y="90040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282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797" b="0" i="0" u="none" strike="noStrike" kern="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Cera CY"/>
                </a:endParaRPr>
              </a:p>
            </p:txBody>
          </p:sp>
          <p:sp>
            <p:nvSpPr>
              <p:cNvPr id="63" name="Полилиния: фигура 13">
                <a:extLst>
                  <a:ext uri="{FF2B5EF4-FFF2-40B4-BE49-F238E27FC236}">
                    <a16:creationId xmlns:a16="http://schemas.microsoft.com/office/drawing/2014/main" id="{9EF9CFF8-EE02-4222-BFAE-2BAAB3783A29}"/>
                  </a:ext>
                </a:extLst>
              </p:cNvPr>
              <p:cNvSpPr/>
              <p:nvPr/>
            </p:nvSpPr>
            <p:spPr>
              <a:xfrm>
                <a:off x="2071163" y="4637535"/>
                <a:ext cx="47802" cy="27034"/>
              </a:xfrm>
              <a:custGeom>
                <a:avLst/>
                <a:gdLst>
                  <a:gd name="connsiteX0" fmla="*/ 23379 w 47802"/>
                  <a:gd name="connsiteY0" fmla="*/ 27034 h 27034"/>
                  <a:gd name="connsiteX1" fmla="*/ 19332 w 47802"/>
                  <a:gd name="connsiteY1" fmla="*/ 25664 h 27034"/>
                  <a:gd name="connsiteX2" fmla="*/ 2489 w 47802"/>
                  <a:gd name="connsiteY2" fmla="*/ 12412 h 27034"/>
                  <a:gd name="connsiteX3" fmla="*/ 1380 w 47802"/>
                  <a:gd name="connsiteY3" fmla="*/ 3273 h 27034"/>
                  <a:gd name="connsiteX4" fmla="*/ 10519 w 47802"/>
                  <a:gd name="connsiteY4" fmla="*/ 2163 h 27034"/>
                  <a:gd name="connsiteX5" fmla="*/ 23379 w 47802"/>
                  <a:gd name="connsiteY5" fmla="*/ 12216 h 27034"/>
                  <a:gd name="connsiteX6" fmla="*/ 37284 w 47802"/>
                  <a:gd name="connsiteY6" fmla="*/ 1380 h 27034"/>
                  <a:gd name="connsiteX7" fmla="*/ 46423 w 47802"/>
                  <a:gd name="connsiteY7" fmla="*/ 2489 h 27034"/>
                  <a:gd name="connsiteX8" fmla="*/ 45313 w 47802"/>
                  <a:gd name="connsiteY8" fmla="*/ 11628 h 27034"/>
                  <a:gd name="connsiteX9" fmla="*/ 27361 w 47802"/>
                  <a:gd name="connsiteY9" fmla="*/ 25664 h 27034"/>
                  <a:gd name="connsiteX10" fmla="*/ 23379 w 47802"/>
                  <a:gd name="connsiteY10" fmla="*/ 27034 h 2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802" h="27034">
                    <a:moveTo>
                      <a:pt x="23379" y="27034"/>
                    </a:moveTo>
                    <a:cubicBezTo>
                      <a:pt x="21943" y="27034"/>
                      <a:pt x="20507" y="26578"/>
                      <a:pt x="19332" y="25664"/>
                    </a:cubicBezTo>
                    <a:lnTo>
                      <a:pt x="2489" y="12412"/>
                    </a:lnTo>
                    <a:cubicBezTo>
                      <a:pt x="-318" y="10192"/>
                      <a:pt x="-840" y="6080"/>
                      <a:pt x="1380" y="3273"/>
                    </a:cubicBezTo>
                    <a:cubicBezTo>
                      <a:pt x="3599" y="466"/>
                      <a:pt x="7712" y="-57"/>
                      <a:pt x="10519" y="2163"/>
                    </a:cubicBezTo>
                    <a:lnTo>
                      <a:pt x="23379" y="12216"/>
                    </a:lnTo>
                    <a:lnTo>
                      <a:pt x="37284" y="1380"/>
                    </a:lnTo>
                    <a:cubicBezTo>
                      <a:pt x="40091" y="-840"/>
                      <a:pt x="44203" y="-318"/>
                      <a:pt x="46423" y="2489"/>
                    </a:cubicBezTo>
                    <a:cubicBezTo>
                      <a:pt x="48642" y="5362"/>
                      <a:pt x="48120" y="9409"/>
                      <a:pt x="45313" y="11628"/>
                    </a:cubicBezTo>
                    <a:lnTo>
                      <a:pt x="27361" y="25664"/>
                    </a:lnTo>
                    <a:cubicBezTo>
                      <a:pt x="26186" y="26578"/>
                      <a:pt x="24815" y="27034"/>
                      <a:pt x="23379" y="27034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282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797" b="0" i="0" u="none" strike="noStrike" kern="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Cera CY"/>
                </a:endParaRPr>
              </a:p>
            </p:txBody>
          </p:sp>
        </p:grpSp>
        <p:sp>
          <p:nvSpPr>
            <p:cNvPr id="58" name="Полилиния: фигура 14">
              <a:extLst>
                <a:ext uri="{FF2B5EF4-FFF2-40B4-BE49-F238E27FC236}">
                  <a16:creationId xmlns:a16="http://schemas.microsoft.com/office/drawing/2014/main" id="{E9A18005-4D34-44D5-84B7-373D7EFA4CD9}"/>
                </a:ext>
              </a:extLst>
            </p:cNvPr>
            <p:cNvSpPr/>
            <p:nvPr/>
          </p:nvSpPr>
          <p:spPr>
            <a:xfrm>
              <a:off x="2036273" y="4600753"/>
              <a:ext cx="64261" cy="49846"/>
            </a:xfrm>
            <a:custGeom>
              <a:avLst/>
              <a:gdLst>
                <a:gd name="connsiteX0" fmla="*/ 34702 w 64261"/>
                <a:gd name="connsiteY0" fmla="*/ 49847 h 49846"/>
                <a:gd name="connsiteX1" fmla="*/ 34180 w 64261"/>
                <a:gd name="connsiteY1" fmla="*/ 49847 h 49846"/>
                <a:gd name="connsiteX2" fmla="*/ 17599 w 64261"/>
                <a:gd name="connsiteY2" fmla="*/ 39859 h 49846"/>
                <a:gd name="connsiteX3" fmla="*/ 822 w 64261"/>
                <a:gd name="connsiteY3" fmla="*/ 9700 h 49846"/>
                <a:gd name="connsiteX4" fmla="*/ 3368 w 64261"/>
                <a:gd name="connsiteY4" fmla="*/ 822 h 49846"/>
                <a:gd name="connsiteX5" fmla="*/ 12246 w 64261"/>
                <a:gd name="connsiteY5" fmla="*/ 3368 h 49846"/>
                <a:gd name="connsiteX6" fmla="*/ 28957 w 64261"/>
                <a:gd name="connsiteY6" fmla="*/ 33462 h 49846"/>
                <a:gd name="connsiteX7" fmla="*/ 34441 w 64261"/>
                <a:gd name="connsiteY7" fmla="*/ 36726 h 49846"/>
                <a:gd name="connsiteX8" fmla="*/ 40120 w 64261"/>
                <a:gd name="connsiteY8" fmla="*/ 33658 h 49846"/>
                <a:gd name="connsiteX9" fmla="*/ 52197 w 64261"/>
                <a:gd name="connsiteY9" fmla="*/ 14596 h 49846"/>
                <a:gd name="connsiteX10" fmla="*/ 61206 w 64261"/>
                <a:gd name="connsiteY10" fmla="*/ 12572 h 49846"/>
                <a:gd name="connsiteX11" fmla="*/ 63229 w 64261"/>
                <a:gd name="connsiteY11" fmla="*/ 21581 h 49846"/>
                <a:gd name="connsiteX12" fmla="*/ 51153 w 64261"/>
                <a:gd name="connsiteY12" fmla="*/ 40642 h 49846"/>
                <a:gd name="connsiteX13" fmla="*/ 34702 w 64261"/>
                <a:gd name="connsiteY13" fmla="*/ 49847 h 4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61" h="49846">
                  <a:moveTo>
                    <a:pt x="34702" y="49847"/>
                  </a:moveTo>
                  <a:cubicBezTo>
                    <a:pt x="34506" y="49847"/>
                    <a:pt x="34376" y="49847"/>
                    <a:pt x="34180" y="49847"/>
                  </a:cubicBezTo>
                  <a:cubicBezTo>
                    <a:pt x="27195" y="49651"/>
                    <a:pt x="21059" y="45930"/>
                    <a:pt x="17599" y="39859"/>
                  </a:cubicBezTo>
                  <a:lnTo>
                    <a:pt x="822" y="9700"/>
                  </a:lnTo>
                  <a:cubicBezTo>
                    <a:pt x="-941" y="6566"/>
                    <a:pt x="234" y="2584"/>
                    <a:pt x="3368" y="822"/>
                  </a:cubicBezTo>
                  <a:cubicBezTo>
                    <a:pt x="6501" y="-941"/>
                    <a:pt x="10483" y="234"/>
                    <a:pt x="12246" y="3368"/>
                  </a:cubicBezTo>
                  <a:lnTo>
                    <a:pt x="28957" y="33462"/>
                  </a:lnTo>
                  <a:cubicBezTo>
                    <a:pt x="30589" y="36334"/>
                    <a:pt x="33331" y="36726"/>
                    <a:pt x="34441" y="36726"/>
                  </a:cubicBezTo>
                  <a:cubicBezTo>
                    <a:pt x="35616" y="36726"/>
                    <a:pt x="38358" y="36530"/>
                    <a:pt x="40120" y="33658"/>
                  </a:cubicBezTo>
                  <a:lnTo>
                    <a:pt x="52197" y="14596"/>
                  </a:lnTo>
                  <a:cubicBezTo>
                    <a:pt x="54156" y="11528"/>
                    <a:pt x="58138" y="10614"/>
                    <a:pt x="61206" y="12572"/>
                  </a:cubicBezTo>
                  <a:cubicBezTo>
                    <a:pt x="64274" y="14465"/>
                    <a:pt x="65188" y="18513"/>
                    <a:pt x="63229" y="21581"/>
                  </a:cubicBezTo>
                  <a:lnTo>
                    <a:pt x="51153" y="40642"/>
                  </a:lnTo>
                  <a:cubicBezTo>
                    <a:pt x="47628" y="46452"/>
                    <a:pt x="41426" y="49847"/>
                    <a:pt x="34702" y="49847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59" name="Полилиния: фигура 15">
              <a:extLst>
                <a:ext uri="{FF2B5EF4-FFF2-40B4-BE49-F238E27FC236}">
                  <a16:creationId xmlns:a16="http://schemas.microsoft.com/office/drawing/2014/main" id="{D8DCC9D7-C440-41EF-A93E-6704796210A7}"/>
                </a:ext>
              </a:extLst>
            </p:cNvPr>
            <p:cNvSpPr/>
            <p:nvPr/>
          </p:nvSpPr>
          <p:spPr>
            <a:xfrm>
              <a:off x="2087598" y="4600717"/>
              <a:ext cx="64297" cy="49883"/>
            </a:xfrm>
            <a:custGeom>
              <a:avLst/>
              <a:gdLst>
                <a:gd name="connsiteX0" fmla="*/ 29530 w 64297"/>
                <a:gd name="connsiteY0" fmla="*/ 49883 h 49883"/>
                <a:gd name="connsiteX1" fmla="*/ 13015 w 64297"/>
                <a:gd name="connsiteY1" fmla="*/ 40744 h 49883"/>
                <a:gd name="connsiteX2" fmla="*/ 1003 w 64297"/>
                <a:gd name="connsiteY2" fmla="*/ 21682 h 49883"/>
                <a:gd name="connsiteX3" fmla="*/ 3027 w 64297"/>
                <a:gd name="connsiteY3" fmla="*/ 12674 h 49883"/>
                <a:gd name="connsiteX4" fmla="*/ 12035 w 64297"/>
                <a:gd name="connsiteY4" fmla="*/ 14697 h 49883"/>
                <a:gd name="connsiteX5" fmla="*/ 24047 w 64297"/>
                <a:gd name="connsiteY5" fmla="*/ 33759 h 49883"/>
                <a:gd name="connsiteX6" fmla="*/ 29726 w 64297"/>
                <a:gd name="connsiteY6" fmla="*/ 36827 h 49883"/>
                <a:gd name="connsiteX7" fmla="*/ 35275 w 64297"/>
                <a:gd name="connsiteY7" fmla="*/ 33498 h 49883"/>
                <a:gd name="connsiteX8" fmla="*/ 52052 w 64297"/>
                <a:gd name="connsiteY8" fmla="*/ 3339 h 49883"/>
                <a:gd name="connsiteX9" fmla="*/ 60930 w 64297"/>
                <a:gd name="connsiteY9" fmla="*/ 793 h 49883"/>
                <a:gd name="connsiteX10" fmla="*/ 63476 w 64297"/>
                <a:gd name="connsiteY10" fmla="*/ 9671 h 49883"/>
                <a:gd name="connsiteX11" fmla="*/ 46634 w 64297"/>
                <a:gd name="connsiteY11" fmla="*/ 39830 h 49883"/>
                <a:gd name="connsiteX12" fmla="*/ 30053 w 64297"/>
                <a:gd name="connsiteY12" fmla="*/ 49818 h 49883"/>
                <a:gd name="connsiteX13" fmla="*/ 29530 w 64297"/>
                <a:gd name="connsiteY13" fmla="*/ 49883 h 4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97" h="49883">
                  <a:moveTo>
                    <a:pt x="29530" y="49883"/>
                  </a:moveTo>
                  <a:cubicBezTo>
                    <a:pt x="22741" y="49883"/>
                    <a:pt x="16605" y="46489"/>
                    <a:pt x="13015" y="40744"/>
                  </a:cubicBezTo>
                  <a:lnTo>
                    <a:pt x="1003" y="21682"/>
                  </a:lnTo>
                  <a:cubicBezTo>
                    <a:pt x="-890" y="18614"/>
                    <a:pt x="-41" y="14632"/>
                    <a:pt x="3027" y="12674"/>
                  </a:cubicBezTo>
                  <a:cubicBezTo>
                    <a:pt x="6095" y="10781"/>
                    <a:pt x="10077" y="11695"/>
                    <a:pt x="12035" y="14697"/>
                  </a:cubicBezTo>
                  <a:lnTo>
                    <a:pt x="24047" y="33759"/>
                  </a:lnTo>
                  <a:cubicBezTo>
                    <a:pt x="25809" y="36566"/>
                    <a:pt x="28616" y="36827"/>
                    <a:pt x="29726" y="36827"/>
                  </a:cubicBezTo>
                  <a:cubicBezTo>
                    <a:pt x="30836" y="36827"/>
                    <a:pt x="33578" y="36436"/>
                    <a:pt x="35275" y="33498"/>
                  </a:cubicBezTo>
                  <a:lnTo>
                    <a:pt x="52052" y="3339"/>
                  </a:lnTo>
                  <a:cubicBezTo>
                    <a:pt x="53815" y="205"/>
                    <a:pt x="57797" y="-904"/>
                    <a:pt x="60930" y="793"/>
                  </a:cubicBezTo>
                  <a:cubicBezTo>
                    <a:pt x="64063" y="2490"/>
                    <a:pt x="65239" y="6537"/>
                    <a:pt x="63476" y="9671"/>
                  </a:cubicBezTo>
                  <a:lnTo>
                    <a:pt x="46634" y="39830"/>
                  </a:lnTo>
                  <a:cubicBezTo>
                    <a:pt x="43174" y="45901"/>
                    <a:pt x="37038" y="49622"/>
                    <a:pt x="30053" y="49818"/>
                  </a:cubicBezTo>
                  <a:cubicBezTo>
                    <a:pt x="29857" y="49883"/>
                    <a:pt x="29661" y="49883"/>
                    <a:pt x="29530" y="498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60" name="Полилиния: фигура 16">
              <a:extLst>
                <a:ext uri="{FF2B5EF4-FFF2-40B4-BE49-F238E27FC236}">
                  <a16:creationId xmlns:a16="http://schemas.microsoft.com/office/drawing/2014/main" id="{70D3B182-159D-4E4B-B16C-D6A705475CB2}"/>
                </a:ext>
              </a:extLst>
            </p:cNvPr>
            <p:cNvSpPr/>
            <p:nvPr/>
          </p:nvSpPr>
          <p:spPr>
            <a:xfrm>
              <a:off x="2003157" y="4715408"/>
              <a:ext cx="25444" cy="62682"/>
            </a:xfrm>
            <a:custGeom>
              <a:avLst/>
              <a:gdLst>
                <a:gd name="connsiteX0" fmla="*/ 18924 w 25444"/>
                <a:gd name="connsiteY0" fmla="*/ 62683 h 62682"/>
                <a:gd name="connsiteX1" fmla="*/ 12592 w 25444"/>
                <a:gd name="connsiteY1" fmla="*/ 57722 h 62682"/>
                <a:gd name="connsiteX2" fmla="*/ 189 w 25444"/>
                <a:gd name="connsiteY2" fmla="*/ 8109 h 62682"/>
                <a:gd name="connsiteX3" fmla="*/ 4954 w 25444"/>
                <a:gd name="connsiteY3" fmla="*/ 210 h 62682"/>
                <a:gd name="connsiteX4" fmla="*/ 12853 w 25444"/>
                <a:gd name="connsiteY4" fmla="*/ 4976 h 62682"/>
                <a:gd name="connsiteX5" fmla="*/ 25256 w 25444"/>
                <a:gd name="connsiteY5" fmla="*/ 54588 h 62682"/>
                <a:gd name="connsiteX6" fmla="*/ 20491 w 25444"/>
                <a:gd name="connsiteY6" fmla="*/ 62487 h 62682"/>
                <a:gd name="connsiteX7" fmla="*/ 18924 w 25444"/>
                <a:gd name="connsiteY7" fmla="*/ 62683 h 62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444" h="62682">
                  <a:moveTo>
                    <a:pt x="18924" y="62683"/>
                  </a:moveTo>
                  <a:cubicBezTo>
                    <a:pt x="15986" y="62683"/>
                    <a:pt x="13310" y="60725"/>
                    <a:pt x="12592" y="57722"/>
                  </a:cubicBezTo>
                  <a:lnTo>
                    <a:pt x="189" y="8109"/>
                  </a:lnTo>
                  <a:cubicBezTo>
                    <a:pt x="-660" y="4584"/>
                    <a:pt x="1429" y="1059"/>
                    <a:pt x="4954" y="210"/>
                  </a:cubicBezTo>
                  <a:cubicBezTo>
                    <a:pt x="8414" y="-704"/>
                    <a:pt x="12004" y="1450"/>
                    <a:pt x="12853" y="4976"/>
                  </a:cubicBezTo>
                  <a:lnTo>
                    <a:pt x="25256" y="54588"/>
                  </a:lnTo>
                  <a:cubicBezTo>
                    <a:pt x="26105" y="58113"/>
                    <a:pt x="24016" y="61638"/>
                    <a:pt x="20491" y="62487"/>
                  </a:cubicBezTo>
                  <a:cubicBezTo>
                    <a:pt x="19969" y="62618"/>
                    <a:pt x="19446" y="62683"/>
                    <a:pt x="18924" y="626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61" name="Полилиния: фигура 17">
              <a:extLst>
                <a:ext uri="{FF2B5EF4-FFF2-40B4-BE49-F238E27FC236}">
                  <a16:creationId xmlns:a16="http://schemas.microsoft.com/office/drawing/2014/main" id="{E53F2B7A-525C-4A1D-928C-5A2BBABC394A}"/>
                </a:ext>
              </a:extLst>
            </p:cNvPr>
            <p:cNvSpPr/>
            <p:nvPr/>
          </p:nvSpPr>
          <p:spPr>
            <a:xfrm>
              <a:off x="2160220" y="4715408"/>
              <a:ext cx="25640" cy="63531"/>
            </a:xfrm>
            <a:custGeom>
              <a:avLst/>
              <a:gdLst>
                <a:gd name="connsiteX0" fmla="*/ 6521 w 25640"/>
                <a:gd name="connsiteY0" fmla="*/ 63532 h 63531"/>
                <a:gd name="connsiteX1" fmla="*/ 4954 w 25640"/>
                <a:gd name="connsiteY1" fmla="*/ 63336 h 63531"/>
                <a:gd name="connsiteX2" fmla="*/ 189 w 25640"/>
                <a:gd name="connsiteY2" fmla="*/ 55437 h 63531"/>
                <a:gd name="connsiteX3" fmla="*/ 12788 w 25640"/>
                <a:gd name="connsiteY3" fmla="*/ 4976 h 63531"/>
                <a:gd name="connsiteX4" fmla="*/ 20687 w 25640"/>
                <a:gd name="connsiteY4" fmla="*/ 210 h 63531"/>
                <a:gd name="connsiteX5" fmla="*/ 25452 w 25640"/>
                <a:gd name="connsiteY5" fmla="*/ 8109 h 63531"/>
                <a:gd name="connsiteX6" fmla="*/ 12853 w 25640"/>
                <a:gd name="connsiteY6" fmla="*/ 58570 h 63531"/>
                <a:gd name="connsiteX7" fmla="*/ 6521 w 25640"/>
                <a:gd name="connsiteY7" fmla="*/ 63532 h 6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0" h="63531">
                  <a:moveTo>
                    <a:pt x="6521" y="63532"/>
                  </a:moveTo>
                  <a:cubicBezTo>
                    <a:pt x="5999" y="63532"/>
                    <a:pt x="5476" y="63466"/>
                    <a:pt x="4954" y="63336"/>
                  </a:cubicBezTo>
                  <a:cubicBezTo>
                    <a:pt x="1429" y="62487"/>
                    <a:pt x="-660" y="58897"/>
                    <a:pt x="189" y="55437"/>
                  </a:cubicBezTo>
                  <a:lnTo>
                    <a:pt x="12788" y="4976"/>
                  </a:lnTo>
                  <a:cubicBezTo>
                    <a:pt x="13636" y="1450"/>
                    <a:pt x="17227" y="-704"/>
                    <a:pt x="20687" y="210"/>
                  </a:cubicBezTo>
                  <a:cubicBezTo>
                    <a:pt x="24212" y="1059"/>
                    <a:pt x="26301" y="4649"/>
                    <a:pt x="25452" y="8109"/>
                  </a:cubicBezTo>
                  <a:lnTo>
                    <a:pt x="12853" y="58570"/>
                  </a:lnTo>
                  <a:cubicBezTo>
                    <a:pt x="12070" y="61573"/>
                    <a:pt x="9393" y="63532"/>
                    <a:pt x="6521" y="6353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9A0BCFC3-AD3F-405D-BF96-BD383CBC12E5}"/>
              </a:ext>
            </a:extLst>
          </p:cNvPr>
          <p:cNvGrpSpPr/>
          <p:nvPr/>
        </p:nvGrpSpPr>
        <p:grpSpPr>
          <a:xfrm>
            <a:off x="9448706" y="4106760"/>
            <a:ext cx="260711" cy="338922"/>
            <a:chOff x="1963982" y="4441248"/>
            <a:chExt cx="261120" cy="339454"/>
          </a:xfrm>
          <a:solidFill>
            <a:srgbClr val="696E82"/>
          </a:solidFill>
        </p:grpSpPr>
        <p:sp>
          <p:nvSpPr>
            <p:cNvPr id="65" name="Полилиния: фигура 81">
              <a:extLst>
                <a:ext uri="{FF2B5EF4-FFF2-40B4-BE49-F238E27FC236}">
                  <a16:creationId xmlns:a16="http://schemas.microsoft.com/office/drawing/2014/main" id="{EAA43450-F374-4A0E-A757-5E0E0621E612}"/>
                </a:ext>
              </a:extLst>
            </p:cNvPr>
            <p:cNvSpPr/>
            <p:nvPr/>
          </p:nvSpPr>
          <p:spPr>
            <a:xfrm>
              <a:off x="2029262" y="4506527"/>
              <a:ext cx="13056" cy="26111"/>
            </a:xfrm>
            <a:custGeom>
              <a:avLst/>
              <a:gdLst>
                <a:gd name="connsiteX0" fmla="*/ 13056 w 13056"/>
                <a:gd name="connsiteY0" fmla="*/ 26112 h 26111"/>
                <a:gd name="connsiteX1" fmla="*/ 0 w 13056"/>
                <a:gd name="connsiteY1" fmla="*/ 13056 h 26111"/>
                <a:gd name="connsiteX2" fmla="*/ 13056 w 13056"/>
                <a:gd name="connsiteY2" fmla="*/ 0 h 26111"/>
                <a:gd name="connsiteX3" fmla="*/ 13056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13056" y="26112"/>
                  </a:moveTo>
                  <a:cubicBezTo>
                    <a:pt x="5875" y="26112"/>
                    <a:pt x="0" y="20302"/>
                    <a:pt x="0" y="13056"/>
                  </a:cubicBezTo>
                  <a:cubicBezTo>
                    <a:pt x="0" y="5875"/>
                    <a:pt x="5875" y="0"/>
                    <a:pt x="13056" y="0"/>
                  </a:cubicBezTo>
                  <a:lnTo>
                    <a:pt x="13056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66" name="Полилиния: фигура 82">
              <a:extLst>
                <a:ext uri="{FF2B5EF4-FFF2-40B4-BE49-F238E27FC236}">
                  <a16:creationId xmlns:a16="http://schemas.microsoft.com/office/drawing/2014/main" id="{033DAF9E-9847-4313-8A4A-59630F989426}"/>
                </a:ext>
              </a:extLst>
            </p:cNvPr>
            <p:cNvSpPr/>
            <p:nvPr/>
          </p:nvSpPr>
          <p:spPr>
            <a:xfrm>
              <a:off x="2146766" y="4506527"/>
              <a:ext cx="13056" cy="26111"/>
            </a:xfrm>
            <a:custGeom>
              <a:avLst/>
              <a:gdLst>
                <a:gd name="connsiteX0" fmla="*/ 0 w 13056"/>
                <a:gd name="connsiteY0" fmla="*/ 26112 h 26111"/>
                <a:gd name="connsiteX1" fmla="*/ 13056 w 13056"/>
                <a:gd name="connsiteY1" fmla="*/ 13056 h 26111"/>
                <a:gd name="connsiteX2" fmla="*/ 0 w 13056"/>
                <a:gd name="connsiteY2" fmla="*/ 0 h 26111"/>
                <a:gd name="connsiteX3" fmla="*/ 0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0" y="26112"/>
                  </a:moveTo>
                  <a:cubicBezTo>
                    <a:pt x="7181" y="26112"/>
                    <a:pt x="13056" y="20302"/>
                    <a:pt x="13056" y="13056"/>
                  </a:cubicBezTo>
                  <a:cubicBezTo>
                    <a:pt x="13056" y="5875"/>
                    <a:pt x="7181" y="0"/>
                    <a:pt x="0" y="0"/>
                  </a:cubicBezTo>
                  <a:lnTo>
                    <a:pt x="0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67" name="Полилиния: фигура 83">
              <a:extLst>
                <a:ext uri="{FF2B5EF4-FFF2-40B4-BE49-F238E27FC236}">
                  <a16:creationId xmlns:a16="http://schemas.microsoft.com/office/drawing/2014/main" id="{55424625-311F-403B-94B2-AE633BF3DE99}"/>
                </a:ext>
              </a:extLst>
            </p:cNvPr>
            <p:cNvSpPr/>
            <p:nvPr/>
          </p:nvSpPr>
          <p:spPr>
            <a:xfrm>
              <a:off x="2035790" y="4441248"/>
              <a:ext cx="117504" cy="143615"/>
            </a:xfrm>
            <a:custGeom>
              <a:avLst/>
              <a:gdLst>
                <a:gd name="connsiteX0" fmla="*/ 58752 w 117504"/>
                <a:gd name="connsiteY0" fmla="*/ 143616 h 143615"/>
                <a:gd name="connsiteX1" fmla="*/ 0 w 117504"/>
                <a:gd name="connsiteY1" fmla="*/ 58752 h 143615"/>
                <a:gd name="connsiteX2" fmla="*/ 58752 w 117504"/>
                <a:gd name="connsiteY2" fmla="*/ 0 h 143615"/>
                <a:gd name="connsiteX3" fmla="*/ 117504 w 117504"/>
                <a:gd name="connsiteY3" fmla="*/ 58752 h 143615"/>
                <a:gd name="connsiteX4" fmla="*/ 58752 w 117504"/>
                <a:gd name="connsiteY4" fmla="*/ 143616 h 143615"/>
                <a:gd name="connsiteX5" fmla="*/ 58752 w 117504"/>
                <a:gd name="connsiteY5" fmla="*/ 13056 h 143615"/>
                <a:gd name="connsiteX6" fmla="*/ 13056 w 117504"/>
                <a:gd name="connsiteY6" fmla="*/ 58752 h 143615"/>
                <a:gd name="connsiteX7" fmla="*/ 58752 w 117504"/>
                <a:gd name="connsiteY7" fmla="*/ 130560 h 143615"/>
                <a:gd name="connsiteX8" fmla="*/ 104448 w 117504"/>
                <a:gd name="connsiteY8" fmla="*/ 58752 h 143615"/>
                <a:gd name="connsiteX9" fmla="*/ 58752 w 117504"/>
                <a:gd name="connsiteY9" fmla="*/ 13056 h 14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4" h="143615">
                  <a:moveTo>
                    <a:pt x="58752" y="143616"/>
                  </a:moveTo>
                  <a:cubicBezTo>
                    <a:pt x="24219" y="143616"/>
                    <a:pt x="0" y="88585"/>
                    <a:pt x="0" y="58752"/>
                  </a:cubicBezTo>
                  <a:cubicBezTo>
                    <a:pt x="0" y="26373"/>
                    <a:pt x="26373" y="0"/>
                    <a:pt x="58752" y="0"/>
                  </a:cubicBezTo>
                  <a:cubicBezTo>
                    <a:pt x="91131" y="0"/>
                    <a:pt x="117504" y="26373"/>
                    <a:pt x="117504" y="58752"/>
                  </a:cubicBezTo>
                  <a:cubicBezTo>
                    <a:pt x="117504" y="88585"/>
                    <a:pt x="93285" y="143616"/>
                    <a:pt x="58752" y="143616"/>
                  </a:cubicBezTo>
                  <a:close/>
                  <a:moveTo>
                    <a:pt x="58752" y="13056"/>
                  </a:moveTo>
                  <a:cubicBezTo>
                    <a:pt x="33554" y="13056"/>
                    <a:pt x="13056" y="33554"/>
                    <a:pt x="13056" y="58752"/>
                  </a:cubicBezTo>
                  <a:cubicBezTo>
                    <a:pt x="13056" y="85778"/>
                    <a:pt x="35186" y="130560"/>
                    <a:pt x="58752" y="130560"/>
                  </a:cubicBezTo>
                  <a:cubicBezTo>
                    <a:pt x="82318" y="130560"/>
                    <a:pt x="104448" y="85778"/>
                    <a:pt x="104448" y="58752"/>
                  </a:cubicBezTo>
                  <a:cubicBezTo>
                    <a:pt x="104448" y="33554"/>
                    <a:pt x="83950" y="13056"/>
                    <a:pt x="5875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68" name="Полилиния: фигура 84">
              <a:extLst>
                <a:ext uri="{FF2B5EF4-FFF2-40B4-BE49-F238E27FC236}">
                  <a16:creationId xmlns:a16="http://schemas.microsoft.com/office/drawing/2014/main" id="{0C3C1FDD-9EEE-4954-A3DC-3051D9157DF5}"/>
                </a:ext>
              </a:extLst>
            </p:cNvPr>
            <p:cNvSpPr/>
            <p:nvPr/>
          </p:nvSpPr>
          <p:spPr>
            <a:xfrm>
              <a:off x="2087997" y="4480464"/>
              <a:ext cx="63687" cy="28282"/>
            </a:xfrm>
            <a:custGeom>
              <a:avLst/>
              <a:gdLst>
                <a:gd name="connsiteX0" fmla="*/ 43558 w 63687"/>
                <a:gd name="connsiteY0" fmla="*/ 28282 h 28282"/>
                <a:gd name="connsiteX1" fmla="*/ 1909 w 63687"/>
                <a:gd name="connsiteY1" fmla="*/ 11114 h 28282"/>
                <a:gd name="connsiteX2" fmla="*/ 1909 w 63687"/>
                <a:gd name="connsiteY2" fmla="*/ 1909 h 28282"/>
                <a:gd name="connsiteX3" fmla="*/ 11114 w 63687"/>
                <a:gd name="connsiteY3" fmla="*/ 1909 h 28282"/>
                <a:gd name="connsiteX4" fmla="*/ 55439 w 63687"/>
                <a:gd name="connsiteY4" fmla="*/ 13725 h 28282"/>
                <a:gd name="connsiteX5" fmla="*/ 63468 w 63687"/>
                <a:gd name="connsiteY5" fmla="*/ 18295 h 28282"/>
                <a:gd name="connsiteX6" fmla="*/ 58899 w 63687"/>
                <a:gd name="connsiteY6" fmla="*/ 26324 h 28282"/>
                <a:gd name="connsiteX7" fmla="*/ 43558 w 63687"/>
                <a:gd name="connsiteY7" fmla="*/ 28282 h 28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687" h="28282">
                  <a:moveTo>
                    <a:pt x="43558" y="28282"/>
                  </a:moveTo>
                  <a:cubicBezTo>
                    <a:pt x="28152" y="28282"/>
                    <a:pt x="13072" y="22211"/>
                    <a:pt x="1909" y="11114"/>
                  </a:cubicBezTo>
                  <a:cubicBezTo>
                    <a:pt x="-636" y="8568"/>
                    <a:pt x="-636" y="4455"/>
                    <a:pt x="1909" y="1909"/>
                  </a:cubicBezTo>
                  <a:cubicBezTo>
                    <a:pt x="4455" y="-636"/>
                    <a:pt x="8568" y="-636"/>
                    <a:pt x="11114" y="1909"/>
                  </a:cubicBezTo>
                  <a:cubicBezTo>
                    <a:pt x="22668" y="13464"/>
                    <a:pt x="39641" y="17968"/>
                    <a:pt x="55439" y="13725"/>
                  </a:cubicBezTo>
                  <a:cubicBezTo>
                    <a:pt x="58899" y="12746"/>
                    <a:pt x="62489" y="14835"/>
                    <a:pt x="63468" y="18295"/>
                  </a:cubicBezTo>
                  <a:cubicBezTo>
                    <a:pt x="64382" y="21754"/>
                    <a:pt x="62359" y="25345"/>
                    <a:pt x="58899" y="26324"/>
                  </a:cubicBezTo>
                  <a:cubicBezTo>
                    <a:pt x="53872" y="27630"/>
                    <a:pt x="48715" y="28282"/>
                    <a:pt x="43558" y="2828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69" name="Полилиния: фигура 85">
              <a:extLst>
                <a:ext uri="{FF2B5EF4-FFF2-40B4-BE49-F238E27FC236}">
                  <a16:creationId xmlns:a16="http://schemas.microsoft.com/office/drawing/2014/main" id="{D3A693A0-DB93-43FD-BB9A-BBF8303A56B3}"/>
                </a:ext>
              </a:extLst>
            </p:cNvPr>
            <p:cNvSpPr/>
            <p:nvPr/>
          </p:nvSpPr>
          <p:spPr>
            <a:xfrm>
              <a:off x="2068430" y="4480415"/>
              <a:ext cx="32640" cy="13055"/>
            </a:xfrm>
            <a:custGeom>
              <a:avLst/>
              <a:gdLst>
                <a:gd name="connsiteX0" fmla="*/ 26112 w 32640"/>
                <a:gd name="connsiteY0" fmla="*/ 13056 h 13055"/>
                <a:gd name="connsiteX1" fmla="*/ 6528 w 32640"/>
                <a:gd name="connsiteY1" fmla="*/ 13056 h 13055"/>
                <a:gd name="connsiteX2" fmla="*/ 0 w 32640"/>
                <a:gd name="connsiteY2" fmla="*/ 6528 h 13055"/>
                <a:gd name="connsiteX3" fmla="*/ 6528 w 32640"/>
                <a:gd name="connsiteY3" fmla="*/ 0 h 13055"/>
                <a:gd name="connsiteX4" fmla="*/ 26112 w 32640"/>
                <a:gd name="connsiteY4" fmla="*/ 0 h 13055"/>
                <a:gd name="connsiteX5" fmla="*/ 32640 w 32640"/>
                <a:gd name="connsiteY5" fmla="*/ 6528 h 13055"/>
                <a:gd name="connsiteX6" fmla="*/ 26112 w 32640"/>
                <a:gd name="connsiteY6" fmla="*/ 13056 h 13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40" h="13055">
                  <a:moveTo>
                    <a:pt x="26112" y="13056"/>
                  </a:moveTo>
                  <a:lnTo>
                    <a:pt x="6528" y="13056"/>
                  </a:lnTo>
                  <a:cubicBezTo>
                    <a:pt x="2938" y="13056"/>
                    <a:pt x="0" y="10118"/>
                    <a:pt x="0" y="6528"/>
                  </a:cubicBezTo>
                  <a:cubicBezTo>
                    <a:pt x="0" y="2938"/>
                    <a:pt x="2938" y="0"/>
                    <a:pt x="6528" y="0"/>
                  </a:cubicBezTo>
                  <a:lnTo>
                    <a:pt x="26112" y="0"/>
                  </a:lnTo>
                  <a:cubicBezTo>
                    <a:pt x="29702" y="0"/>
                    <a:pt x="32640" y="2938"/>
                    <a:pt x="32640" y="6528"/>
                  </a:cubicBezTo>
                  <a:cubicBezTo>
                    <a:pt x="32640" y="10118"/>
                    <a:pt x="29702" y="13056"/>
                    <a:pt x="2611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70" name="Полилиния: фигура 86">
              <a:extLst>
                <a:ext uri="{FF2B5EF4-FFF2-40B4-BE49-F238E27FC236}">
                  <a16:creationId xmlns:a16="http://schemas.microsoft.com/office/drawing/2014/main" id="{CF184F06-FBEA-4ED1-9279-066089494BF9}"/>
                </a:ext>
              </a:extLst>
            </p:cNvPr>
            <p:cNvSpPr/>
            <p:nvPr/>
          </p:nvSpPr>
          <p:spPr>
            <a:xfrm>
              <a:off x="1963982" y="4600772"/>
              <a:ext cx="261120" cy="179930"/>
            </a:xfrm>
            <a:custGeom>
              <a:avLst/>
              <a:gdLst>
                <a:gd name="connsiteX0" fmla="*/ 241536 w 261120"/>
                <a:gd name="connsiteY0" fmla="*/ 179931 h 179930"/>
                <a:gd name="connsiteX1" fmla="*/ 19584 w 261120"/>
                <a:gd name="connsiteY1" fmla="*/ 179931 h 179930"/>
                <a:gd name="connsiteX2" fmla="*/ 0 w 261120"/>
                <a:gd name="connsiteY2" fmla="*/ 160347 h 179930"/>
                <a:gd name="connsiteX3" fmla="*/ 0 w 261120"/>
                <a:gd name="connsiteY3" fmla="*/ 68825 h 179930"/>
                <a:gd name="connsiteX4" fmla="*/ 44390 w 261120"/>
                <a:gd name="connsiteY4" fmla="*/ 9747 h 179930"/>
                <a:gd name="connsiteX5" fmla="*/ 77030 w 261120"/>
                <a:gd name="connsiteY5" fmla="*/ 281 h 179930"/>
                <a:gd name="connsiteX6" fmla="*/ 85125 w 261120"/>
                <a:gd name="connsiteY6" fmla="*/ 4720 h 179930"/>
                <a:gd name="connsiteX7" fmla="*/ 80686 w 261120"/>
                <a:gd name="connsiteY7" fmla="*/ 12815 h 179930"/>
                <a:gd name="connsiteX8" fmla="*/ 48046 w 261120"/>
                <a:gd name="connsiteY8" fmla="*/ 22280 h 179930"/>
                <a:gd name="connsiteX9" fmla="*/ 13056 w 261120"/>
                <a:gd name="connsiteY9" fmla="*/ 68825 h 179930"/>
                <a:gd name="connsiteX10" fmla="*/ 13056 w 261120"/>
                <a:gd name="connsiteY10" fmla="*/ 160347 h 179930"/>
                <a:gd name="connsiteX11" fmla="*/ 19584 w 261120"/>
                <a:gd name="connsiteY11" fmla="*/ 166875 h 179930"/>
                <a:gd name="connsiteX12" fmla="*/ 241536 w 261120"/>
                <a:gd name="connsiteY12" fmla="*/ 166875 h 179930"/>
                <a:gd name="connsiteX13" fmla="*/ 248064 w 261120"/>
                <a:gd name="connsiteY13" fmla="*/ 160347 h 179930"/>
                <a:gd name="connsiteX14" fmla="*/ 248064 w 261120"/>
                <a:gd name="connsiteY14" fmla="*/ 69282 h 179930"/>
                <a:gd name="connsiteX15" fmla="*/ 213531 w 261120"/>
                <a:gd name="connsiteY15" fmla="*/ 22933 h 179930"/>
                <a:gd name="connsiteX16" fmla="*/ 179455 w 261120"/>
                <a:gd name="connsiteY16" fmla="*/ 12749 h 179930"/>
                <a:gd name="connsiteX17" fmla="*/ 175081 w 261120"/>
                <a:gd name="connsiteY17" fmla="*/ 4655 h 179930"/>
                <a:gd name="connsiteX18" fmla="*/ 183176 w 261120"/>
                <a:gd name="connsiteY18" fmla="*/ 281 h 179930"/>
                <a:gd name="connsiteX19" fmla="*/ 217252 w 261120"/>
                <a:gd name="connsiteY19" fmla="*/ 10465 h 179930"/>
                <a:gd name="connsiteX20" fmla="*/ 261120 w 261120"/>
                <a:gd name="connsiteY20" fmla="*/ 69347 h 179930"/>
                <a:gd name="connsiteX21" fmla="*/ 261120 w 261120"/>
                <a:gd name="connsiteY21" fmla="*/ 160347 h 179930"/>
                <a:gd name="connsiteX22" fmla="*/ 241536 w 261120"/>
                <a:gd name="connsiteY22" fmla="*/ 179931 h 17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120" h="179930">
                  <a:moveTo>
                    <a:pt x="241536" y="179931"/>
                  </a:moveTo>
                  <a:lnTo>
                    <a:pt x="19584" y="179931"/>
                  </a:lnTo>
                  <a:cubicBezTo>
                    <a:pt x="8813" y="179931"/>
                    <a:pt x="0" y="171118"/>
                    <a:pt x="0" y="160347"/>
                  </a:cubicBezTo>
                  <a:lnTo>
                    <a:pt x="0" y="68825"/>
                  </a:lnTo>
                  <a:cubicBezTo>
                    <a:pt x="0" y="41603"/>
                    <a:pt x="18278" y="17319"/>
                    <a:pt x="44390" y="9747"/>
                  </a:cubicBezTo>
                  <a:lnTo>
                    <a:pt x="77030" y="281"/>
                  </a:lnTo>
                  <a:cubicBezTo>
                    <a:pt x="80490" y="-698"/>
                    <a:pt x="84146" y="1260"/>
                    <a:pt x="85125" y="4720"/>
                  </a:cubicBezTo>
                  <a:cubicBezTo>
                    <a:pt x="86104" y="8180"/>
                    <a:pt x="84146" y="11835"/>
                    <a:pt x="80686" y="12815"/>
                  </a:cubicBezTo>
                  <a:lnTo>
                    <a:pt x="48046" y="22280"/>
                  </a:lnTo>
                  <a:cubicBezTo>
                    <a:pt x="27418" y="28221"/>
                    <a:pt x="13056" y="47348"/>
                    <a:pt x="13056" y="68825"/>
                  </a:cubicBezTo>
                  <a:lnTo>
                    <a:pt x="13056" y="160347"/>
                  </a:lnTo>
                  <a:cubicBezTo>
                    <a:pt x="13056" y="163937"/>
                    <a:pt x="15994" y="166875"/>
                    <a:pt x="19584" y="166875"/>
                  </a:cubicBezTo>
                  <a:lnTo>
                    <a:pt x="241536" y="166875"/>
                  </a:lnTo>
                  <a:cubicBezTo>
                    <a:pt x="245126" y="166875"/>
                    <a:pt x="248064" y="163937"/>
                    <a:pt x="248064" y="160347"/>
                  </a:cubicBezTo>
                  <a:lnTo>
                    <a:pt x="248064" y="69282"/>
                  </a:lnTo>
                  <a:cubicBezTo>
                    <a:pt x="248064" y="48066"/>
                    <a:pt x="233898" y="29004"/>
                    <a:pt x="213531" y="22933"/>
                  </a:cubicBezTo>
                  <a:lnTo>
                    <a:pt x="179455" y="12749"/>
                  </a:lnTo>
                  <a:cubicBezTo>
                    <a:pt x="175995" y="11705"/>
                    <a:pt x="174036" y="8115"/>
                    <a:pt x="175081" y="4655"/>
                  </a:cubicBezTo>
                  <a:cubicBezTo>
                    <a:pt x="176125" y="1195"/>
                    <a:pt x="179716" y="-764"/>
                    <a:pt x="183176" y="281"/>
                  </a:cubicBezTo>
                  <a:lnTo>
                    <a:pt x="217252" y="10465"/>
                  </a:lnTo>
                  <a:cubicBezTo>
                    <a:pt x="243103" y="18168"/>
                    <a:pt x="261120" y="42386"/>
                    <a:pt x="261120" y="69347"/>
                  </a:cubicBezTo>
                  <a:lnTo>
                    <a:pt x="261120" y="160347"/>
                  </a:lnTo>
                  <a:cubicBezTo>
                    <a:pt x="261120" y="171118"/>
                    <a:pt x="252307" y="179931"/>
                    <a:pt x="241536" y="179931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grpSp>
          <p:nvGrpSpPr>
            <p:cNvPr id="71" name="Рисунок 79">
              <a:extLst>
                <a:ext uri="{FF2B5EF4-FFF2-40B4-BE49-F238E27FC236}">
                  <a16:creationId xmlns:a16="http://schemas.microsoft.com/office/drawing/2014/main" id="{B38F7A18-2C7E-4439-95B8-0CC9BF60769A}"/>
                </a:ext>
              </a:extLst>
            </p:cNvPr>
            <p:cNvGrpSpPr/>
            <p:nvPr/>
          </p:nvGrpSpPr>
          <p:grpSpPr>
            <a:xfrm>
              <a:off x="2065918" y="4637535"/>
              <a:ext cx="57181" cy="104064"/>
              <a:chOff x="2065918" y="4637535"/>
              <a:chExt cx="57181" cy="104064"/>
            </a:xfrm>
            <a:grpFill/>
          </p:grpSpPr>
          <p:sp>
            <p:nvSpPr>
              <p:cNvPr id="76" name="Полилиния: фигура 92">
                <a:extLst>
                  <a:ext uri="{FF2B5EF4-FFF2-40B4-BE49-F238E27FC236}">
                    <a16:creationId xmlns:a16="http://schemas.microsoft.com/office/drawing/2014/main" id="{AC59089B-CDC5-4C3B-A936-6C3DD3A1457C}"/>
                  </a:ext>
                </a:extLst>
              </p:cNvPr>
              <p:cNvSpPr/>
              <p:nvPr/>
            </p:nvSpPr>
            <p:spPr>
              <a:xfrm>
                <a:off x="2065918" y="4651560"/>
                <a:ext cx="57181" cy="90039"/>
              </a:xfrm>
              <a:custGeom>
                <a:avLst/>
                <a:gdLst>
                  <a:gd name="connsiteX0" fmla="*/ 28623 w 57181"/>
                  <a:gd name="connsiteY0" fmla="*/ 90040 h 90039"/>
                  <a:gd name="connsiteX1" fmla="*/ 24380 w 57181"/>
                  <a:gd name="connsiteY1" fmla="*/ 88473 h 90039"/>
                  <a:gd name="connsiteX2" fmla="*/ 2250 w 57181"/>
                  <a:gd name="connsiteY2" fmla="*/ 69346 h 90039"/>
                  <a:gd name="connsiteX3" fmla="*/ 227 w 57181"/>
                  <a:gd name="connsiteY3" fmla="*/ 62753 h 90039"/>
                  <a:gd name="connsiteX4" fmla="*/ 15502 w 57181"/>
                  <a:gd name="connsiteY4" fmla="*/ 4850 h 90039"/>
                  <a:gd name="connsiteX5" fmla="*/ 23466 w 57181"/>
                  <a:gd name="connsiteY5" fmla="*/ 215 h 90039"/>
                  <a:gd name="connsiteX6" fmla="*/ 28101 w 57181"/>
                  <a:gd name="connsiteY6" fmla="*/ 8179 h 90039"/>
                  <a:gd name="connsiteX7" fmla="*/ 13870 w 57181"/>
                  <a:gd name="connsiteY7" fmla="*/ 62165 h 90039"/>
                  <a:gd name="connsiteX8" fmla="*/ 28623 w 57181"/>
                  <a:gd name="connsiteY8" fmla="*/ 74895 h 90039"/>
                  <a:gd name="connsiteX9" fmla="*/ 43311 w 57181"/>
                  <a:gd name="connsiteY9" fmla="*/ 62165 h 90039"/>
                  <a:gd name="connsiteX10" fmla="*/ 29080 w 57181"/>
                  <a:gd name="connsiteY10" fmla="*/ 8179 h 90039"/>
                  <a:gd name="connsiteX11" fmla="*/ 33715 w 57181"/>
                  <a:gd name="connsiteY11" fmla="*/ 215 h 90039"/>
                  <a:gd name="connsiteX12" fmla="*/ 41679 w 57181"/>
                  <a:gd name="connsiteY12" fmla="*/ 4850 h 90039"/>
                  <a:gd name="connsiteX13" fmla="*/ 56955 w 57181"/>
                  <a:gd name="connsiteY13" fmla="*/ 62753 h 90039"/>
                  <a:gd name="connsiteX14" fmla="*/ 54931 w 57181"/>
                  <a:gd name="connsiteY14" fmla="*/ 69346 h 90039"/>
                  <a:gd name="connsiteX15" fmla="*/ 32867 w 57181"/>
                  <a:gd name="connsiteY15" fmla="*/ 88473 h 90039"/>
                  <a:gd name="connsiteX16" fmla="*/ 28623 w 57181"/>
                  <a:gd name="connsiteY16" fmla="*/ 90040 h 9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7181" h="90039">
                    <a:moveTo>
                      <a:pt x="28623" y="90040"/>
                    </a:moveTo>
                    <a:cubicBezTo>
                      <a:pt x="27122" y="90040"/>
                      <a:pt x="25555" y="89518"/>
                      <a:pt x="24380" y="88473"/>
                    </a:cubicBezTo>
                    <a:lnTo>
                      <a:pt x="2250" y="69346"/>
                    </a:lnTo>
                    <a:cubicBezTo>
                      <a:pt x="357" y="67714"/>
                      <a:pt x="-426" y="65168"/>
                      <a:pt x="227" y="62753"/>
                    </a:cubicBezTo>
                    <a:lnTo>
                      <a:pt x="15502" y="4850"/>
                    </a:lnTo>
                    <a:cubicBezTo>
                      <a:pt x="16416" y="1390"/>
                      <a:pt x="20006" y="-699"/>
                      <a:pt x="23466" y="215"/>
                    </a:cubicBezTo>
                    <a:cubicBezTo>
                      <a:pt x="26926" y="1129"/>
                      <a:pt x="29015" y="4719"/>
                      <a:pt x="28101" y="8179"/>
                    </a:cubicBezTo>
                    <a:lnTo>
                      <a:pt x="13870" y="62165"/>
                    </a:lnTo>
                    <a:lnTo>
                      <a:pt x="28623" y="74895"/>
                    </a:lnTo>
                    <a:lnTo>
                      <a:pt x="43311" y="62165"/>
                    </a:lnTo>
                    <a:lnTo>
                      <a:pt x="29080" y="8179"/>
                    </a:lnTo>
                    <a:cubicBezTo>
                      <a:pt x="28166" y="4719"/>
                      <a:pt x="30255" y="1129"/>
                      <a:pt x="33715" y="215"/>
                    </a:cubicBezTo>
                    <a:cubicBezTo>
                      <a:pt x="37175" y="-699"/>
                      <a:pt x="40765" y="1390"/>
                      <a:pt x="41679" y="4850"/>
                    </a:cubicBezTo>
                    <a:lnTo>
                      <a:pt x="56955" y="62753"/>
                    </a:lnTo>
                    <a:cubicBezTo>
                      <a:pt x="57608" y="65168"/>
                      <a:pt x="56824" y="67714"/>
                      <a:pt x="54931" y="69346"/>
                    </a:cubicBezTo>
                    <a:lnTo>
                      <a:pt x="32867" y="88473"/>
                    </a:lnTo>
                    <a:cubicBezTo>
                      <a:pt x="31691" y="89518"/>
                      <a:pt x="30190" y="90040"/>
                      <a:pt x="28623" y="90040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282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797" b="0" i="0" u="none" strike="noStrike" kern="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Cera CY"/>
                </a:endParaRPr>
              </a:p>
            </p:txBody>
          </p:sp>
          <p:sp>
            <p:nvSpPr>
              <p:cNvPr id="77" name="Полилиния: фигура 93">
                <a:extLst>
                  <a:ext uri="{FF2B5EF4-FFF2-40B4-BE49-F238E27FC236}">
                    <a16:creationId xmlns:a16="http://schemas.microsoft.com/office/drawing/2014/main" id="{C7823653-661A-4888-B417-E64605524F3C}"/>
                  </a:ext>
                </a:extLst>
              </p:cNvPr>
              <p:cNvSpPr/>
              <p:nvPr/>
            </p:nvSpPr>
            <p:spPr>
              <a:xfrm>
                <a:off x="2071163" y="4637535"/>
                <a:ext cx="47802" cy="27034"/>
              </a:xfrm>
              <a:custGeom>
                <a:avLst/>
                <a:gdLst>
                  <a:gd name="connsiteX0" fmla="*/ 23379 w 47802"/>
                  <a:gd name="connsiteY0" fmla="*/ 27034 h 27034"/>
                  <a:gd name="connsiteX1" fmla="*/ 19332 w 47802"/>
                  <a:gd name="connsiteY1" fmla="*/ 25664 h 27034"/>
                  <a:gd name="connsiteX2" fmla="*/ 2489 w 47802"/>
                  <a:gd name="connsiteY2" fmla="*/ 12412 h 27034"/>
                  <a:gd name="connsiteX3" fmla="*/ 1380 w 47802"/>
                  <a:gd name="connsiteY3" fmla="*/ 3273 h 27034"/>
                  <a:gd name="connsiteX4" fmla="*/ 10519 w 47802"/>
                  <a:gd name="connsiteY4" fmla="*/ 2163 h 27034"/>
                  <a:gd name="connsiteX5" fmla="*/ 23379 w 47802"/>
                  <a:gd name="connsiteY5" fmla="*/ 12216 h 27034"/>
                  <a:gd name="connsiteX6" fmla="*/ 37284 w 47802"/>
                  <a:gd name="connsiteY6" fmla="*/ 1380 h 27034"/>
                  <a:gd name="connsiteX7" fmla="*/ 46423 w 47802"/>
                  <a:gd name="connsiteY7" fmla="*/ 2489 h 27034"/>
                  <a:gd name="connsiteX8" fmla="*/ 45313 w 47802"/>
                  <a:gd name="connsiteY8" fmla="*/ 11628 h 27034"/>
                  <a:gd name="connsiteX9" fmla="*/ 27361 w 47802"/>
                  <a:gd name="connsiteY9" fmla="*/ 25664 h 27034"/>
                  <a:gd name="connsiteX10" fmla="*/ 23379 w 47802"/>
                  <a:gd name="connsiteY10" fmla="*/ 27034 h 2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802" h="27034">
                    <a:moveTo>
                      <a:pt x="23379" y="27034"/>
                    </a:moveTo>
                    <a:cubicBezTo>
                      <a:pt x="21943" y="27034"/>
                      <a:pt x="20507" y="26578"/>
                      <a:pt x="19332" y="25664"/>
                    </a:cubicBezTo>
                    <a:lnTo>
                      <a:pt x="2489" y="12412"/>
                    </a:lnTo>
                    <a:cubicBezTo>
                      <a:pt x="-318" y="10192"/>
                      <a:pt x="-840" y="6080"/>
                      <a:pt x="1380" y="3273"/>
                    </a:cubicBezTo>
                    <a:cubicBezTo>
                      <a:pt x="3599" y="466"/>
                      <a:pt x="7712" y="-57"/>
                      <a:pt x="10519" y="2163"/>
                    </a:cubicBezTo>
                    <a:lnTo>
                      <a:pt x="23379" y="12216"/>
                    </a:lnTo>
                    <a:lnTo>
                      <a:pt x="37284" y="1380"/>
                    </a:lnTo>
                    <a:cubicBezTo>
                      <a:pt x="40091" y="-840"/>
                      <a:pt x="44203" y="-318"/>
                      <a:pt x="46423" y="2489"/>
                    </a:cubicBezTo>
                    <a:cubicBezTo>
                      <a:pt x="48642" y="5362"/>
                      <a:pt x="48120" y="9409"/>
                      <a:pt x="45313" y="11628"/>
                    </a:cubicBezTo>
                    <a:lnTo>
                      <a:pt x="27361" y="25664"/>
                    </a:lnTo>
                    <a:cubicBezTo>
                      <a:pt x="26186" y="26578"/>
                      <a:pt x="24815" y="27034"/>
                      <a:pt x="23379" y="27034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282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797" b="0" i="0" u="none" strike="noStrike" kern="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Cera CY"/>
                </a:endParaRPr>
              </a:p>
            </p:txBody>
          </p:sp>
        </p:grpSp>
        <p:sp>
          <p:nvSpPr>
            <p:cNvPr id="72" name="Полилиния: фигура 88">
              <a:extLst>
                <a:ext uri="{FF2B5EF4-FFF2-40B4-BE49-F238E27FC236}">
                  <a16:creationId xmlns:a16="http://schemas.microsoft.com/office/drawing/2014/main" id="{FCC159C2-D6A3-4C9F-ACA9-403F81DC2FD4}"/>
                </a:ext>
              </a:extLst>
            </p:cNvPr>
            <p:cNvSpPr/>
            <p:nvPr/>
          </p:nvSpPr>
          <p:spPr>
            <a:xfrm>
              <a:off x="2036273" y="4600753"/>
              <a:ext cx="64261" cy="49846"/>
            </a:xfrm>
            <a:custGeom>
              <a:avLst/>
              <a:gdLst>
                <a:gd name="connsiteX0" fmla="*/ 34702 w 64261"/>
                <a:gd name="connsiteY0" fmla="*/ 49847 h 49846"/>
                <a:gd name="connsiteX1" fmla="*/ 34180 w 64261"/>
                <a:gd name="connsiteY1" fmla="*/ 49847 h 49846"/>
                <a:gd name="connsiteX2" fmla="*/ 17599 w 64261"/>
                <a:gd name="connsiteY2" fmla="*/ 39859 h 49846"/>
                <a:gd name="connsiteX3" fmla="*/ 822 w 64261"/>
                <a:gd name="connsiteY3" fmla="*/ 9700 h 49846"/>
                <a:gd name="connsiteX4" fmla="*/ 3368 w 64261"/>
                <a:gd name="connsiteY4" fmla="*/ 822 h 49846"/>
                <a:gd name="connsiteX5" fmla="*/ 12246 w 64261"/>
                <a:gd name="connsiteY5" fmla="*/ 3368 h 49846"/>
                <a:gd name="connsiteX6" fmla="*/ 28957 w 64261"/>
                <a:gd name="connsiteY6" fmla="*/ 33462 h 49846"/>
                <a:gd name="connsiteX7" fmla="*/ 34441 w 64261"/>
                <a:gd name="connsiteY7" fmla="*/ 36726 h 49846"/>
                <a:gd name="connsiteX8" fmla="*/ 40120 w 64261"/>
                <a:gd name="connsiteY8" fmla="*/ 33658 h 49846"/>
                <a:gd name="connsiteX9" fmla="*/ 52197 w 64261"/>
                <a:gd name="connsiteY9" fmla="*/ 14596 h 49846"/>
                <a:gd name="connsiteX10" fmla="*/ 61206 w 64261"/>
                <a:gd name="connsiteY10" fmla="*/ 12572 h 49846"/>
                <a:gd name="connsiteX11" fmla="*/ 63229 w 64261"/>
                <a:gd name="connsiteY11" fmla="*/ 21581 h 49846"/>
                <a:gd name="connsiteX12" fmla="*/ 51153 w 64261"/>
                <a:gd name="connsiteY12" fmla="*/ 40642 h 49846"/>
                <a:gd name="connsiteX13" fmla="*/ 34702 w 64261"/>
                <a:gd name="connsiteY13" fmla="*/ 49847 h 4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61" h="49846">
                  <a:moveTo>
                    <a:pt x="34702" y="49847"/>
                  </a:moveTo>
                  <a:cubicBezTo>
                    <a:pt x="34506" y="49847"/>
                    <a:pt x="34376" y="49847"/>
                    <a:pt x="34180" y="49847"/>
                  </a:cubicBezTo>
                  <a:cubicBezTo>
                    <a:pt x="27195" y="49651"/>
                    <a:pt x="21059" y="45930"/>
                    <a:pt x="17599" y="39859"/>
                  </a:cubicBezTo>
                  <a:lnTo>
                    <a:pt x="822" y="9700"/>
                  </a:lnTo>
                  <a:cubicBezTo>
                    <a:pt x="-941" y="6566"/>
                    <a:pt x="234" y="2584"/>
                    <a:pt x="3368" y="822"/>
                  </a:cubicBezTo>
                  <a:cubicBezTo>
                    <a:pt x="6501" y="-941"/>
                    <a:pt x="10483" y="234"/>
                    <a:pt x="12246" y="3368"/>
                  </a:cubicBezTo>
                  <a:lnTo>
                    <a:pt x="28957" y="33462"/>
                  </a:lnTo>
                  <a:cubicBezTo>
                    <a:pt x="30589" y="36334"/>
                    <a:pt x="33331" y="36726"/>
                    <a:pt x="34441" y="36726"/>
                  </a:cubicBezTo>
                  <a:cubicBezTo>
                    <a:pt x="35616" y="36726"/>
                    <a:pt x="38358" y="36530"/>
                    <a:pt x="40120" y="33658"/>
                  </a:cubicBezTo>
                  <a:lnTo>
                    <a:pt x="52197" y="14596"/>
                  </a:lnTo>
                  <a:cubicBezTo>
                    <a:pt x="54156" y="11528"/>
                    <a:pt x="58138" y="10614"/>
                    <a:pt x="61206" y="12572"/>
                  </a:cubicBezTo>
                  <a:cubicBezTo>
                    <a:pt x="64274" y="14465"/>
                    <a:pt x="65188" y="18513"/>
                    <a:pt x="63229" y="21581"/>
                  </a:cubicBezTo>
                  <a:lnTo>
                    <a:pt x="51153" y="40642"/>
                  </a:lnTo>
                  <a:cubicBezTo>
                    <a:pt x="47628" y="46452"/>
                    <a:pt x="41426" y="49847"/>
                    <a:pt x="34702" y="49847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73" name="Полилиния: фигура 89">
              <a:extLst>
                <a:ext uri="{FF2B5EF4-FFF2-40B4-BE49-F238E27FC236}">
                  <a16:creationId xmlns:a16="http://schemas.microsoft.com/office/drawing/2014/main" id="{54F867E9-0725-4100-84F8-091515F58248}"/>
                </a:ext>
              </a:extLst>
            </p:cNvPr>
            <p:cNvSpPr/>
            <p:nvPr/>
          </p:nvSpPr>
          <p:spPr>
            <a:xfrm>
              <a:off x="2087598" y="4600717"/>
              <a:ext cx="64297" cy="49883"/>
            </a:xfrm>
            <a:custGeom>
              <a:avLst/>
              <a:gdLst>
                <a:gd name="connsiteX0" fmla="*/ 29530 w 64297"/>
                <a:gd name="connsiteY0" fmla="*/ 49883 h 49883"/>
                <a:gd name="connsiteX1" fmla="*/ 13015 w 64297"/>
                <a:gd name="connsiteY1" fmla="*/ 40744 h 49883"/>
                <a:gd name="connsiteX2" fmla="*/ 1003 w 64297"/>
                <a:gd name="connsiteY2" fmla="*/ 21682 h 49883"/>
                <a:gd name="connsiteX3" fmla="*/ 3027 w 64297"/>
                <a:gd name="connsiteY3" fmla="*/ 12674 h 49883"/>
                <a:gd name="connsiteX4" fmla="*/ 12035 w 64297"/>
                <a:gd name="connsiteY4" fmla="*/ 14697 h 49883"/>
                <a:gd name="connsiteX5" fmla="*/ 24047 w 64297"/>
                <a:gd name="connsiteY5" fmla="*/ 33759 h 49883"/>
                <a:gd name="connsiteX6" fmla="*/ 29726 w 64297"/>
                <a:gd name="connsiteY6" fmla="*/ 36827 h 49883"/>
                <a:gd name="connsiteX7" fmla="*/ 35275 w 64297"/>
                <a:gd name="connsiteY7" fmla="*/ 33498 h 49883"/>
                <a:gd name="connsiteX8" fmla="*/ 52052 w 64297"/>
                <a:gd name="connsiteY8" fmla="*/ 3339 h 49883"/>
                <a:gd name="connsiteX9" fmla="*/ 60930 w 64297"/>
                <a:gd name="connsiteY9" fmla="*/ 793 h 49883"/>
                <a:gd name="connsiteX10" fmla="*/ 63476 w 64297"/>
                <a:gd name="connsiteY10" fmla="*/ 9671 h 49883"/>
                <a:gd name="connsiteX11" fmla="*/ 46634 w 64297"/>
                <a:gd name="connsiteY11" fmla="*/ 39830 h 49883"/>
                <a:gd name="connsiteX12" fmla="*/ 30053 w 64297"/>
                <a:gd name="connsiteY12" fmla="*/ 49818 h 49883"/>
                <a:gd name="connsiteX13" fmla="*/ 29530 w 64297"/>
                <a:gd name="connsiteY13" fmla="*/ 49883 h 4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97" h="49883">
                  <a:moveTo>
                    <a:pt x="29530" y="49883"/>
                  </a:moveTo>
                  <a:cubicBezTo>
                    <a:pt x="22741" y="49883"/>
                    <a:pt x="16605" y="46489"/>
                    <a:pt x="13015" y="40744"/>
                  </a:cubicBezTo>
                  <a:lnTo>
                    <a:pt x="1003" y="21682"/>
                  </a:lnTo>
                  <a:cubicBezTo>
                    <a:pt x="-890" y="18614"/>
                    <a:pt x="-41" y="14632"/>
                    <a:pt x="3027" y="12674"/>
                  </a:cubicBezTo>
                  <a:cubicBezTo>
                    <a:pt x="6095" y="10781"/>
                    <a:pt x="10077" y="11695"/>
                    <a:pt x="12035" y="14697"/>
                  </a:cubicBezTo>
                  <a:lnTo>
                    <a:pt x="24047" y="33759"/>
                  </a:lnTo>
                  <a:cubicBezTo>
                    <a:pt x="25809" y="36566"/>
                    <a:pt x="28616" y="36827"/>
                    <a:pt x="29726" y="36827"/>
                  </a:cubicBezTo>
                  <a:cubicBezTo>
                    <a:pt x="30836" y="36827"/>
                    <a:pt x="33578" y="36436"/>
                    <a:pt x="35275" y="33498"/>
                  </a:cubicBezTo>
                  <a:lnTo>
                    <a:pt x="52052" y="3339"/>
                  </a:lnTo>
                  <a:cubicBezTo>
                    <a:pt x="53815" y="205"/>
                    <a:pt x="57797" y="-904"/>
                    <a:pt x="60930" y="793"/>
                  </a:cubicBezTo>
                  <a:cubicBezTo>
                    <a:pt x="64063" y="2490"/>
                    <a:pt x="65239" y="6537"/>
                    <a:pt x="63476" y="9671"/>
                  </a:cubicBezTo>
                  <a:lnTo>
                    <a:pt x="46634" y="39830"/>
                  </a:lnTo>
                  <a:cubicBezTo>
                    <a:pt x="43174" y="45901"/>
                    <a:pt x="37038" y="49622"/>
                    <a:pt x="30053" y="49818"/>
                  </a:cubicBezTo>
                  <a:cubicBezTo>
                    <a:pt x="29857" y="49883"/>
                    <a:pt x="29661" y="49883"/>
                    <a:pt x="29530" y="498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74" name="Полилиния: фигура 90">
              <a:extLst>
                <a:ext uri="{FF2B5EF4-FFF2-40B4-BE49-F238E27FC236}">
                  <a16:creationId xmlns:a16="http://schemas.microsoft.com/office/drawing/2014/main" id="{2BA02CFD-E9A5-4677-8372-F7F8666EF0A0}"/>
                </a:ext>
              </a:extLst>
            </p:cNvPr>
            <p:cNvSpPr/>
            <p:nvPr/>
          </p:nvSpPr>
          <p:spPr>
            <a:xfrm>
              <a:off x="2003157" y="4715408"/>
              <a:ext cx="25444" cy="62682"/>
            </a:xfrm>
            <a:custGeom>
              <a:avLst/>
              <a:gdLst>
                <a:gd name="connsiteX0" fmla="*/ 18924 w 25444"/>
                <a:gd name="connsiteY0" fmla="*/ 62683 h 62682"/>
                <a:gd name="connsiteX1" fmla="*/ 12592 w 25444"/>
                <a:gd name="connsiteY1" fmla="*/ 57722 h 62682"/>
                <a:gd name="connsiteX2" fmla="*/ 189 w 25444"/>
                <a:gd name="connsiteY2" fmla="*/ 8109 h 62682"/>
                <a:gd name="connsiteX3" fmla="*/ 4954 w 25444"/>
                <a:gd name="connsiteY3" fmla="*/ 210 h 62682"/>
                <a:gd name="connsiteX4" fmla="*/ 12853 w 25444"/>
                <a:gd name="connsiteY4" fmla="*/ 4976 h 62682"/>
                <a:gd name="connsiteX5" fmla="*/ 25256 w 25444"/>
                <a:gd name="connsiteY5" fmla="*/ 54588 h 62682"/>
                <a:gd name="connsiteX6" fmla="*/ 20491 w 25444"/>
                <a:gd name="connsiteY6" fmla="*/ 62487 h 62682"/>
                <a:gd name="connsiteX7" fmla="*/ 18924 w 25444"/>
                <a:gd name="connsiteY7" fmla="*/ 62683 h 62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444" h="62682">
                  <a:moveTo>
                    <a:pt x="18924" y="62683"/>
                  </a:moveTo>
                  <a:cubicBezTo>
                    <a:pt x="15986" y="62683"/>
                    <a:pt x="13310" y="60725"/>
                    <a:pt x="12592" y="57722"/>
                  </a:cubicBezTo>
                  <a:lnTo>
                    <a:pt x="189" y="8109"/>
                  </a:lnTo>
                  <a:cubicBezTo>
                    <a:pt x="-660" y="4584"/>
                    <a:pt x="1429" y="1059"/>
                    <a:pt x="4954" y="210"/>
                  </a:cubicBezTo>
                  <a:cubicBezTo>
                    <a:pt x="8414" y="-704"/>
                    <a:pt x="12004" y="1450"/>
                    <a:pt x="12853" y="4976"/>
                  </a:cubicBezTo>
                  <a:lnTo>
                    <a:pt x="25256" y="54588"/>
                  </a:lnTo>
                  <a:cubicBezTo>
                    <a:pt x="26105" y="58113"/>
                    <a:pt x="24016" y="61638"/>
                    <a:pt x="20491" y="62487"/>
                  </a:cubicBezTo>
                  <a:cubicBezTo>
                    <a:pt x="19969" y="62618"/>
                    <a:pt x="19446" y="62683"/>
                    <a:pt x="18924" y="626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75" name="Полилиния: фигура 91">
              <a:extLst>
                <a:ext uri="{FF2B5EF4-FFF2-40B4-BE49-F238E27FC236}">
                  <a16:creationId xmlns:a16="http://schemas.microsoft.com/office/drawing/2014/main" id="{58F2BC85-FE32-4728-8167-9C7DEFE64E24}"/>
                </a:ext>
              </a:extLst>
            </p:cNvPr>
            <p:cNvSpPr/>
            <p:nvPr/>
          </p:nvSpPr>
          <p:spPr>
            <a:xfrm>
              <a:off x="2160220" y="4715408"/>
              <a:ext cx="25640" cy="63531"/>
            </a:xfrm>
            <a:custGeom>
              <a:avLst/>
              <a:gdLst>
                <a:gd name="connsiteX0" fmla="*/ 6521 w 25640"/>
                <a:gd name="connsiteY0" fmla="*/ 63532 h 63531"/>
                <a:gd name="connsiteX1" fmla="*/ 4954 w 25640"/>
                <a:gd name="connsiteY1" fmla="*/ 63336 h 63531"/>
                <a:gd name="connsiteX2" fmla="*/ 189 w 25640"/>
                <a:gd name="connsiteY2" fmla="*/ 55437 h 63531"/>
                <a:gd name="connsiteX3" fmla="*/ 12788 w 25640"/>
                <a:gd name="connsiteY3" fmla="*/ 4976 h 63531"/>
                <a:gd name="connsiteX4" fmla="*/ 20687 w 25640"/>
                <a:gd name="connsiteY4" fmla="*/ 210 h 63531"/>
                <a:gd name="connsiteX5" fmla="*/ 25452 w 25640"/>
                <a:gd name="connsiteY5" fmla="*/ 8109 h 63531"/>
                <a:gd name="connsiteX6" fmla="*/ 12853 w 25640"/>
                <a:gd name="connsiteY6" fmla="*/ 58570 h 63531"/>
                <a:gd name="connsiteX7" fmla="*/ 6521 w 25640"/>
                <a:gd name="connsiteY7" fmla="*/ 63532 h 6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0" h="63531">
                  <a:moveTo>
                    <a:pt x="6521" y="63532"/>
                  </a:moveTo>
                  <a:cubicBezTo>
                    <a:pt x="5999" y="63532"/>
                    <a:pt x="5476" y="63466"/>
                    <a:pt x="4954" y="63336"/>
                  </a:cubicBezTo>
                  <a:cubicBezTo>
                    <a:pt x="1429" y="62487"/>
                    <a:pt x="-660" y="58897"/>
                    <a:pt x="189" y="55437"/>
                  </a:cubicBezTo>
                  <a:lnTo>
                    <a:pt x="12788" y="4976"/>
                  </a:lnTo>
                  <a:cubicBezTo>
                    <a:pt x="13636" y="1450"/>
                    <a:pt x="17227" y="-704"/>
                    <a:pt x="20687" y="210"/>
                  </a:cubicBezTo>
                  <a:cubicBezTo>
                    <a:pt x="24212" y="1059"/>
                    <a:pt x="26301" y="4649"/>
                    <a:pt x="25452" y="8109"/>
                  </a:cubicBezTo>
                  <a:lnTo>
                    <a:pt x="12853" y="58570"/>
                  </a:lnTo>
                  <a:cubicBezTo>
                    <a:pt x="12070" y="61573"/>
                    <a:pt x="9393" y="63532"/>
                    <a:pt x="6521" y="6353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</p:grp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id="{B79C964E-FEC6-4504-98CC-4F116E8B8CC3}"/>
              </a:ext>
            </a:extLst>
          </p:cNvPr>
          <p:cNvGrpSpPr/>
          <p:nvPr/>
        </p:nvGrpSpPr>
        <p:grpSpPr>
          <a:xfrm>
            <a:off x="10069431" y="4106760"/>
            <a:ext cx="260711" cy="338922"/>
            <a:chOff x="1963982" y="4441248"/>
            <a:chExt cx="261120" cy="339454"/>
          </a:xfrm>
          <a:solidFill>
            <a:srgbClr val="696E82"/>
          </a:solidFill>
        </p:grpSpPr>
        <p:sp>
          <p:nvSpPr>
            <p:cNvPr id="79" name="Полилиния: фигура 95">
              <a:extLst>
                <a:ext uri="{FF2B5EF4-FFF2-40B4-BE49-F238E27FC236}">
                  <a16:creationId xmlns:a16="http://schemas.microsoft.com/office/drawing/2014/main" id="{36F1F332-CA36-4D79-B79E-60E5579A630F}"/>
                </a:ext>
              </a:extLst>
            </p:cNvPr>
            <p:cNvSpPr/>
            <p:nvPr/>
          </p:nvSpPr>
          <p:spPr>
            <a:xfrm>
              <a:off x="2029262" y="4506527"/>
              <a:ext cx="13056" cy="26111"/>
            </a:xfrm>
            <a:custGeom>
              <a:avLst/>
              <a:gdLst>
                <a:gd name="connsiteX0" fmla="*/ 13056 w 13056"/>
                <a:gd name="connsiteY0" fmla="*/ 26112 h 26111"/>
                <a:gd name="connsiteX1" fmla="*/ 0 w 13056"/>
                <a:gd name="connsiteY1" fmla="*/ 13056 h 26111"/>
                <a:gd name="connsiteX2" fmla="*/ 13056 w 13056"/>
                <a:gd name="connsiteY2" fmla="*/ 0 h 26111"/>
                <a:gd name="connsiteX3" fmla="*/ 13056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13056" y="26112"/>
                  </a:moveTo>
                  <a:cubicBezTo>
                    <a:pt x="5875" y="26112"/>
                    <a:pt x="0" y="20302"/>
                    <a:pt x="0" y="13056"/>
                  </a:cubicBezTo>
                  <a:cubicBezTo>
                    <a:pt x="0" y="5875"/>
                    <a:pt x="5875" y="0"/>
                    <a:pt x="13056" y="0"/>
                  </a:cubicBezTo>
                  <a:lnTo>
                    <a:pt x="13056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80" name="Полилиния: фигура 96">
              <a:extLst>
                <a:ext uri="{FF2B5EF4-FFF2-40B4-BE49-F238E27FC236}">
                  <a16:creationId xmlns:a16="http://schemas.microsoft.com/office/drawing/2014/main" id="{E22D9B01-E013-40BD-9BA7-E3465A6BE808}"/>
                </a:ext>
              </a:extLst>
            </p:cNvPr>
            <p:cNvSpPr/>
            <p:nvPr/>
          </p:nvSpPr>
          <p:spPr>
            <a:xfrm>
              <a:off x="2146766" y="4506527"/>
              <a:ext cx="13056" cy="26111"/>
            </a:xfrm>
            <a:custGeom>
              <a:avLst/>
              <a:gdLst>
                <a:gd name="connsiteX0" fmla="*/ 0 w 13056"/>
                <a:gd name="connsiteY0" fmla="*/ 26112 h 26111"/>
                <a:gd name="connsiteX1" fmla="*/ 13056 w 13056"/>
                <a:gd name="connsiteY1" fmla="*/ 13056 h 26111"/>
                <a:gd name="connsiteX2" fmla="*/ 0 w 13056"/>
                <a:gd name="connsiteY2" fmla="*/ 0 h 26111"/>
                <a:gd name="connsiteX3" fmla="*/ 0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0" y="26112"/>
                  </a:moveTo>
                  <a:cubicBezTo>
                    <a:pt x="7181" y="26112"/>
                    <a:pt x="13056" y="20302"/>
                    <a:pt x="13056" y="13056"/>
                  </a:cubicBezTo>
                  <a:cubicBezTo>
                    <a:pt x="13056" y="5875"/>
                    <a:pt x="7181" y="0"/>
                    <a:pt x="0" y="0"/>
                  </a:cubicBezTo>
                  <a:lnTo>
                    <a:pt x="0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81" name="Полилиния: фигура 97">
              <a:extLst>
                <a:ext uri="{FF2B5EF4-FFF2-40B4-BE49-F238E27FC236}">
                  <a16:creationId xmlns:a16="http://schemas.microsoft.com/office/drawing/2014/main" id="{358A32A6-C177-4754-8852-F569C93CAFDB}"/>
                </a:ext>
              </a:extLst>
            </p:cNvPr>
            <p:cNvSpPr/>
            <p:nvPr/>
          </p:nvSpPr>
          <p:spPr>
            <a:xfrm>
              <a:off x="2035790" y="4441248"/>
              <a:ext cx="117504" cy="143615"/>
            </a:xfrm>
            <a:custGeom>
              <a:avLst/>
              <a:gdLst>
                <a:gd name="connsiteX0" fmla="*/ 58752 w 117504"/>
                <a:gd name="connsiteY0" fmla="*/ 143616 h 143615"/>
                <a:gd name="connsiteX1" fmla="*/ 0 w 117504"/>
                <a:gd name="connsiteY1" fmla="*/ 58752 h 143615"/>
                <a:gd name="connsiteX2" fmla="*/ 58752 w 117504"/>
                <a:gd name="connsiteY2" fmla="*/ 0 h 143615"/>
                <a:gd name="connsiteX3" fmla="*/ 117504 w 117504"/>
                <a:gd name="connsiteY3" fmla="*/ 58752 h 143615"/>
                <a:gd name="connsiteX4" fmla="*/ 58752 w 117504"/>
                <a:gd name="connsiteY4" fmla="*/ 143616 h 143615"/>
                <a:gd name="connsiteX5" fmla="*/ 58752 w 117504"/>
                <a:gd name="connsiteY5" fmla="*/ 13056 h 143615"/>
                <a:gd name="connsiteX6" fmla="*/ 13056 w 117504"/>
                <a:gd name="connsiteY6" fmla="*/ 58752 h 143615"/>
                <a:gd name="connsiteX7" fmla="*/ 58752 w 117504"/>
                <a:gd name="connsiteY7" fmla="*/ 130560 h 143615"/>
                <a:gd name="connsiteX8" fmla="*/ 104448 w 117504"/>
                <a:gd name="connsiteY8" fmla="*/ 58752 h 143615"/>
                <a:gd name="connsiteX9" fmla="*/ 58752 w 117504"/>
                <a:gd name="connsiteY9" fmla="*/ 13056 h 14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4" h="143615">
                  <a:moveTo>
                    <a:pt x="58752" y="143616"/>
                  </a:moveTo>
                  <a:cubicBezTo>
                    <a:pt x="24219" y="143616"/>
                    <a:pt x="0" y="88585"/>
                    <a:pt x="0" y="58752"/>
                  </a:cubicBezTo>
                  <a:cubicBezTo>
                    <a:pt x="0" y="26373"/>
                    <a:pt x="26373" y="0"/>
                    <a:pt x="58752" y="0"/>
                  </a:cubicBezTo>
                  <a:cubicBezTo>
                    <a:pt x="91131" y="0"/>
                    <a:pt x="117504" y="26373"/>
                    <a:pt x="117504" y="58752"/>
                  </a:cubicBezTo>
                  <a:cubicBezTo>
                    <a:pt x="117504" y="88585"/>
                    <a:pt x="93285" y="143616"/>
                    <a:pt x="58752" y="143616"/>
                  </a:cubicBezTo>
                  <a:close/>
                  <a:moveTo>
                    <a:pt x="58752" y="13056"/>
                  </a:moveTo>
                  <a:cubicBezTo>
                    <a:pt x="33554" y="13056"/>
                    <a:pt x="13056" y="33554"/>
                    <a:pt x="13056" y="58752"/>
                  </a:cubicBezTo>
                  <a:cubicBezTo>
                    <a:pt x="13056" y="85778"/>
                    <a:pt x="35186" y="130560"/>
                    <a:pt x="58752" y="130560"/>
                  </a:cubicBezTo>
                  <a:cubicBezTo>
                    <a:pt x="82318" y="130560"/>
                    <a:pt x="104448" y="85778"/>
                    <a:pt x="104448" y="58752"/>
                  </a:cubicBezTo>
                  <a:cubicBezTo>
                    <a:pt x="104448" y="33554"/>
                    <a:pt x="83950" y="13056"/>
                    <a:pt x="5875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82" name="Полилиния: фигура 98">
              <a:extLst>
                <a:ext uri="{FF2B5EF4-FFF2-40B4-BE49-F238E27FC236}">
                  <a16:creationId xmlns:a16="http://schemas.microsoft.com/office/drawing/2014/main" id="{FF1859D4-EFFE-423A-9034-89EC6A8FFAF0}"/>
                </a:ext>
              </a:extLst>
            </p:cNvPr>
            <p:cNvSpPr/>
            <p:nvPr/>
          </p:nvSpPr>
          <p:spPr>
            <a:xfrm>
              <a:off x="2087997" y="4480464"/>
              <a:ext cx="63687" cy="28282"/>
            </a:xfrm>
            <a:custGeom>
              <a:avLst/>
              <a:gdLst>
                <a:gd name="connsiteX0" fmla="*/ 43558 w 63687"/>
                <a:gd name="connsiteY0" fmla="*/ 28282 h 28282"/>
                <a:gd name="connsiteX1" fmla="*/ 1909 w 63687"/>
                <a:gd name="connsiteY1" fmla="*/ 11114 h 28282"/>
                <a:gd name="connsiteX2" fmla="*/ 1909 w 63687"/>
                <a:gd name="connsiteY2" fmla="*/ 1909 h 28282"/>
                <a:gd name="connsiteX3" fmla="*/ 11114 w 63687"/>
                <a:gd name="connsiteY3" fmla="*/ 1909 h 28282"/>
                <a:gd name="connsiteX4" fmla="*/ 55439 w 63687"/>
                <a:gd name="connsiteY4" fmla="*/ 13725 h 28282"/>
                <a:gd name="connsiteX5" fmla="*/ 63468 w 63687"/>
                <a:gd name="connsiteY5" fmla="*/ 18295 h 28282"/>
                <a:gd name="connsiteX6" fmla="*/ 58899 w 63687"/>
                <a:gd name="connsiteY6" fmla="*/ 26324 h 28282"/>
                <a:gd name="connsiteX7" fmla="*/ 43558 w 63687"/>
                <a:gd name="connsiteY7" fmla="*/ 28282 h 28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687" h="28282">
                  <a:moveTo>
                    <a:pt x="43558" y="28282"/>
                  </a:moveTo>
                  <a:cubicBezTo>
                    <a:pt x="28152" y="28282"/>
                    <a:pt x="13072" y="22211"/>
                    <a:pt x="1909" y="11114"/>
                  </a:cubicBezTo>
                  <a:cubicBezTo>
                    <a:pt x="-636" y="8568"/>
                    <a:pt x="-636" y="4455"/>
                    <a:pt x="1909" y="1909"/>
                  </a:cubicBezTo>
                  <a:cubicBezTo>
                    <a:pt x="4455" y="-636"/>
                    <a:pt x="8568" y="-636"/>
                    <a:pt x="11114" y="1909"/>
                  </a:cubicBezTo>
                  <a:cubicBezTo>
                    <a:pt x="22668" y="13464"/>
                    <a:pt x="39641" y="17968"/>
                    <a:pt x="55439" y="13725"/>
                  </a:cubicBezTo>
                  <a:cubicBezTo>
                    <a:pt x="58899" y="12746"/>
                    <a:pt x="62489" y="14835"/>
                    <a:pt x="63468" y="18295"/>
                  </a:cubicBezTo>
                  <a:cubicBezTo>
                    <a:pt x="64382" y="21754"/>
                    <a:pt x="62359" y="25345"/>
                    <a:pt x="58899" y="26324"/>
                  </a:cubicBezTo>
                  <a:cubicBezTo>
                    <a:pt x="53872" y="27630"/>
                    <a:pt x="48715" y="28282"/>
                    <a:pt x="43558" y="2828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83" name="Полилиния: фигура 99">
              <a:extLst>
                <a:ext uri="{FF2B5EF4-FFF2-40B4-BE49-F238E27FC236}">
                  <a16:creationId xmlns:a16="http://schemas.microsoft.com/office/drawing/2014/main" id="{FED4ED5B-4707-4767-B82D-8315033D7B8A}"/>
                </a:ext>
              </a:extLst>
            </p:cNvPr>
            <p:cNvSpPr/>
            <p:nvPr/>
          </p:nvSpPr>
          <p:spPr>
            <a:xfrm>
              <a:off x="2068430" y="4480415"/>
              <a:ext cx="32640" cy="13055"/>
            </a:xfrm>
            <a:custGeom>
              <a:avLst/>
              <a:gdLst>
                <a:gd name="connsiteX0" fmla="*/ 26112 w 32640"/>
                <a:gd name="connsiteY0" fmla="*/ 13056 h 13055"/>
                <a:gd name="connsiteX1" fmla="*/ 6528 w 32640"/>
                <a:gd name="connsiteY1" fmla="*/ 13056 h 13055"/>
                <a:gd name="connsiteX2" fmla="*/ 0 w 32640"/>
                <a:gd name="connsiteY2" fmla="*/ 6528 h 13055"/>
                <a:gd name="connsiteX3" fmla="*/ 6528 w 32640"/>
                <a:gd name="connsiteY3" fmla="*/ 0 h 13055"/>
                <a:gd name="connsiteX4" fmla="*/ 26112 w 32640"/>
                <a:gd name="connsiteY4" fmla="*/ 0 h 13055"/>
                <a:gd name="connsiteX5" fmla="*/ 32640 w 32640"/>
                <a:gd name="connsiteY5" fmla="*/ 6528 h 13055"/>
                <a:gd name="connsiteX6" fmla="*/ 26112 w 32640"/>
                <a:gd name="connsiteY6" fmla="*/ 13056 h 13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40" h="13055">
                  <a:moveTo>
                    <a:pt x="26112" y="13056"/>
                  </a:moveTo>
                  <a:lnTo>
                    <a:pt x="6528" y="13056"/>
                  </a:lnTo>
                  <a:cubicBezTo>
                    <a:pt x="2938" y="13056"/>
                    <a:pt x="0" y="10118"/>
                    <a:pt x="0" y="6528"/>
                  </a:cubicBezTo>
                  <a:cubicBezTo>
                    <a:pt x="0" y="2938"/>
                    <a:pt x="2938" y="0"/>
                    <a:pt x="6528" y="0"/>
                  </a:cubicBezTo>
                  <a:lnTo>
                    <a:pt x="26112" y="0"/>
                  </a:lnTo>
                  <a:cubicBezTo>
                    <a:pt x="29702" y="0"/>
                    <a:pt x="32640" y="2938"/>
                    <a:pt x="32640" y="6528"/>
                  </a:cubicBezTo>
                  <a:cubicBezTo>
                    <a:pt x="32640" y="10118"/>
                    <a:pt x="29702" y="13056"/>
                    <a:pt x="2611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84" name="Полилиния: фигура 100">
              <a:extLst>
                <a:ext uri="{FF2B5EF4-FFF2-40B4-BE49-F238E27FC236}">
                  <a16:creationId xmlns:a16="http://schemas.microsoft.com/office/drawing/2014/main" id="{0E261DDA-D301-4E60-B7BF-E06A0B29C18E}"/>
                </a:ext>
              </a:extLst>
            </p:cNvPr>
            <p:cNvSpPr/>
            <p:nvPr/>
          </p:nvSpPr>
          <p:spPr>
            <a:xfrm>
              <a:off x="1963982" y="4600772"/>
              <a:ext cx="261120" cy="179930"/>
            </a:xfrm>
            <a:custGeom>
              <a:avLst/>
              <a:gdLst>
                <a:gd name="connsiteX0" fmla="*/ 241536 w 261120"/>
                <a:gd name="connsiteY0" fmla="*/ 179931 h 179930"/>
                <a:gd name="connsiteX1" fmla="*/ 19584 w 261120"/>
                <a:gd name="connsiteY1" fmla="*/ 179931 h 179930"/>
                <a:gd name="connsiteX2" fmla="*/ 0 w 261120"/>
                <a:gd name="connsiteY2" fmla="*/ 160347 h 179930"/>
                <a:gd name="connsiteX3" fmla="*/ 0 w 261120"/>
                <a:gd name="connsiteY3" fmla="*/ 68825 h 179930"/>
                <a:gd name="connsiteX4" fmla="*/ 44390 w 261120"/>
                <a:gd name="connsiteY4" fmla="*/ 9747 h 179930"/>
                <a:gd name="connsiteX5" fmla="*/ 77030 w 261120"/>
                <a:gd name="connsiteY5" fmla="*/ 281 h 179930"/>
                <a:gd name="connsiteX6" fmla="*/ 85125 w 261120"/>
                <a:gd name="connsiteY6" fmla="*/ 4720 h 179930"/>
                <a:gd name="connsiteX7" fmla="*/ 80686 w 261120"/>
                <a:gd name="connsiteY7" fmla="*/ 12815 h 179930"/>
                <a:gd name="connsiteX8" fmla="*/ 48046 w 261120"/>
                <a:gd name="connsiteY8" fmla="*/ 22280 h 179930"/>
                <a:gd name="connsiteX9" fmla="*/ 13056 w 261120"/>
                <a:gd name="connsiteY9" fmla="*/ 68825 h 179930"/>
                <a:gd name="connsiteX10" fmla="*/ 13056 w 261120"/>
                <a:gd name="connsiteY10" fmla="*/ 160347 h 179930"/>
                <a:gd name="connsiteX11" fmla="*/ 19584 w 261120"/>
                <a:gd name="connsiteY11" fmla="*/ 166875 h 179930"/>
                <a:gd name="connsiteX12" fmla="*/ 241536 w 261120"/>
                <a:gd name="connsiteY12" fmla="*/ 166875 h 179930"/>
                <a:gd name="connsiteX13" fmla="*/ 248064 w 261120"/>
                <a:gd name="connsiteY13" fmla="*/ 160347 h 179930"/>
                <a:gd name="connsiteX14" fmla="*/ 248064 w 261120"/>
                <a:gd name="connsiteY14" fmla="*/ 69282 h 179930"/>
                <a:gd name="connsiteX15" fmla="*/ 213531 w 261120"/>
                <a:gd name="connsiteY15" fmla="*/ 22933 h 179930"/>
                <a:gd name="connsiteX16" fmla="*/ 179455 w 261120"/>
                <a:gd name="connsiteY16" fmla="*/ 12749 h 179930"/>
                <a:gd name="connsiteX17" fmla="*/ 175081 w 261120"/>
                <a:gd name="connsiteY17" fmla="*/ 4655 h 179930"/>
                <a:gd name="connsiteX18" fmla="*/ 183176 w 261120"/>
                <a:gd name="connsiteY18" fmla="*/ 281 h 179930"/>
                <a:gd name="connsiteX19" fmla="*/ 217252 w 261120"/>
                <a:gd name="connsiteY19" fmla="*/ 10465 h 179930"/>
                <a:gd name="connsiteX20" fmla="*/ 261120 w 261120"/>
                <a:gd name="connsiteY20" fmla="*/ 69347 h 179930"/>
                <a:gd name="connsiteX21" fmla="*/ 261120 w 261120"/>
                <a:gd name="connsiteY21" fmla="*/ 160347 h 179930"/>
                <a:gd name="connsiteX22" fmla="*/ 241536 w 261120"/>
                <a:gd name="connsiteY22" fmla="*/ 179931 h 17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120" h="179930">
                  <a:moveTo>
                    <a:pt x="241536" y="179931"/>
                  </a:moveTo>
                  <a:lnTo>
                    <a:pt x="19584" y="179931"/>
                  </a:lnTo>
                  <a:cubicBezTo>
                    <a:pt x="8813" y="179931"/>
                    <a:pt x="0" y="171118"/>
                    <a:pt x="0" y="160347"/>
                  </a:cubicBezTo>
                  <a:lnTo>
                    <a:pt x="0" y="68825"/>
                  </a:lnTo>
                  <a:cubicBezTo>
                    <a:pt x="0" y="41603"/>
                    <a:pt x="18278" y="17319"/>
                    <a:pt x="44390" y="9747"/>
                  </a:cubicBezTo>
                  <a:lnTo>
                    <a:pt x="77030" y="281"/>
                  </a:lnTo>
                  <a:cubicBezTo>
                    <a:pt x="80490" y="-698"/>
                    <a:pt x="84146" y="1260"/>
                    <a:pt x="85125" y="4720"/>
                  </a:cubicBezTo>
                  <a:cubicBezTo>
                    <a:pt x="86104" y="8180"/>
                    <a:pt x="84146" y="11835"/>
                    <a:pt x="80686" y="12815"/>
                  </a:cubicBezTo>
                  <a:lnTo>
                    <a:pt x="48046" y="22280"/>
                  </a:lnTo>
                  <a:cubicBezTo>
                    <a:pt x="27418" y="28221"/>
                    <a:pt x="13056" y="47348"/>
                    <a:pt x="13056" y="68825"/>
                  </a:cubicBezTo>
                  <a:lnTo>
                    <a:pt x="13056" y="160347"/>
                  </a:lnTo>
                  <a:cubicBezTo>
                    <a:pt x="13056" y="163937"/>
                    <a:pt x="15994" y="166875"/>
                    <a:pt x="19584" y="166875"/>
                  </a:cubicBezTo>
                  <a:lnTo>
                    <a:pt x="241536" y="166875"/>
                  </a:lnTo>
                  <a:cubicBezTo>
                    <a:pt x="245126" y="166875"/>
                    <a:pt x="248064" y="163937"/>
                    <a:pt x="248064" y="160347"/>
                  </a:cubicBezTo>
                  <a:lnTo>
                    <a:pt x="248064" y="69282"/>
                  </a:lnTo>
                  <a:cubicBezTo>
                    <a:pt x="248064" y="48066"/>
                    <a:pt x="233898" y="29004"/>
                    <a:pt x="213531" y="22933"/>
                  </a:cubicBezTo>
                  <a:lnTo>
                    <a:pt x="179455" y="12749"/>
                  </a:lnTo>
                  <a:cubicBezTo>
                    <a:pt x="175995" y="11705"/>
                    <a:pt x="174036" y="8115"/>
                    <a:pt x="175081" y="4655"/>
                  </a:cubicBezTo>
                  <a:cubicBezTo>
                    <a:pt x="176125" y="1195"/>
                    <a:pt x="179716" y="-764"/>
                    <a:pt x="183176" y="281"/>
                  </a:cubicBezTo>
                  <a:lnTo>
                    <a:pt x="217252" y="10465"/>
                  </a:lnTo>
                  <a:cubicBezTo>
                    <a:pt x="243103" y="18168"/>
                    <a:pt x="261120" y="42386"/>
                    <a:pt x="261120" y="69347"/>
                  </a:cubicBezTo>
                  <a:lnTo>
                    <a:pt x="261120" y="160347"/>
                  </a:lnTo>
                  <a:cubicBezTo>
                    <a:pt x="261120" y="171118"/>
                    <a:pt x="252307" y="179931"/>
                    <a:pt x="241536" y="179931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grpSp>
          <p:nvGrpSpPr>
            <p:cNvPr id="85" name="Рисунок 79">
              <a:extLst>
                <a:ext uri="{FF2B5EF4-FFF2-40B4-BE49-F238E27FC236}">
                  <a16:creationId xmlns:a16="http://schemas.microsoft.com/office/drawing/2014/main" id="{C7787544-330D-40F1-863D-67AB147CA88A}"/>
                </a:ext>
              </a:extLst>
            </p:cNvPr>
            <p:cNvGrpSpPr/>
            <p:nvPr/>
          </p:nvGrpSpPr>
          <p:grpSpPr>
            <a:xfrm>
              <a:off x="2065918" y="4637535"/>
              <a:ext cx="57181" cy="104064"/>
              <a:chOff x="2065918" y="4637535"/>
              <a:chExt cx="57181" cy="104064"/>
            </a:xfrm>
            <a:grpFill/>
          </p:grpSpPr>
          <p:sp>
            <p:nvSpPr>
              <p:cNvPr id="90" name="Полилиния: фигура 106">
                <a:extLst>
                  <a:ext uri="{FF2B5EF4-FFF2-40B4-BE49-F238E27FC236}">
                    <a16:creationId xmlns:a16="http://schemas.microsoft.com/office/drawing/2014/main" id="{9E5FE48A-FC33-4CB1-BFD2-21CAAA41E9E0}"/>
                  </a:ext>
                </a:extLst>
              </p:cNvPr>
              <p:cNvSpPr/>
              <p:nvPr/>
            </p:nvSpPr>
            <p:spPr>
              <a:xfrm>
                <a:off x="2065918" y="4651560"/>
                <a:ext cx="57181" cy="90039"/>
              </a:xfrm>
              <a:custGeom>
                <a:avLst/>
                <a:gdLst>
                  <a:gd name="connsiteX0" fmla="*/ 28623 w 57181"/>
                  <a:gd name="connsiteY0" fmla="*/ 90040 h 90039"/>
                  <a:gd name="connsiteX1" fmla="*/ 24380 w 57181"/>
                  <a:gd name="connsiteY1" fmla="*/ 88473 h 90039"/>
                  <a:gd name="connsiteX2" fmla="*/ 2250 w 57181"/>
                  <a:gd name="connsiteY2" fmla="*/ 69346 h 90039"/>
                  <a:gd name="connsiteX3" fmla="*/ 227 w 57181"/>
                  <a:gd name="connsiteY3" fmla="*/ 62753 h 90039"/>
                  <a:gd name="connsiteX4" fmla="*/ 15502 w 57181"/>
                  <a:gd name="connsiteY4" fmla="*/ 4850 h 90039"/>
                  <a:gd name="connsiteX5" fmla="*/ 23466 w 57181"/>
                  <a:gd name="connsiteY5" fmla="*/ 215 h 90039"/>
                  <a:gd name="connsiteX6" fmla="*/ 28101 w 57181"/>
                  <a:gd name="connsiteY6" fmla="*/ 8179 h 90039"/>
                  <a:gd name="connsiteX7" fmla="*/ 13870 w 57181"/>
                  <a:gd name="connsiteY7" fmla="*/ 62165 h 90039"/>
                  <a:gd name="connsiteX8" fmla="*/ 28623 w 57181"/>
                  <a:gd name="connsiteY8" fmla="*/ 74895 h 90039"/>
                  <a:gd name="connsiteX9" fmla="*/ 43311 w 57181"/>
                  <a:gd name="connsiteY9" fmla="*/ 62165 h 90039"/>
                  <a:gd name="connsiteX10" fmla="*/ 29080 w 57181"/>
                  <a:gd name="connsiteY10" fmla="*/ 8179 h 90039"/>
                  <a:gd name="connsiteX11" fmla="*/ 33715 w 57181"/>
                  <a:gd name="connsiteY11" fmla="*/ 215 h 90039"/>
                  <a:gd name="connsiteX12" fmla="*/ 41679 w 57181"/>
                  <a:gd name="connsiteY12" fmla="*/ 4850 h 90039"/>
                  <a:gd name="connsiteX13" fmla="*/ 56955 w 57181"/>
                  <a:gd name="connsiteY13" fmla="*/ 62753 h 90039"/>
                  <a:gd name="connsiteX14" fmla="*/ 54931 w 57181"/>
                  <a:gd name="connsiteY14" fmla="*/ 69346 h 90039"/>
                  <a:gd name="connsiteX15" fmla="*/ 32867 w 57181"/>
                  <a:gd name="connsiteY15" fmla="*/ 88473 h 90039"/>
                  <a:gd name="connsiteX16" fmla="*/ 28623 w 57181"/>
                  <a:gd name="connsiteY16" fmla="*/ 90040 h 9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7181" h="90039">
                    <a:moveTo>
                      <a:pt x="28623" y="90040"/>
                    </a:moveTo>
                    <a:cubicBezTo>
                      <a:pt x="27122" y="90040"/>
                      <a:pt x="25555" y="89518"/>
                      <a:pt x="24380" y="88473"/>
                    </a:cubicBezTo>
                    <a:lnTo>
                      <a:pt x="2250" y="69346"/>
                    </a:lnTo>
                    <a:cubicBezTo>
                      <a:pt x="357" y="67714"/>
                      <a:pt x="-426" y="65168"/>
                      <a:pt x="227" y="62753"/>
                    </a:cubicBezTo>
                    <a:lnTo>
                      <a:pt x="15502" y="4850"/>
                    </a:lnTo>
                    <a:cubicBezTo>
                      <a:pt x="16416" y="1390"/>
                      <a:pt x="20006" y="-699"/>
                      <a:pt x="23466" y="215"/>
                    </a:cubicBezTo>
                    <a:cubicBezTo>
                      <a:pt x="26926" y="1129"/>
                      <a:pt x="29015" y="4719"/>
                      <a:pt x="28101" y="8179"/>
                    </a:cubicBezTo>
                    <a:lnTo>
                      <a:pt x="13870" y="62165"/>
                    </a:lnTo>
                    <a:lnTo>
                      <a:pt x="28623" y="74895"/>
                    </a:lnTo>
                    <a:lnTo>
                      <a:pt x="43311" y="62165"/>
                    </a:lnTo>
                    <a:lnTo>
                      <a:pt x="29080" y="8179"/>
                    </a:lnTo>
                    <a:cubicBezTo>
                      <a:pt x="28166" y="4719"/>
                      <a:pt x="30255" y="1129"/>
                      <a:pt x="33715" y="215"/>
                    </a:cubicBezTo>
                    <a:cubicBezTo>
                      <a:pt x="37175" y="-699"/>
                      <a:pt x="40765" y="1390"/>
                      <a:pt x="41679" y="4850"/>
                    </a:cubicBezTo>
                    <a:lnTo>
                      <a:pt x="56955" y="62753"/>
                    </a:lnTo>
                    <a:cubicBezTo>
                      <a:pt x="57608" y="65168"/>
                      <a:pt x="56824" y="67714"/>
                      <a:pt x="54931" y="69346"/>
                    </a:cubicBezTo>
                    <a:lnTo>
                      <a:pt x="32867" y="88473"/>
                    </a:lnTo>
                    <a:cubicBezTo>
                      <a:pt x="31691" y="89518"/>
                      <a:pt x="30190" y="90040"/>
                      <a:pt x="28623" y="90040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282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797" b="0" i="0" u="none" strike="noStrike" kern="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Cera CY"/>
                </a:endParaRPr>
              </a:p>
            </p:txBody>
          </p:sp>
          <p:sp>
            <p:nvSpPr>
              <p:cNvPr id="91" name="Полилиния: фигура 107">
                <a:extLst>
                  <a:ext uri="{FF2B5EF4-FFF2-40B4-BE49-F238E27FC236}">
                    <a16:creationId xmlns:a16="http://schemas.microsoft.com/office/drawing/2014/main" id="{B9C50178-37EA-4526-86BB-4F90B83E1608}"/>
                  </a:ext>
                </a:extLst>
              </p:cNvPr>
              <p:cNvSpPr/>
              <p:nvPr/>
            </p:nvSpPr>
            <p:spPr>
              <a:xfrm>
                <a:off x="2071163" y="4637535"/>
                <a:ext cx="47802" cy="27034"/>
              </a:xfrm>
              <a:custGeom>
                <a:avLst/>
                <a:gdLst>
                  <a:gd name="connsiteX0" fmla="*/ 23379 w 47802"/>
                  <a:gd name="connsiteY0" fmla="*/ 27034 h 27034"/>
                  <a:gd name="connsiteX1" fmla="*/ 19332 w 47802"/>
                  <a:gd name="connsiteY1" fmla="*/ 25664 h 27034"/>
                  <a:gd name="connsiteX2" fmla="*/ 2489 w 47802"/>
                  <a:gd name="connsiteY2" fmla="*/ 12412 h 27034"/>
                  <a:gd name="connsiteX3" fmla="*/ 1380 w 47802"/>
                  <a:gd name="connsiteY3" fmla="*/ 3273 h 27034"/>
                  <a:gd name="connsiteX4" fmla="*/ 10519 w 47802"/>
                  <a:gd name="connsiteY4" fmla="*/ 2163 h 27034"/>
                  <a:gd name="connsiteX5" fmla="*/ 23379 w 47802"/>
                  <a:gd name="connsiteY5" fmla="*/ 12216 h 27034"/>
                  <a:gd name="connsiteX6" fmla="*/ 37284 w 47802"/>
                  <a:gd name="connsiteY6" fmla="*/ 1380 h 27034"/>
                  <a:gd name="connsiteX7" fmla="*/ 46423 w 47802"/>
                  <a:gd name="connsiteY7" fmla="*/ 2489 h 27034"/>
                  <a:gd name="connsiteX8" fmla="*/ 45313 w 47802"/>
                  <a:gd name="connsiteY8" fmla="*/ 11628 h 27034"/>
                  <a:gd name="connsiteX9" fmla="*/ 27361 w 47802"/>
                  <a:gd name="connsiteY9" fmla="*/ 25664 h 27034"/>
                  <a:gd name="connsiteX10" fmla="*/ 23379 w 47802"/>
                  <a:gd name="connsiteY10" fmla="*/ 27034 h 2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802" h="27034">
                    <a:moveTo>
                      <a:pt x="23379" y="27034"/>
                    </a:moveTo>
                    <a:cubicBezTo>
                      <a:pt x="21943" y="27034"/>
                      <a:pt x="20507" y="26578"/>
                      <a:pt x="19332" y="25664"/>
                    </a:cubicBezTo>
                    <a:lnTo>
                      <a:pt x="2489" y="12412"/>
                    </a:lnTo>
                    <a:cubicBezTo>
                      <a:pt x="-318" y="10192"/>
                      <a:pt x="-840" y="6080"/>
                      <a:pt x="1380" y="3273"/>
                    </a:cubicBezTo>
                    <a:cubicBezTo>
                      <a:pt x="3599" y="466"/>
                      <a:pt x="7712" y="-57"/>
                      <a:pt x="10519" y="2163"/>
                    </a:cubicBezTo>
                    <a:lnTo>
                      <a:pt x="23379" y="12216"/>
                    </a:lnTo>
                    <a:lnTo>
                      <a:pt x="37284" y="1380"/>
                    </a:lnTo>
                    <a:cubicBezTo>
                      <a:pt x="40091" y="-840"/>
                      <a:pt x="44203" y="-318"/>
                      <a:pt x="46423" y="2489"/>
                    </a:cubicBezTo>
                    <a:cubicBezTo>
                      <a:pt x="48642" y="5362"/>
                      <a:pt x="48120" y="9409"/>
                      <a:pt x="45313" y="11628"/>
                    </a:cubicBezTo>
                    <a:lnTo>
                      <a:pt x="27361" y="25664"/>
                    </a:lnTo>
                    <a:cubicBezTo>
                      <a:pt x="26186" y="26578"/>
                      <a:pt x="24815" y="27034"/>
                      <a:pt x="23379" y="27034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282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797" b="0" i="0" u="none" strike="noStrike" kern="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Cera CY"/>
                </a:endParaRPr>
              </a:p>
            </p:txBody>
          </p:sp>
        </p:grpSp>
        <p:sp>
          <p:nvSpPr>
            <p:cNvPr id="86" name="Полилиния: фигура 102">
              <a:extLst>
                <a:ext uri="{FF2B5EF4-FFF2-40B4-BE49-F238E27FC236}">
                  <a16:creationId xmlns:a16="http://schemas.microsoft.com/office/drawing/2014/main" id="{AE8F4BCE-893A-453F-B24E-A441B0F330CA}"/>
                </a:ext>
              </a:extLst>
            </p:cNvPr>
            <p:cNvSpPr/>
            <p:nvPr/>
          </p:nvSpPr>
          <p:spPr>
            <a:xfrm>
              <a:off x="2036273" y="4600753"/>
              <a:ext cx="64261" cy="49846"/>
            </a:xfrm>
            <a:custGeom>
              <a:avLst/>
              <a:gdLst>
                <a:gd name="connsiteX0" fmla="*/ 34702 w 64261"/>
                <a:gd name="connsiteY0" fmla="*/ 49847 h 49846"/>
                <a:gd name="connsiteX1" fmla="*/ 34180 w 64261"/>
                <a:gd name="connsiteY1" fmla="*/ 49847 h 49846"/>
                <a:gd name="connsiteX2" fmla="*/ 17599 w 64261"/>
                <a:gd name="connsiteY2" fmla="*/ 39859 h 49846"/>
                <a:gd name="connsiteX3" fmla="*/ 822 w 64261"/>
                <a:gd name="connsiteY3" fmla="*/ 9700 h 49846"/>
                <a:gd name="connsiteX4" fmla="*/ 3368 w 64261"/>
                <a:gd name="connsiteY4" fmla="*/ 822 h 49846"/>
                <a:gd name="connsiteX5" fmla="*/ 12246 w 64261"/>
                <a:gd name="connsiteY5" fmla="*/ 3368 h 49846"/>
                <a:gd name="connsiteX6" fmla="*/ 28957 w 64261"/>
                <a:gd name="connsiteY6" fmla="*/ 33462 h 49846"/>
                <a:gd name="connsiteX7" fmla="*/ 34441 w 64261"/>
                <a:gd name="connsiteY7" fmla="*/ 36726 h 49846"/>
                <a:gd name="connsiteX8" fmla="*/ 40120 w 64261"/>
                <a:gd name="connsiteY8" fmla="*/ 33658 h 49846"/>
                <a:gd name="connsiteX9" fmla="*/ 52197 w 64261"/>
                <a:gd name="connsiteY9" fmla="*/ 14596 h 49846"/>
                <a:gd name="connsiteX10" fmla="*/ 61206 w 64261"/>
                <a:gd name="connsiteY10" fmla="*/ 12572 h 49846"/>
                <a:gd name="connsiteX11" fmla="*/ 63229 w 64261"/>
                <a:gd name="connsiteY11" fmla="*/ 21581 h 49846"/>
                <a:gd name="connsiteX12" fmla="*/ 51153 w 64261"/>
                <a:gd name="connsiteY12" fmla="*/ 40642 h 49846"/>
                <a:gd name="connsiteX13" fmla="*/ 34702 w 64261"/>
                <a:gd name="connsiteY13" fmla="*/ 49847 h 4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61" h="49846">
                  <a:moveTo>
                    <a:pt x="34702" y="49847"/>
                  </a:moveTo>
                  <a:cubicBezTo>
                    <a:pt x="34506" y="49847"/>
                    <a:pt x="34376" y="49847"/>
                    <a:pt x="34180" y="49847"/>
                  </a:cubicBezTo>
                  <a:cubicBezTo>
                    <a:pt x="27195" y="49651"/>
                    <a:pt x="21059" y="45930"/>
                    <a:pt x="17599" y="39859"/>
                  </a:cubicBezTo>
                  <a:lnTo>
                    <a:pt x="822" y="9700"/>
                  </a:lnTo>
                  <a:cubicBezTo>
                    <a:pt x="-941" y="6566"/>
                    <a:pt x="234" y="2584"/>
                    <a:pt x="3368" y="822"/>
                  </a:cubicBezTo>
                  <a:cubicBezTo>
                    <a:pt x="6501" y="-941"/>
                    <a:pt x="10483" y="234"/>
                    <a:pt x="12246" y="3368"/>
                  </a:cubicBezTo>
                  <a:lnTo>
                    <a:pt x="28957" y="33462"/>
                  </a:lnTo>
                  <a:cubicBezTo>
                    <a:pt x="30589" y="36334"/>
                    <a:pt x="33331" y="36726"/>
                    <a:pt x="34441" y="36726"/>
                  </a:cubicBezTo>
                  <a:cubicBezTo>
                    <a:pt x="35616" y="36726"/>
                    <a:pt x="38358" y="36530"/>
                    <a:pt x="40120" y="33658"/>
                  </a:cubicBezTo>
                  <a:lnTo>
                    <a:pt x="52197" y="14596"/>
                  </a:lnTo>
                  <a:cubicBezTo>
                    <a:pt x="54156" y="11528"/>
                    <a:pt x="58138" y="10614"/>
                    <a:pt x="61206" y="12572"/>
                  </a:cubicBezTo>
                  <a:cubicBezTo>
                    <a:pt x="64274" y="14465"/>
                    <a:pt x="65188" y="18513"/>
                    <a:pt x="63229" y="21581"/>
                  </a:cubicBezTo>
                  <a:lnTo>
                    <a:pt x="51153" y="40642"/>
                  </a:lnTo>
                  <a:cubicBezTo>
                    <a:pt x="47628" y="46452"/>
                    <a:pt x="41426" y="49847"/>
                    <a:pt x="34702" y="49847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87" name="Полилиния: фигура 103">
              <a:extLst>
                <a:ext uri="{FF2B5EF4-FFF2-40B4-BE49-F238E27FC236}">
                  <a16:creationId xmlns:a16="http://schemas.microsoft.com/office/drawing/2014/main" id="{AC4AA0EC-625C-4DF8-9345-57834CCACE95}"/>
                </a:ext>
              </a:extLst>
            </p:cNvPr>
            <p:cNvSpPr/>
            <p:nvPr/>
          </p:nvSpPr>
          <p:spPr>
            <a:xfrm>
              <a:off x="2087598" y="4600717"/>
              <a:ext cx="64297" cy="49883"/>
            </a:xfrm>
            <a:custGeom>
              <a:avLst/>
              <a:gdLst>
                <a:gd name="connsiteX0" fmla="*/ 29530 w 64297"/>
                <a:gd name="connsiteY0" fmla="*/ 49883 h 49883"/>
                <a:gd name="connsiteX1" fmla="*/ 13015 w 64297"/>
                <a:gd name="connsiteY1" fmla="*/ 40744 h 49883"/>
                <a:gd name="connsiteX2" fmla="*/ 1003 w 64297"/>
                <a:gd name="connsiteY2" fmla="*/ 21682 h 49883"/>
                <a:gd name="connsiteX3" fmla="*/ 3027 w 64297"/>
                <a:gd name="connsiteY3" fmla="*/ 12674 h 49883"/>
                <a:gd name="connsiteX4" fmla="*/ 12035 w 64297"/>
                <a:gd name="connsiteY4" fmla="*/ 14697 h 49883"/>
                <a:gd name="connsiteX5" fmla="*/ 24047 w 64297"/>
                <a:gd name="connsiteY5" fmla="*/ 33759 h 49883"/>
                <a:gd name="connsiteX6" fmla="*/ 29726 w 64297"/>
                <a:gd name="connsiteY6" fmla="*/ 36827 h 49883"/>
                <a:gd name="connsiteX7" fmla="*/ 35275 w 64297"/>
                <a:gd name="connsiteY7" fmla="*/ 33498 h 49883"/>
                <a:gd name="connsiteX8" fmla="*/ 52052 w 64297"/>
                <a:gd name="connsiteY8" fmla="*/ 3339 h 49883"/>
                <a:gd name="connsiteX9" fmla="*/ 60930 w 64297"/>
                <a:gd name="connsiteY9" fmla="*/ 793 h 49883"/>
                <a:gd name="connsiteX10" fmla="*/ 63476 w 64297"/>
                <a:gd name="connsiteY10" fmla="*/ 9671 h 49883"/>
                <a:gd name="connsiteX11" fmla="*/ 46634 w 64297"/>
                <a:gd name="connsiteY11" fmla="*/ 39830 h 49883"/>
                <a:gd name="connsiteX12" fmla="*/ 30053 w 64297"/>
                <a:gd name="connsiteY12" fmla="*/ 49818 h 49883"/>
                <a:gd name="connsiteX13" fmla="*/ 29530 w 64297"/>
                <a:gd name="connsiteY13" fmla="*/ 49883 h 4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97" h="49883">
                  <a:moveTo>
                    <a:pt x="29530" y="49883"/>
                  </a:moveTo>
                  <a:cubicBezTo>
                    <a:pt x="22741" y="49883"/>
                    <a:pt x="16605" y="46489"/>
                    <a:pt x="13015" y="40744"/>
                  </a:cubicBezTo>
                  <a:lnTo>
                    <a:pt x="1003" y="21682"/>
                  </a:lnTo>
                  <a:cubicBezTo>
                    <a:pt x="-890" y="18614"/>
                    <a:pt x="-41" y="14632"/>
                    <a:pt x="3027" y="12674"/>
                  </a:cubicBezTo>
                  <a:cubicBezTo>
                    <a:pt x="6095" y="10781"/>
                    <a:pt x="10077" y="11695"/>
                    <a:pt x="12035" y="14697"/>
                  </a:cubicBezTo>
                  <a:lnTo>
                    <a:pt x="24047" y="33759"/>
                  </a:lnTo>
                  <a:cubicBezTo>
                    <a:pt x="25809" y="36566"/>
                    <a:pt x="28616" y="36827"/>
                    <a:pt x="29726" y="36827"/>
                  </a:cubicBezTo>
                  <a:cubicBezTo>
                    <a:pt x="30836" y="36827"/>
                    <a:pt x="33578" y="36436"/>
                    <a:pt x="35275" y="33498"/>
                  </a:cubicBezTo>
                  <a:lnTo>
                    <a:pt x="52052" y="3339"/>
                  </a:lnTo>
                  <a:cubicBezTo>
                    <a:pt x="53815" y="205"/>
                    <a:pt x="57797" y="-904"/>
                    <a:pt x="60930" y="793"/>
                  </a:cubicBezTo>
                  <a:cubicBezTo>
                    <a:pt x="64063" y="2490"/>
                    <a:pt x="65239" y="6537"/>
                    <a:pt x="63476" y="9671"/>
                  </a:cubicBezTo>
                  <a:lnTo>
                    <a:pt x="46634" y="39830"/>
                  </a:lnTo>
                  <a:cubicBezTo>
                    <a:pt x="43174" y="45901"/>
                    <a:pt x="37038" y="49622"/>
                    <a:pt x="30053" y="49818"/>
                  </a:cubicBezTo>
                  <a:cubicBezTo>
                    <a:pt x="29857" y="49883"/>
                    <a:pt x="29661" y="49883"/>
                    <a:pt x="29530" y="498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88" name="Полилиния: фигура 104">
              <a:extLst>
                <a:ext uri="{FF2B5EF4-FFF2-40B4-BE49-F238E27FC236}">
                  <a16:creationId xmlns:a16="http://schemas.microsoft.com/office/drawing/2014/main" id="{F46DC915-69A7-4730-82E7-B4246EB8B36F}"/>
                </a:ext>
              </a:extLst>
            </p:cNvPr>
            <p:cNvSpPr/>
            <p:nvPr/>
          </p:nvSpPr>
          <p:spPr>
            <a:xfrm>
              <a:off x="2003157" y="4715408"/>
              <a:ext cx="25444" cy="62682"/>
            </a:xfrm>
            <a:custGeom>
              <a:avLst/>
              <a:gdLst>
                <a:gd name="connsiteX0" fmla="*/ 18924 w 25444"/>
                <a:gd name="connsiteY0" fmla="*/ 62683 h 62682"/>
                <a:gd name="connsiteX1" fmla="*/ 12592 w 25444"/>
                <a:gd name="connsiteY1" fmla="*/ 57722 h 62682"/>
                <a:gd name="connsiteX2" fmla="*/ 189 w 25444"/>
                <a:gd name="connsiteY2" fmla="*/ 8109 h 62682"/>
                <a:gd name="connsiteX3" fmla="*/ 4954 w 25444"/>
                <a:gd name="connsiteY3" fmla="*/ 210 h 62682"/>
                <a:gd name="connsiteX4" fmla="*/ 12853 w 25444"/>
                <a:gd name="connsiteY4" fmla="*/ 4976 h 62682"/>
                <a:gd name="connsiteX5" fmla="*/ 25256 w 25444"/>
                <a:gd name="connsiteY5" fmla="*/ 54588 h 62682"/>
                <a:gd name="connsiteX6" fmla="*/ 20491 w 25444"/>
                <a:gd name="connsiteY6" fmla="*/ 62487 h 62682"/>
                <a:gd name="connsiteX7" fmla="*/ 18924 w 25444"/>
                <a:gd name="connsiteY7" fmla="*/ 62683 h 62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444" h="62682">
                  <a:moveTo>
                    <a:pt x="18924" y="62683"/>
                  </a:moveTo>
                  <a:cubicBezTo>
                    <a:pt x="15986" y="62683"/>
                    <a:pt x="13310" y="60725"/>
                    <a:pt x="12592" y="57722"/>
                  </a:cubicBezTo>
                  <a:lnTo>
                    <a:pt x="189" y="8109"/>
                  </a:lnTo>
                  <a:cubicBezTo>
                    <a:pt x="-660" y="4584"/>
                    <a:pt x="1429" y="1059"/>
                    <a:pt x="4954" y="210"/>
                  </a:cubicBezTo>
                  <a:cubicBezTo>
                    <a:pt x="8414" y="-704"/>
                    <a:pt x="12004" y="1450"/>
                    <a:pt x="12853" y="4976"/>
                  </a:cubicBezTo>
                  <a:lnTo>
                    <a:pt x="25256" y="54588"/>
                  </a:lnTo>
                  <a:cubicBezTo>
                    <a:pt x="26105" y="58113"/>
                    <a:pt x="24016" y="61638"/>
                    <a:pt x="20491" y="62487"/>
                  </a:cubicBezTo>
                  <a:cubicBezTo>
                    <a:pt x="19969" y="62618"/>
                    <a:pt x="19446" y="62683"/>
                    <a:pt x="18924" y="626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89" name="Полилиния: фигура 105">
              <a:extLst>
                <a:ext uri="{FF2B5EF4-FFF2-40B4-BE49-F238E27FC236}">
                  <a16:creationId xmlns:a16="http://schemas.microsoft.com/office/drawing/2014/main" id="{1EDF217D-5FDD-4169-B657-C935A34BD163}"/>
                </a:ext>
              </a:extLst>
            </p:cNvPr>
            <p:cNvSpPr/>
            <p:nvPr/>
          </p:nvSpPr>
          <p:spPr>
            <a:xfrm>
              <a:off x="2160220" y="4715408"/>
              <a:ext cx="25640" cy="63531"/>
            </a:xfrm>
            <a:custGeom>
              <a:avLst/>
              <a:gdLst>
                <a:gd name="connsiteX0" fmla="*/ 6521 w 25640"/>
                <a:gd name="connsiteY0" fmla="*/ 63532 h 63531"/>
                <a:gd name="connsiteX1" fmla="*/ 4954 w 25640"/>
                <a:gd name="connsiteY1" fmla="*/ 63336 h 63531"/>
                <a:gd name="connsiteX2" fmla="*/ 189 w 25640"/>
                <a:gd name="connsiteY2" fmla="*/ 55437 h 63531"/>
                <a:gd name="connsiteX3" fmla="*/ 12788 w 25640"/>
                <a:gd name="connsiteY3" fmla="*/ 4976 h 63531"/>
                <a:gd name="connsiteX4" fmla="*/ 20687 w 25640"/>
                <a:gd name="connsiteY4" fmla="*/ 210 h 63531"/>
                <a:gd name="connsiteX5" fmla="*/ 25452 w 25640"/>
                <a:gd name="connsiteY5" fmla="*/ 8109 h 63531"/>
                <a:gd name="connsiteX6" fmla="*/ 12853 w 25640"/>
                <a:gd name="connsiteY6" fmla="*/ 58570 h 63531"/>
                <a:gd name="connsiteX7" fmla="*/ 6521 w 25640"/>
                <a:gd name="connsiteY7" fmla="*/ 63532 h 6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0" h="63531">
                  <a:moveTo>
                    <a:pt x="6521" y="63532"/>
                  </a:moveTo>
                  <a:cubicBezTo>
                    <a:pt x="5999" y="63532"/>
                    <a:pt x="5476" y="63466"/>
                    <a:pt x="4954" y="63336"/>
                  </a:cubicBezTo>
                  <a:cubicBezTo>
                    <a:pt x="1429" y="62487"/>
                    <a:pt x="-660" y="58897"/>
                    <a:pt x="189" y="55437"/>
                  </a:cubicBezTo>
                  <a:lnTo>
                    <a:pt x="12788" y="4976"/>
                  </a:lnTo>
                  <a:cubicBezTo>
                    <a:pt x="13636" y="1450"/>
                    <a:pt x="17227" y="-704"/>
                    <a:pt x="20687" y="210"/>
                  </a:cubicBezTo>
                  <a:cubicBezTo>
                    <a:pt x="24212" y="1059"/>
                    <a:pt x="26301" y="4649"/>
                    <a:pt x="25452" y="8109"/>
                  </a:cubicBezTo>
                  <a:lnTo>
                    <a:pt x="12853" y="58570"/>
                  </a:lnTo>
                  <a:cubicBezTo>
                    <a:pt x="12070" y="61573"/>
                    <a:pt x="9393" y="63532"/>
                    <a:pt x="6521" y="6353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</p:grp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8FA911E9-DFCD-464C-AAE0-1DB102DD8FDE}"/>
              </a:ext>
            </a:extLst>
          </p:cNvPr>
          <p:cNvGrpSpPr/>
          <p:nvPr/>
        </p:nvGrpSpPr>
        <p:grpSpPr>
          <a:xfrm>
            <a:off x="10660404" y="4106760"/>
            <a:ext cx="260711" cy="338922"/>
            <a:chOff x="1963982" y="4441248"/>
            <a:chExt cx="261120" cy="339454"/>
          </a:xfrm>
          <a:solidFill>
            <a:srgbClr val="696E82"/>
          </a:solidFill>
        </p:grpSpPr>
        <p:sp>
          <p:nvSpPr>
            <p:cNvPr id="93" name="Полилиния: фигура 109">
              <a:extLst>
                <a:ext uri="{FF2B5EF4-FFF2-40B4-BE49-F238E27FC236}">
                  <a16:creationId xmlns:a16="http://schemas.microsoft.com/office/drawing/2014/main" id="{33A511A8-24AE-4A11-A027-FAD345ECF4C5}"/>
                </a:ext>
              </a:extLst>
            </p:cNvPr>
            <p:cNvSpPr/>
            <p:nvPr/>
          </p:nvSpPr>
          <p:spPr>
            <a:xfrm>
              <a:off x="2029262" y="4506527"/>
              <a:ext cx="13056" cy="26111"/>
            </a:xfrm>
            <a:custGeom>
              <a:avLst/>
              <a:gdLst>
                <a:gd name="connsiteX0" fmla="*/ 13056 w 13056"/>
                <a:gd name="connsiteY0" fmla="*/ 26112 h 26111"/>
                <a:gd name="connsiteX1" fmla="*/ 0 w 13056"/>
                <a:gd name="connsiteY1" fmla="*/ 13056 h 26111"/>
                <a:gd name="connsiteX2" fmla="*/ 13056 w 13056"/>
                <a:gd name="connsiteY2" fmla="*/ 0 h 26111"/>
                <a:gd name="connsiteX3" fmla="*/ 13056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13056" y="26112"/>
                  </a:moveTo>
                  <a:cubicBezTo>
                    <a:pt x="5875" y="26112"/>
                    <a:pt x="0" y="20302"/>
                    <a:pt x="0" y="13056"/>
                  </a:cubicBezTo>
                  <a:cubicBezTo>
                    <a:pt x="0" y="5875"/>
                    <a:pt x="5875" y="0"/>
                    <a:pt x="13056" y="0"/>
                  </a:cubicBezTo>
                  <a:lnTo>
                    <a:pt x="13056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94" name="Полилиния: фигура 110">
              <a:extLst>
                <a:ext uri="{FF2B5EF4-FFF2-40B4-BE49-F238E27FC236}">
                  <a16:creationId xmlns:a16="http://schemas.microsoft.com/office/drawing/2014/main" id="{B14C4E00-1707-469A-9606-9E5774D2501A}"/>
                </a:ext>
              </a:extLst>
            </p:cNvPr>
            <p:cNvSpPr/>
            <p:nvPr/>
          </p:nvSpPr>
          <p:spPr>
            <a:xfrm>
              <a:off x="2146766" y="4506527"/>
              <a:ext cx="13056" cy="26111"/>
            </a:xfrm>
            <a:custGeom>
              <a:avLst/>
              <a:gdLst>
                <a:gd name="connsiteX0" fmla="*/ 0 w 13056"/>
                <a:gd name="connsiteY0" fmla="*/ 26112 h 26111"/>
                <a:gd name="connsiteX1" fmla="*/ 13056 w 13056"/>
                <a:gd name="connsiteY1" fmla="*/ 13056 h 26111"/>
                <a:gd name="connsiteX2" fmla="*/ 0 w 13056"/>
                <a:gd name="connsiteY2" fmla="*/ 0 h 26111"/>
                <a:gd name="connsiteX3" fmla="*/ 0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0" y="26112"/>
                  </a:moveTo>
                  <a:cubicBezTo>
                    <a:pt x="7181" y="26112"/>
                    <a:pt x="13056" y="20302"/>
                    <a:pt x="13056" y="13056"/>
                  </a:cubicBezTo>
                  <a:cubicBezTo>
                    <a:pt x="13056" y="5875"/>
                    <a:pt x="7181" y="0"/>
                    <a:pt x="0" y="0"/>
                  </a:cubicBezTo>
                  <a:lnTo>
                    <a:pt x="0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95" name="Полилиния: фигура 111">
              <a:extLst>
                <a:ext uri="{FF2B5EF4-FFF2-40B4-BE49-F238E27FC236}">
                  <a16:creationId xmlns:a16="http://schemas.microsoft.com/office/drawing/2014/main" id="{8A4F8112-4FCB-4C70-B879-706FE6DFBBC6}"/>
                </a:ext>
              </a:extLst>
            </p:cNvPr>
            <p:cNvSpPr/>
            <p:nvPr/>
          </p:nvSpPr>
          <p:spPr>
            <a:xfrm>
              <a:off x="2035790" y="4441248"/>
              <a:ext cx="117504" cy="143615"/>
            </a:xfrm>
            <a:custGeom>
              <a:avLst/>
              <a:gdLst>
                <a:gd name="connsiteX0" fmla="*/ 58752 w 117504"/>
                <a:gd name="connsiteY0" fmla="*/ 143616 h 143615"/>
                <a:gd name="connsiteX1" fmla="*/ 0 w 117504"/>
                <a:gd name="connsiteY1" fmla="*/ 58752 h 143615"/>
                <a:gd name="connsiteX2" fmla="*/ 58752 w 117504"/>
                <a:gd name="connsiteY2" fmla="*/ 0 h 143615"/>
                <a:gd name="connsiteX3" fmla="*/ 117504 w 117504"/>
                <a:gd name="connsiteY3" fmla="*/ 58752 h 143615"/>
                <a:gd name="connsiteX4" fmla="*/ 58752 w 117504"/>
                <a:gd name="connsiteY4" fmla="*/ 143616 h 143615"/>
                <a:gd name="connsiteX5" fmla="*/ 58752 w 117504"/>
                <a:gd name="connsiteY5" fmla="*/ 13056 h 143615"/>
                <a:gd name="connsiteX6" fmla="*/ 13056 w 117504"/>
                <a:gd name="connsiteY6" fmla="*/ 58752 h 143615"/>
                <a:gd name="connsiteX7" fmla="*/ 58752 w 117504"/>
                <a:gd name="connsiteY7" fmla="*/ 130560 h 143615"/>
                <a:gd name="connsiteX8" fmla="*/ 104448 w 117504"/>
                <a:gd name="connsiteY8" fmla="*/ 58752 h 143615"/>
                <a:gd name="connsiteX9" fmla="*/ 58752 w 117504"/>
                <a:gd name="connsiteY9" fmla="*/ 13056 h 14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4" h="143615">
                  <a:moveTo>
                    <a:pt x="58752" y="143616"/>
                  </a:moveTo>
                  <a:cubicBezTo>
                    <a:pt x="24219" y="143616"/>
                    <a:pt x="0" y="88585"/>
                    <a:pt x="0" y="58752"/>
                  </a:cubicBezTo>
                  <a:cubicBezTo>
                    <a:pt x="0" y="26373"/>
                    <a:pt x="26373" y="0"/>
                    <a:pt x="58752" y="0"/>
                  </a:cubicBezTo>
                  <a:cubicBezTo>
                    <a:pt x="91131" y="0"/>
                    <a:pt x="117504" y="26373"/>
                    <a:pt x="117504" y="58752"/>
                  </a:cubicBezTo>
                  <a:cubicBezTo>
                    <a:pt x="117504" y="88585"/>
                    <a:pt x="93285" y="143616"/>
                    <a:pt x="58752" y="143616"/>
                  </a:cubicBezTo>
                  <a:close/>
                  <a:moveTo>
                    <a:pt x="58752" y="13056"/>
                  </a:moveTo>
                  <a:cubicBezTo>
                    <a:pt x="33554" y="13056"/>
                    <a:pt x="13056" y="33554"/>
                    <a:pt x="13056" y="58752"/>
                  </a:cubicBezTo>
                  <a:cubicBezTo>
                    <a:pt x="13056" y="85778"/>
                    <a:pt x="35186" y="130560"/>
                    <a:pt x="58752" y="130560"/>
                  </a:cubicBezTo>
                  <a:cubicBezTo>
                    <a:pt x="82318" y="130560"/>
                    <a:pt x="104448" y="85778"/>
                    <a:pt x="104448" y="58752"/>
                  </a:cubicBezTo>
                  <a:cubicBezTo>
                    <a:pt x="104448" y="33554"/>
                    <a:pt x="83950" y="13056"/>
                    <a:pt x="5875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96" name="Полилиния: фигура 112">
              <a:extLst>
                <a:ext uri="{FF2B5EF4-FFF2-40B4-BE49-F238E27FC236}">
                  <a16:creationId xmlns:a16="http://schemas.microsoft.com/office/drawing/2014/main" id="{DDA64B81-4123-491B-9EA1-242999E68D64}"/>
                </a:ext>
              </a:extLst>
            </p:cNvPr>
            <p:cNvSpPr/>
            <p:nvPr/>
          </p:nvSpPr>
          <p:spPr>
            <a:xfrm>
              <a:off x="2087997" y="4480464"/>
              <a:ext cx="63687" cy="28282"/>
            </a:xfrm>
            <a:custGeom>
              <a:avLst/>
              <a:gdLst>
                <a:gd name="connsiteX0" fmla="*/ 43558 w 63687"/>
                <a:gd name="connsiteY0" fmla="*/ 28282 h 28282"/>
                <a:gd name="connsiteX1" fmla="*/ 1909 w 63687"/>
                <a:gd name="connsiteY1" fmla="*/ 11114 h 28282"/>
                <a:gd name="connsiteX2" fmla="*/ 1909 w 63687"/>
                <a:gd name="connsiteY2" fmla="*/ 1909 h 28282"/>
                <a:gd name="connsiteX3" fmla="*/ 11114 w 63687"/>
                <a:gd name="connsiteY3" fmla="*/ 1909 h 28282"/>
                <a:gd name="connsiteX4" fmla="*/ 55439 w 63687"/>
                <a:gd name="connsiteY4" fmla="*/ 13725 h 28282"/>
                <a:gd name="connsiteX5" fmla="*/ 63468 w 63687"/>
                <a:gd name="connsiteY5" fmla="*/ 18295 h 28282"/>
                <a:gd name="connsiteX6" fmla="*/ 58899 w 63687"/>
                <a:gd name="connsiteY6" fmla="*/ 26324 h 28282"/>
                <a:gd name="connsiteX7" fmla="*/ 43558 w 63687"/>
                <a:gd name="connsiteY7" fmla="*/ 28282 h 28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687" h="28282">
                  <a:moveTo>
                    <a:pt x="43558" y="28282"/>
                  </a:moveTo>
                  <a:cubicBezTo>
                    <a:pt x="28152" y="28282"/>
                    <a:pt x="13072" y="22211"/>
                    <a:pt x="1909" y="11114"/>
                  </a:cubicBezTo>
                  <a:cubicBezTo>
                    <a:pt x="-636" y="8568"/>
                    <a:pt x="-636" y="4455"/>
                    <a:pt x="1909" y="1909"/>
                  </a:cubicBezTo>
                  <a:cubicBezTo>
                    <a:pt x="4455" y="-636"/>
                    <a:pt x="8568" y="-636"/>
                    <a:pt x="11114" y="1909"/>
                  </a:cubicBezTo>
                  <a:cubicBezTo>
                    <a:pt x="22668" y="13464"/>
                    <a:pt x="39641" y="17968"/>
                    <a:pt x="55439" y="13725"/>
                  </a:cubicBezTo>
                  <a:cubicBezTo>
                    <a:pt x="58899" y="12746"/>
                    <a:pt x="62489" y="14835"/>
                    <a:pt x="63468" y="18295"/>
                  </a:cubicBezTo>
                  <a:cubicBezTo>
                    <a:pt x="64382" y="21754"/>
                    <a:pt x="62359" y="25345"/>
                    <a:pt x="58899" y="26324"/>
                  </a:cubicBezTo>
                  <a:cubicBezTo>
                    <a:pt x="53872" y="27630"/>
                    <a:pt x="48715" y="28282"/>
                    <a:pt x="43558" y="2828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97" name="Полилиния: фигура 113">
              <a:extLst>
                <a:ext uri="{FF2B5EF4-FFF2-40B4-BE49-F238E27FC236}">
                  <a16:creationId xmlns:a16="http://schemas.microsoft.com/office/drawing/2014/main" id="{447E563E-E807-426B-B482-31081F16FD05}"/>
                </a:ext>
              </a:extLst>
            </p:cNvPr>
            <p:cNvSpPr/>
            <p:nvPr/>
          </p:nvSpPr>
          <p:spPr>
            <a:xfrm>
              <a:off x="2068430" y="4480415"/>
              <a:ext cx="32640" cy="13055"/>
            </a:xfrm>
            <a:custGeom>
              <a:avLst/>
              <a:gdLst>
                <a:gd name="connsiteX0" fmla="*/ 26112 w 32640"/>
                <a:gd name="connsiteY0" fmla="*/ 13056 h 13055"/>
                <a:gd name="connsiteX1" fmla="*/ 6528 w 32640"/>
                <a:gd name="connsiteY1" fmla="*/ 13056 h 13055"/>
                <a:gd name="connsiteX2" fmla="*/ 0 w 32640"/>
                <a:gd name="connsiteY2" fmla="*/ 6528 h 13055"/>
                <a:gd name="connsiteX3" fmla="*/ 6528 w 32640"/>
                <a:gd name="connsiteY3" fmla="*/ 0 h 13055"/>
                <a:gd name="connsiteX4" fmla="*/ 26112 w 32640"/>
                <a:gd name="connsiteY4" fmla="*/ 0 h 13055"/>
                <a:gd name="connsiteX5" fmla="*/ 32640 w 32640"/>
                <a:gd name="connsiteY5" fmla="*/ 6528 h 13055"/>
                <a:gd name="connsiteX6" fmla="*/ 26112 w 32640"/>
                <a:gd name="connsiteY6" fmla="*/ 13056 h 13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40" h="13055">
                  <a:moveTo>
                    <a:pt x="26112" y="13056"/>
                  </a:moveTo>
                  <a:lnTo>
                    <a:pt x="6528" y="13056"/>
                  </a:lnTo>
                  <a:cubicBezTo>
                    <a:pt x="2938" y="13056"/>
                    <a:pt x="0" y="10118"/>
                    <a:pt x="0" y="6528"/>
                  </a:cubicBezTo>
                  <a:cubicBezTo>
                    <a:pt x="0" y="2938"/>
                    <a:pt x="2938" y="0"/>
                    <a:pt x="6528" y="0"/>
                  </a:cubicBezTo>
                  <a:lnTo>
                    <a:pt x="26112" y="0"/>
                  </a:lnTo>
                  <a:cubicBezTo>
                    <a:pt x="29702" y="0"/>
                    <a:pt x="32640" y="2938"/>
                    <a:pt x="32640" y="6528"/>
                  </a:cubicBezTo>
                  <a:cubicBezTo>
                    <a:pt x="32640" y="10118"/>
                    <a:pt x="29702" y="13056"/>
                    <a:pt x="2611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98" name="Полилиния: фигура 114">
              <a:extLst>
                <a:ext uri="{FF2B5EF4-FFF2-40B4-BE49-F238E27FC236}">
                  <a16:creationId xmlns:a16="http://schemas.microsoft.com/office/drawing/2014/main" id="{B0F2C2B7-9EFD-4846-B739-7E7C4BB05B6A}"/>
                </a:ext>
              </a:extLst>
            </p:cNvPr>
            <p:cNvSpPr/>
            <p:nvPr/>
          </p:nvSpPr>
          <p:spPr>
            <a:xfrm>
              <a:off x="1963982" y="4600772"/>
              <a:ext cx="261120" cy="179930"/>
            </a:xfrm>
            <a:custGeom>
              <a:avLst/>
              <a:gdLst>
                <a:gd name="connsiteX0" fmla="*/ 241536 w 261120"/>
                <a:gd name="connsiteY0" fmla="*/ 179931 h 179930"/>
                <a:gd name="connsiteX1" fmla="*/ 19584 w 261120"/>
                <a:gd name="connsiteY1" fmla="*/ 179931 h 179930"/>
                <a:gd name="connsiteX2" fmla="*/ 0 w 261120"/>
                <a:gd name="connsiteY2" fmla="*/ 160347 h 179930"/>
                <a:gd name="connsiteX3" fmla="*/ 0 w 261120"/>
                <a:gd name="connsiteY3" fmla="*/ 68825 h 179930"/>
                <a:gd name="connsiteX4" fmla="*/ 44390 w 261120"/>
                <a:gd name="connsiteY4" fmla="*/ 9747 h 179930"/>
                <a:gd name="connsiteX5" fmla="*/ 77030 w 261120"/>
                <a:gd name="connsiteY5" fmla="*/ 281 h 179930"/>
                <a:gd name="connsiteX6" fmla="*/ 85125 w 261120"/>
                <a:gd name="connsiteY6" fmla="*/ 4720 h 179930"/>
                <a:gd name="connsiteX7" fmla="*/ 80686 w 261120"/>
                <a:gd name="connsiteY7" fmla="*/ 12815 h 179930"/>
                <a:gd name="connsiteX8" fmla="*/ 48046 w 261120"/>
                <a:gd name="connsiteY8" fmla="*/ 22280 h 179930"/>
                <a:gd name="connsiteX9" fmla="*/ 13056 w 261120"/>
                <a:gd name="connsiteY9" fmla="*/ 68825 h 179930"/>
                <a:gd name="connsiteX10" fmla="*/ 13056 w 261120"/>
                <a:gd name="connsiteY10" fmla="*/ 160347 h 179930"/>
                <a:gd name="connsiteX11" fmla="*/ 19584 w 261120"/>
                <a:gd name="connsiteY11" fmla="*/ 166875 h 179930"/>
                <a:gd name="connsiteX12" fmla="*/ 241536 w 261120"/>
                <a:gd name="connsiteY12" fmla="*/ 166875 h 179930"/>
                <a:gd name="connsiteX13" fmla="*/ 248064 w 261120"/>
                <a:gd name="connsiteY13" fmla="*/ 160347 h 179930"/>
                <a:gd name="connsiteX14" fmla="*/ 248064 w 261120"/>
                <a:gd name="connsiteY14" fmla="*/ 69282 h 179930"/>
                <a:gd name="connsiteX15" fmla="*/ 213531 w 261120"/>
                <a:gd name="connsiteY15" fmla="*/ 22933 h 179930"/>
                <a:gd name="connsiteX16" fmla="*/ 179455 w 261120"/>
                <a:gd name="connsiteY16" fmla="*/ 12749 h 179930"/>
                <a:gd name="connsiteX17" fmla="*/ 175081 w 261120"/>
                <a:gd name="connsiteY17" fmla="*/ 4655 h 179930"/>
                <a:gd name="connsiteX18" fmla="*/ 183176 w 261120"/>
                <a:gd name="connsiteY18" fmla="*/ 281 h 179930"/>
                <a:gd name="connsiteX19" fmla="*/ 217252 w 261120"/>
                <a:gd name="connsiteY19" fmla="*/ 10465 h 179930"/>
                <a:gd name="connsiteX20" fmla="*/ 261120 w 261120"/>
                <a:gd name="connsiteY20" fmla="*/ 69347 h 179930"/>
                <a:gd name="connsiteX21" fmla="*/ 261120 w 261120"/>
                <a:gd name="connsiteY21" fmla="*/ 160347 h 179930"/>
                <a:gd name="connsiteX22" fmla="*/ 241536 w 261120"/>
                <a:gd name="connsiteY22" fmla="*/ 179931 h 17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120" h="179930">
                  <a:moveTo>
                    <a:pt x="241536" y="179931"/>
                  </a:moveTo>
                  <a:lnTo>
                    <a:pt x="19584" y="179931"/>
                  </a:lnTo>
                  <a:cubicBezTo>
                    <a:pt x="8813" y="179931"/>
                    <a:pt x="0" y="171118"/>
                    <a:pt x="0" y="160347"/>
                  </a:cubicBezTo>
                  <a:lnTo>
                    <a:pt x="0" y="68825"/>
                  </a:lnTo>
                  <a:cubicBezTo>
                    <a:pt x="0" y="41603"/>
                    <a:pt x="18278" y="17319"/>
                    <a:pt x="44390" y="9747"/>
                  </a:cubicBezTo>
                  <a:lnTo>
                    <a:pt x="77030" y="281"/>
                  </a:lnTo>
                  <a:cubicBezTo>
                    <a:pt x="80490" y="-698"/>
                    <a:pt x="84146" y="1260"/>
                    <a:pt x="85125" y="4720"/>
                  </a:cubicBezTo>
                  <a:cubicBezTo>
                    <a:pt x="86104" y="8180"/>
                    <a:pt x="84146" y="11835"/>
                    <a:pt x="80686" y="12815"/>
                  </a:cubicBezTo>
                  <a:lnTo>
                    <a:pt x="48046" y="22280"/>
                  </a:lnTo>
                  <a:cubicBezTo>
                    <a:pt x="27418" y="28221"/>
                    <a:pt x="13056" y="47348"/>
                    <a:pt x="13056" y="68825"/>
                  </a:cubicBezTo>
                  <a:lnTo>
                    <a:pt x="13056" y="160347"/>
                  </a:lnTo>
                  <a:cubicBezTo>
                    <a:pt x="13056" y="163937"/>
                    <a:pt x="15994" y="166875"/>
                    <a:pt x="19584" y="166875"/>
                  </a:cubicBezTo>
                  <a:lnTo>
                    <a:pt x="241536" y="166875"/>
                  </a:lnTo>
                  <a:cubicBezTo>
                    <a:pt x="245126" y="166875"/>
                    <a:pt x="248064" y="163937"/>
                    <a:pt x="248064" y="160347"/>
                  </a:cubicBezTo>
                  <a:lnTo>
                    <a:pt x="248064" y="69282"/>
                  </a:lnTo>
                  <a:cubicBezTo>
                    <a:pt x="248064" y="48066"/>
                    <a:pt x="233898" y="29004"/>
                    <a:pt x="213531" y="22933"/>
                  </a:cubicBezTo>
                  <a:lnTo>
                    <a:pt x="179455" y="12749"/>
                  </a:lnTo>
                  <a:cubicBezTo>
                    <a:pt x="175995" y="11705"/>
                    <a:pt x="174036" y="8115"/>
                    <a:pt x="175081" y="4655"/>
                  </a:cubicBezTo>
                  <a:cubicBezTo>
                    <a:pt x="176125" y="1195"/>
                    <a:pt x="179716" y="-764"/>
                    <a:pt x="183176" y="281"/>
                  </a:cubicBezTo>
                  <a:lnTo>
                    <a:pt x="217252" y="10465"/>
                  </a:lnTo>
                  <a:cubicBezTo>
                    <a:pt x="243103" y="18168"/>
                    <a:pt x="261120" y="42386"/>
                    <a:pt x="261120" y="69347"/>
                  </a:cubicBezTo>
                  <a:lnTo>
                    <a:pt x="261120" y="160347"/>
                  </a:lnTo>
                  <a:cubicBezTo>
                    <a:pt x="261120" y="171118"/>
                    <a:pt x="252307" y="179931"/>
                    <a:pt x="241536" y="179931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grpSp>
          <p:nvGrpSpPr>
            <p:cNvPr id="99" name="Рисунок 79">
              <a:extLst>
                <a:ext uri="{FF2B5EF4-FFF2-40B4-BE49-F238E27FC236}">
                  <a16:creationId xmlns:a16="http://schemas.microsoft.com/office/drawing/2014/main" id="{3D33EE8F-F27A-4AE3-8D9D-6C4CB887D1C0}"/>
                </a:ext>
              </a:extLst>
            </p:cNvPr>
            <p:cNvGrpSpPr/>
            <p:nvPr/>
          </p:nvGrpSpPr>
          <p:grpSpPr>
            <a:xfrm>
              <a:off x="2065918" y="4637535"/>
              <a:ext cx="57181" cy="104064"/>
              <a:chOff x="2065918" y="4637535"/>
              <a:chExt cx="57181" cy="104064"/>
            </a:xfrm>
            <a:grpFill/>
          </p:grpSpPr>
          <p:sp>
            <p:nvSpPr>
              <p:cNvPr id="104" name="Полилиния: фигура 120">
                <a:extLst>
                  <a:ext uri="{FF2B5EF4-FFF2-40B4-BE49-F238E27FC236}">
                    <a16:creationId xmlns:a16="http://schemas.microsoft.com/office/drawing/2014/main" id="{9D1A0AD8-6C6F-4039-B0CE-0978098598C5}"/>
                  </a:ext>
                </a:extLst>
              </p:cNvPr>
              <p:cNvSpPr/>
              <p:nvPr/>
            </p:nvSpPr>
            <p:spPr>
              <a:xfrm>
                <a:off x="2065918" y="4651560"/>
                <a:ext cx="57181" cy="90039"/>
              </a:xfrm>
              <a:custGeom>
                <a:avLst/>
                <a:gdLst>
                  <a:gd name="connsiteX0" fmla="*/ 28623 w 57181"/>
                  <a:gd name="connsiteY0" fmla="*/ 90040 h 90039"/>
                  <a:gd name="connsiteX1" fmla="*/ 24380 w 57181"/>
                  <a:gd name="connsiteY1" fmla="*/ 88473 h 90039"/>
                  <a:gd name="connsiteX2" fmla="*/ 2250 w 57181"/>
                  <a:gd name="connsiteY2" fmla="*/ 69346 h 90039"/>
                  <a:gd name="connsiteX3" fmla="*/ 227 w 57181"/>
                  <a:gd name="connsiteY3" fmla="*/ 62753 h 90039"/>
                  <a:gd name="connsiteX4" fmla="*/ 15502 w 57181"/>
                  <a:gd name="connsiteY4" fmla="*/ 4850 h 90039"/>
                  <a:gd name="connsiteX5" fmla="*/ 23466 w 57181"/>
                  <a:gd name="connsiteY5" fmla="*/ 215 h 90039"/>
                  <a:gd name="connsiteX6" fmla="*/ 28101 w 57181"/>
                  <a:gd name="connsiteY6" fmla="*/ 8179 h 90039"/>
                  <a:gd name="connsiteX7" fmla="*/ 13870 w 57181"/>
                  <a:gd name="connsiteY7" fmla="*/ 62165 h 90039"/>
                  <a:gd name="connsiteX8" fmla="*/ 28623 w 57181"/>
                  <a:gd name="connsiteY8" fmla="*/ 74895 h 90039"/>
                  <a:gd name="connsiteX9" fmla="*/ 43311 w 57181"/>
                  <a:gd name="connsiteY9" fmla="*/ 62165 h 90039"/>
                  <a:gd name="connsiteX10" fmla="*/ 29080 w 57181"/>
                  <a:gd name="connsiteY10" fmla="*/ 8179 h 90039"/>
                  <a:gd name="connsiteX11" fmla="*/ 33715 w 57181"/>
                  <a:gd name="connsiteY11" fmla="*/ 215 h 90039"/>
                  <a:gd name="connsiteX12" fmla="*/ 41679 w 57181"/>
                  <a:gd name="connsiteY12" fmla="*/ 4850 h 90039"/>
                  <a:gd name="connsiteX13" fmla="*/ 56955 w 57181"/>
                  <a:gd name="connsiteY13" fmla="*/ 62753 h 90039"/>
                  <a:gd name="connsiteX14" fmla="*/ 54931 w 57181"/>
                  <a:gd name="connsiteY14" fmla="*/ 69346 h 90039"/>
                  <a:gd name="connsiteX15" fmla="*/ 32867 w 57181"/>
                  <a:gd name="connsiteY15" fmla="*/ 88473 h 90039"/>
                  <a:gd name="connsiteX16" fmla="*/ 28623 w 57181"/>
                  <a:gd name="connsiteY16" fmla="*/ 90040 h 9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7181" h="90039">
                    <a:moveTo>
                      <a:pt x="28623" y="90040"/>
                    </a:moveTo>
                    <a:cubicBezTo>
                      <a:pt x="27122" y="90040"/>
                      <a:pt x="25555" y="89518"/>
                      <a:pt x="24380" y="88473"/>
                    </a:cubicBezTo>
                    <a:lnTo>
                      <a:pt x="2250" y="69346"/>
                    </a:lnTo>
                    <a:cubicBezTo>
                      <a:pt x="357" y="67714"/>
                      <a:pt x="-426" y="65168"/>
                      <a:pt x="227" y="62753"/>
                    </a:cubicBezTo>
                    <a:lnTo>
                      <a:pt x="15502" y="4850"/>
                    </a:lnTo>
                    <a:cubicBezTo>
                      <a:pt x="16416" y="1390"/>
                      <a:pt x="20006" y="-699"/>
                      <a:pt x="23466" y="215"/>
                    </a:cubicBezTo>
                    <a:cubicBezTo>
                      <a:pt x="26926" y="1129"/>
                      <a:pt x="29015" y="4719"/>
                      <a:pt x="28101" y="8179"/>
                    </a:cubicBezTo>
                    <a:lnTo>
                      <a:pt x="13870" y="62165"/>
                    </a:lnTo>
                    <a:lnTo>
                      <a:pt x="28623" y="74895"/>
                    </a:lnTo>
                    <a:lnTo>
                      <a:pt x="43311" y="62165"/>
                    </a:lnTo>
                    <a:lnTo>
                      <a:pt x="29080" y="8179"/>
                    </a:lnTo>
                    <a:cubicBezTo>
                      <a:pt x="28166" y="4719"/>
                      <a:pt x="30255" y="1129"/>
                      <a:pt x="33715" y="215"/>
                    </a:cubicBezTo>
                    <a:cubicBezTo>
                      <a:pt x="37175" y="-699"/>
                      <a:pt x="40765" y="1390"/>
                      <a:pt x="41679" y="4850"/>
                    </a:cubicBezTo>
                    <a:lnTo>
                      <a:pt x="56955" y="62753"/>
                    </a:lnTo>
                    <a:cubicBezTo>
                      <a:pt x="57608" y="65168"/>
                      <a:pt x="56824" y="67714"/>
                      <a:pt x="54931" y="69346"/>
                    </a:cubicBezTo>
                    <a:lnTo>
                      <a:pt x="32867" y="88473"/>
                    </a:lnTo>
                    <a:cubicBezTo>
                      <a:pt x="31691" y="89518"/>
                      <a:pt x="30190" y="90040"/>
                      <a:pt x="28623" y="90040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282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797" b="0" i="0" u="none" strike="noStrike" kern="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Cera CY"/>
                </a:endParaRPr>
              </a:p>
            </p:txBody>
          </p:sp>
          <p:sp>
            <p:nvSpPr>
              <p:cNvPr id="105" name="Полилиния: фигура 121">
                <a:extLst>
                  <a:ext uri="{FF2B5EF4-FFF2-40B4-BE49-F238E27FC236}">
                    <a16:creationId xmlns:a16="http://schemas.microsoft.com/office/drawing/2014/main" id="{D27E8315-2D21-487A-865F-8E6A7EA66B90}"/>
                  </a:ext>
                </a:extLst>
              </p:cNvPr>
              <p:cNvSpPr/>
              <p:nvPr/>
            </p:nvSpPr>
            <p:spPr>
              <a:xfrm>
                <a:off x="2071163" y="4637535"/>
                <a:ext cx="47802" cy="27034"/>
              </a:xfrm>
              <a:custGeom>
                <a:avLst/>
                <a:gdLst>
                  <a:gd name="connsiteX0" fmla="*/ 23379 w 47802"/>
                  <a:gd name="connsiteY0" fmla="*/ 27034 h 27034"/>
                  <a:gd name="connsiteX1" fmla="*/ 19332 w 47802"/>
                  <a:gd name="connsiteY1" fmla="*/ 25664 h 27034"/>
                  <a:gd name="connsiteX2" fmla="*/ 2489 w 47802"/>
                  <a:gd name="connsiteY2" fmla="*/ 12412 h 27034"/>
                  <a:gd name="connsiteX3" fmla="*/ 1380 w 47802"/>
                  <a:gd name="connsiteY3" fmla="*/ 3273 h 27034"/>
                  <a:gd name="connsiteX4" fmla="*/ 10519 w 47802"/>
                  <a:gd name="connsiteY4" fmla="*/ 2163 h 27034"/>
                  <a:gd name="connsiteX5" fmla="*/ 23379 w 47802"/>
                  <a:gd name="connsiteY5" fmla="*/ 12216 h 27034"/>
                  <a:gd name="connsiteX6" fmla="*/ 37284 w 47802"/>
                  <a:gd name="connsiteY6" fmla="*/ 1380 h 27034"/>
                  <a:gd name="connsiteX7" fmla="*/ 46423 w 47802"/>
                  <a:gd name="connsiteY7" fmla="*/ 2489 h 27034"/>
                  <a:gd name="connsiteX8" fmla="*/ 45313 w 47802"/>
                  <a:gd name="connsiteY8" fmla="*/ 11628 h 27034"/>
                  <a:gd name="connsiteX9" fmla="*/ 27361 w 47802"/>
                  <a:gd name="connsiteY9" fmla="*/ 25664 h 27034"/>
                  <a:gd name="connsiteX10" fmla="*/ 23379 w 47802"/>
                  <a:gd name="connsiteY10" fmla="*/ 27034 h 2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802" h="27034">
                    <a:moveTo>
                      <a:pt x="23379" y="27034"/>
                    </a:moveTo>
                    <a:cubicBezTo>
                      <a:pt x="21943" y="27034"/>
                      <a:pt x="20507" y="26578"/>
                      <a:pt x="19332" y="25664"/>
                    </a:cubicBezTo>
                    <a:lnTo>
                      <a:pt x="2489" y="12412"/>
                    </a:lnTo>
                    <a:cubicBezTo>
                      <a:pt x="-318" y="10192"/>
                      <a:pt x="-840" y="6080"/>
                      <a:pt x="1380" y="3273"/>
                    </a:cubicBezTo>
                    <a:cubicBezTo>
                      <a:pt x="3599" y="466"/>
                      <a:pt x="7712" y="-57"/>
                      <a:pt x="10519" y="2163"/>
                    </a:cubicBezTo>
                    <a:lnTo>
                      <a:pt x="23379" y="12216"/>
                    </a:lnTo>
                    <a:lnTo>
                      <a:pt x="37284" y="1380"/>
                    </a:lnTo>
                    <a:cubicBezTo>
                      <a:pt x="40091" y="-840"/>
                      <a:pt x="44203" y="-318"/>
                      <a:pt x="46423" y="2489"/>
                    </a:cubicBezTo>
                    <a:cubicBezTo>
                      <a:pt x="48642" y="5362"/>
                      <a:pt x="48120" y="9409"/>
                      <a:pt x="45313" y="11628"/>
                    </a:cubicBezTo>
                    <a:lnTo>
                      <a:pt x="27361" y="25664"/>
                    </a:lnTo>
                    <a:cubicBezTo>
                      <a:pt x="26186" y="26578"/>
                      <a:pt x="24815" y="27034"/>
                      <a:pt x="23379" y="27034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282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797" b="0" i="0" u="none" strike="noStrike" kern="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Cera CY"/>
                </a:endParaRPr>
              </a:p>
            </p:txBody>
          </p:sp>
        </p:grpSp>
        <p:sp>
          <p:nvSpPr>
            <p:cNvPr id="100" name="Полилиния: фигура 116">
              <a:extLst>
                <a:ext uri="{FF2B5EF4-FFF2-40B4-BE49-F238E27FC236}">
                  <a16:creationId xmlns:a16="http://schemas.microsoft.com/office/drawing/2014/main" id="{1363609F-69CC-4E5E-8CB4-99E1B87898A4}"/>
                </a:ext>
              </a:extLst>
            </p:cNvPr>
            <p:cNvSpPr/>
            <p:nvPr/>
          </p:nvSpPr>
          <p:spPr>
            <a:xfrm>
              <a:off x="2036273" y="4600753"/>
              <a:ext cx="64261" cy="49846"/>
            </a:xfrm>
            <a:custGeom>
              <a:avLst/>
              <a:gdLst>
                <a:gd name="connsiteX0" fmla="*/ 34702 w 64261"/>
                <a:gd name="connsiteY0" fmla="*/ 49847 h 49846"/>
                <a:gd name="connsiteX1" fmla="*/ 34180 w 64261"/>
                <a:gd name="connsiteY1" fmla="*/ 49847 h 49846"/>
                <a:gd name="connsiteX2" fmla="*/ 17599 w 64261"/>
                <a:gd name="connsiteY2" fmla="*/ 39859 h 49846"/>
                <a:gd name="connsiteX3" fmla="*/ 822 w 64261"/>
                <a:gd name="connsiteY3" fmla="*/ 9700 h 49846"/>
                <a:gd name="connsiteX4" fmla="*/ 3368 w 64261"/>
                <a:gd name="connsiteY4" fmla="*/ 822 h 49846"/>
                <a:gd name="connsiteX5" fmla="*/ 12246 w 64261"/>
                <a:gd name="connsiteY5" fmla="*/ 3368 h 49846"/>
                <a:gd name="connsiteX6" fmla="*/ 28957 w 64261"/>
                <a:gd name="connsiteY6" fmla="*/ 33462 h 49846"/>
                <a:gd name="connsiteX7" fmla="*/ 34441 w 64261"/>
                <a:gd name="connsiteY7" fmla="*/ 36726 h 49846"/>
                <a:gd name="connsiteX8" fmla="*/ 40120 w 64261"/>
                <a:gd name="connsiteY8" fmla="*/ 33658 h 49846"/>
                <a:gd name="connsiteX9" fmla="*/ 52197 w 64261"/>
                <a:gd name="connsiteY9" fmla="*/ 14596 h 49846"/>
                <a:gd name="connsiteX10" fmla="*/ 61206 w 64261"/>
                <a:gd name="connsiteY10" fmla="*/ 12572 h 49846"/>
                <a:gd name="connsiteX11" fmla="*/ 63229 w 64261"/>
                <a:gd name="connsiteY11" fmla="*/ 21581 h 49846"/>
                <a:gd name="connsiteX12" fmla="*/ 51153 w 64261"/>
                <a:gd name="connsiteY12" fmla="*/ 40642 h 49846"/>
                <a:gd name="connsiteX13" fmla="*/ 34702 w 64261"/>
                <a:gd name="connsiteY13" fmla="*/ 49847 h 4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61" h="49846">
                  <a:moveTo>
                    <a:pt x="34702" y="49847"/>
                  </a:moveTo>
                  <a:cubicBezTo>
                    <a:pt x="34506" y="49847"/>
                    <a:pt x="34376" y="49847"/>
                    <a:pt x="34180" y="49847"/>
                  </a:cubicBezTo>
                  <a:cubicBezTo>
                    <a:pt x="27195" y="49651"/>
                    <a:pt x="21059" y="45930"/>
                    <a:pt x="17599" y="39859"/>
                  </a:cubicBezTo>
                  <a:lnTo>
                    <a:pt x="822" y="9700"/>
                  </a:lnTo>
                  <a:cubicBezTo>
                    <a:pt x="-941" y="6566"/>
                    <a:pt x="234" y="2584"/>
                    <a:pt x="3368" y="822"/>
                  </a:cubicBezTo>
                  <a:cubicBezTo>
                    <a:pt x="6501" y="-941"/>
                    <a:pt x="10483" y="234"/>
                    <a:pt x="12246" y="3368"/>
                  </a:cubicBezTo>
                  <a:lnTo>
                    <a:pt x="28957" y="33462"/>
                  </a:lnTo>
                  <a:cubicBezTo>
                    <a:pt x="30589" y="36334"/>
                    <a:pt x="33331" y="36726"/>
                    <a:pt x="34441" y="36726"/>
                  </a:cubicBezTo>
                  <a:cubicBezTo>
                    <a:pt x="35616" y="36726"/>
                    <a:pt x="38358" y="36530"/>
                    <a:pt x="40120" y="33658"/>
                  </a:cubicBezTo>
                  <a:lnTo>
                    <a:pt x="52197" y="14596"/>
                  </a:lnTo>
                  <a:cubicBezTo>
                    <a:pt x="54156" y="11528"/>
                    <a:pt x="58138" y="10614"/>
                    <a:pt x="61206" y="12572"/>
                  </a:cubicBezTo>
                  <a:cubicBezTo>
                    <a:pt x="64274" y="14465"/>
                    <a:pt x="65188" y="18513"/>
                    <a:pt x="63229" y="21581"/>
                  </a:cubicBezTo>
                  <a:lnTo>
                    <a:pt x="51153" y="40642"/>
                  </a:lnTo>
                  <a:cubicBezTo>
                    <a:pt x="47628" y="46452"/>
                    <a:pt x="41426" y="49847"/>
                    <a:pt x="34702" y="49847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101" name="Полилиния: фигура 117">
              <a:extLst>
                <a:ext uri="{FF2B5EF4-FFF2-40B4-BE49-F238E27FC236}">
                  <a16:creationId xmlns:a16="http://schemas.microsoft.com/office/drawing/2014/main" id="{91B0952B-8D2C-4673-AB45-5B742FA19087}"/>
                </a:ext>
              </a:extLst>
            </p:cNvPr>
            <p:cNvSpPr/>
            <p:nvPr/>
          </p:nvSpPr>
          <p:spPr>
            <a:xfrm>
              <a:off x="2087598" y="4600717"/>
              <a:ext cx="64297" cy="49883"/>
            </a:xfrm>
            <a:custGeom>
              <a:avLst/>
              <a:gdLst>
                <a:gd name="connsiteX0" fmla="*/ 29530 w 64297"/>
                <a:gd name="connsiteY0" fmla="*/ 49883 h 49883"/>
                <a:gd name="connsiteX1" fmla="*/ 13015 w 64297"/>
                <a:gd name="connsiteY1" fmla="*/ 40744 h 49883"/>
                <a:gd name="connsiteX2" fmla="*/ 1003 w 64297"/>
                <a:gd name="connsiteY2" fmla="*/ 21682 h 49883"/>
                <a:gd name="connsiteX3" fmla="*/ 3027 w 64297"/>
                <a:gd name="connsiteY3" fmla="*/ 12674 h 49883"/>
                <a:gd name="connsiteX4" fmla="*/ 12035 w 64297"/>
                <a:gd name="connsiteY4" fmla="*/ 14697 h 49883"/>
                <a:gd name="connsiteX5" fmla="*/ 24047 w 64297"/>
                <a:gd name="connsiteY5" fmla="*/ 33759 h 49883"/>
                <a:gd name="connsiteX6" fmla="*/ 29726 w 64297"/>
                <a:gd name="connsiteY6" fmla="*/ 36827 h 49883"/>
                <a:gd name="connsiteX7" fmla="*/ 35275 w 64297"/>
                <a:gd name="connsiteY7" fmla="*/ 33498 h 49883"/>
                <a:gd name="connsiteX8" fmla="*/ 52052 w 64297"/>
                <a:gd name="connsiteY8" fmla="*/ 3339 h 49883"/>
                <a:gd name="connsiteX9" fmla="*/ 60930 w 64297"/>
                <a:gd name="connsiteY9" fmla="*/ 793 h 49883"/>
                <a:gd name="connsiteX10" fmla="*/ 63476 w 64297"/>
                <a:gd name="connsiteY10" fmla="*/ 9671 h 49883"/>
                <a:gd name="connsiteX11" fmla="*/ 46634 w 64297"/>
                <a:gd name="connsiteY11" fmla="*/ 39830 h 49883"/>
                <a:gd name="connsiteX12" fmla="*/ 30053 w 64297"/>
                <a:gd name="connsiteY12" fmla="*/ 49818 h 49883"/>
                <a:gd name="connsiteX13" fmla="*/ 29530 w 64297"/>
                <a:gd name="connsiteY13" fmla="*/ 49883 h 4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97" h="49883">
                  <a:moveTo>
                    <a:pt x="29530" y="49883"/>
                  </a:moveTo>
                  <a:cubicBezTo>
                    <a:pt x="22741" y="49883"/>
                    <a:pt x="16605" y="46489"/>
                    <a:pt x="13015" y="40744"/>
                  </a:cubicBezTo>
                  <a:lnTo>
                    <a:pt x="1003" y="21682"/>
                  </a:lnTo>
                  <a:cubicBezTo>
                    <a:pt x="-890" y="18614"/>
                    <a:pt x="-41" y="14632"/>
                    <a:pt x="3027" y="12674"/>
                  </a:cubicBezTo>
                  <a:cubicBezTo>
                    <a:pt x="6095" y="10781"/>
                    <a:pt x="10077" y="11695"/>
                    <a:pt x="12035" y="14697"/>
                  </a:cubicBezTo>
                  <a:lnTo>
                    <a:pt x="24047" y="33759"/>
                  </a:lnTo>
                  <a:cubicBezTo>
                    <a:pt x="25809" y="36566"/>
                    <a:pt x="28616" y="36827"/>
                    <a:pt x="29726" y="36827"/>
                  </a:cubicBezTo>
                  <a:cubicBezTo>
                    <a:pt x="30836" y="36827"/>
                    <a:pt x="33578" y="36436"/>
                    <a:pt x="35275" y="33498"/>
                  </a:cubicBezTo>
                  <a:lnTo>
                    <a:pt x="52052" y="3339"/>
                  </a:lnTo>
                  <a:cubicBezTo>
                    <a:pt x="53815" y="205"/>
                    <a:pt x="57797" y="-904"/>
                    <a:pt x="60930" y="793"/>
                  </a:cubicBezTo>
                  <a:cubicBezTo>
                    <a:pt x="64063" y="2490"/>
                    <a:pt x="65239" y="6537"/>
                    <a:pt x="63476" y="9671"/>
                  </a:cubicBezTo>
                  <a:lnTo>
                    <a:pt x="46634" y="39830"/>
                  </a:lnTo>
                  <a:cubicBezTo>
                    <a:pt x="43174" y="45901"/>
                    <a:pt x="37038" y="49622"/>
                    <a:pt x="30053" y="49818"/>
                  </a:cubicBezTo>
                  <a:cubicBezTo>
                    <a:pt x="29857" y="49883"/>
                    <a:pt x="29661" y="49883"/>
                    <a:pt x="29530" y="498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102" name="Полилиния: фигура 118">
              <a:extLst>
                <a:ext uri="{FF2B5EF4-FFF2-40B4-BE49-F238E27FC236}">
                  <a16:creationId xmlns:a16="http://schemas.microsoft.com/office/drawing/2014/main" id="{4F959143-BE7D-4F0D-8346-729DEA978577}"/>
                </a:ext>
              </a:extLst>
            </p:cNvPr>
            <p:cNvSpPr/>
            <p:nvPr/>
          </p:nvSpPr>
          <p:spPr>
            <a:xfrm>
              <a:off x="2003157" y="4715408"/>
              <a:ext cx="25444" cy="62682"/>
            </a:xfrm>
            <a:custGeom>
              <a:avLst/>
              <a:gdLst>
                <a:gd name="connsiteX0" fmla="*/ 18924 w 25444"/>
                <a:gd name="connsiteY0" fmla="*/ 62683 h 62682"/>
                <a:gd name="connsiteX1" fmla="*/ 12592 w 25444"/>
                <a:gd name="connsiteY1" fmla="*/ 57722 h 62682"/>
                <a:gd name="connsiteX2" fmla="*/ 189 w 25444"/>
                <a:gd name="connsiteY2" fmla="*/ 8109 h 62682"/>
                <a:gd name="connsiteX3" fmla="*/ 4954 w 25444"/>
                <a:gd name="connsiteY3" fmla="*/ 210 h 62682"/>
                <a:gd name="connsiteX4" fmla="*/ 12853 w 25444"/>
                <a:gd name="connsiteY4" fmla="*/ 4976 h 62682"/>
                <a:gd name="connsiteX5" fmla="*/ 25256 w 25444"/>
                <a:gd name="connsiteY5" fmla="*/ 54588 h 62682"/>
                <a:gd name="connsiteX6" fmla="*/ 20491 w 25444"/>
                <a:gd name="connsiteY6" fmla="*/ 62487 h 62682"/>
                <a:gd name="connsiteX7" fmla="*/ 18924 w 25444"/>
                <a:gd name="connsiteY7" fmla="*/ 62683 h 62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444" h="62682">
                  <a:moveTo>
                    <a:pt x="18924" y="62683"/>
                  </a:moveTo>
                  <a:cubicBezTo>
                    <a:pt x="15986" y="62683"/>
                    <a:pt x="13310" y="60725"/>
                    <a:pt x="12592" y="57722"/>
                  </a:cubicBezTo>
                  <a:lnTo>
                    <a:pt x="189" y="8109"/>
                  </a:lnTo>
                  <a:cubicBezTo>
                    <a:pt x="-660" y="4584"/>
                    <a:pt x="1429" y="1059"/>
                    <a:pt x="4954" y="210"/>
                  </a:cubicBezTo>
                  <a:cubicBezTo>
                    <a:pt x="8414" y="-704"/>
                    <a:pt x="12004" y="1450"/>
                    <a:pt x="12853" y="4976"/>
                  </a:cubicBezTo>
                  <a:lnTo>
                    <a:pt x="25256" y="54588"/>
                  </a:lnTo>
                  <a:cubicBezTo>
                    <a:pt x="26105" y="58113"/>
                    <a:pt x="24016" y="61638"/>
                    <a:pt x="20491" y="62487"/>
                  </a:cubicBezTo>
                  <a:cubicBezTo>
                    <a:pt x="19969" y="62618"/>
                    <a:pt x="19446" y="62683"/>
                    <a:pt x="18924" y="626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  <p:sp>
          <p:nvSpPr>
            <p:cNvPr id="103" name="Полилиния: фигура 119">
              <a:extLst>
                <a:ext uri="{FF2B5EF4-FFF2-40B4-BE49-F238E27FC236}">
                  <a16:creationId xmlns:a16="http://schemas.microsoft.com/office/drawing/2014/main" id="{1D7FAB7D-CE65-4A02-A616-356B7D21C281}"/>
                </a:ext>
              </a:extLst>
            </p:cNvPr>
            <p:cNvSpPr/>
            <p:nvPr/>
          </p:nvSpPr>
          <p:spPr>
            <a:xfrm>
              <a:off x="2160220" y="4715408"/>
              <a:ext cx="25640" cy="63531"/>
            </a:xfrm>
            <a:custGeom>
              <a:avLst/>
              <a:gdLst>
                <a:gd name="connsiteX0" fmla="*/ 6521 w 25640"/>
                <a:gd name="connsiteY0" fmla="*/ 63532 h 63531"/>
                <a:gd name="connsiteX1" fmla="*/ 4954 w 25640"/>
                <a:gd name="connsiteY1" fmla="*/ 63336 h 63531"/>
                <a:gd name="connsiteX2" fmla="*/ 189 w 25640"/>
                <a:gd name="connsiteY2" fmla="*/ 55437 h 63531"/>
                <a:gd name="connsiteX3" fmla="*/ 12788 w 25640"/>
                <a:gd name="connsiteY3" fmla="*/ 4976 h 63531"/>
                <a:gd name="connsiteX4" fmla="*/ 20687 w 25640"/>
                <a:gd name="connsiteY4" fmla="*/ 210 h 63531"/>
                <a:gd name="connsiteX5" fmla="*/ 25452 w 25640"/>
                <a:gd name="connsiteY5" fmla="*/ 8109 h 63531"/>
                <a:gd name="connsiteX6" fmla="*/ 12853 w 25640"/>
                <a:gd name="connsiteY6" fmla="*/ 58570 h 63531"/>
                <a:gd name="connsiteX7" fmla="*/ 6521 w 25640"/>
                <a:gd name="connsiteY7" fmla="*/ 63532 h 6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0" h="63531">
                  <a:moveTo>
                    <a:pt x="6521" y="63532"/>
                  </a:moveTo>
                  <a:cubicBezTo>
                    <a:pt x="5999" y="63532"/>
                    <a:pt x="5476" y="63466"/>
                    <a:pt x="4954" y="63336"/>
                  </a:cubicBezTo>
                  <a:cubicBezTo>
                    <a:pt x="1429" y="62487"/>
                    <a:pt x="-660" y="58897"/>
                    <a:pt x="189" y="55437"/>
                  </a:cubicBezTo>
                  <a:lnTo>
                    <a:pt x="12788" y="4976"/>
                  </a:lnTo>
                  <a:cubicBezTo>
                    <a:pt x="13636" y="1450"/>
                    <a:pt x="17227" y="-704"/>
                    <a:pt x="20687" y="210"/>
                  </a:cubicBezTo>
                  <a:cubicBezTo>
                    <a:pt x="24212" y="1059"/>
                    <a:pt x="26301" y="4649"/>
                    <a:pt x="25452" y="8109"/>
                  </a:cubicBezTo>
                  <a:lnTo>
                    <a:pt x="12853" y="58570"/>
                  </a:lnTo>
                  <a:cubicBezTo>
                    <a:pt x="12070" y="61573"/>
                    <a:pt x="9393" y="63532"/>
                    <a:pt x="6521" y="6353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282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7" b="0" i="0" u="none" strike="noStrike" kern="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/>
              </a:endParaRPr>
            </a:p>
          </p:txBody>
        </p:sp>
      </p:grpSp>
      <p:sp>
        <p:nvSpPr>
          <p:cNvPr id="111" name="Овал 110"/>
          <p:cNvSpPr/>
          <p:nvPr/>
        </p:nvSpPr>
        <p:spPr>
          <a:xfrm>
            <a:off x="10157343" y="3321743"/>
            <a:ext cx="644131" cy="644131"/>
          </a:xfrm>
          <a:prstGeom prst="ellips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12" name="Овал 111"/>
          <p:cNvSpPr/>
          <p:nvPr/>
        </p:nvSpPr>
        <p:spPr>
          <a:xfrm>
            <a:off x="9544778" y="2130446"/>
            <a:ext cx="644131" cy="644131"/>
          </a:xfrm>
          <a:prstGeom prst="ellips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13" name="Овал 112"/>
          <p:cNvSpPr/>
          <p:nvPr/>
        </p:nvSpPr>
        <p:spPr>
          <a:xfrm>
            <a:off x="9837611" y="2733591"/>
            <a:ext cx="644131" cy="644131"/>
          </a:xfrm>
          <a:prstGeom prst="ellips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14" name="Овал 113"/>
          <p:cNvSpPr/>
          <p:nvPr/>
        </p:nvSpPr>
        <p:spPr>
          <a:xfrm>
            <a:off x="8955319" y="3334665"/>
            <a:ext cx="644131" cy="644131"/>
          </a:xfrm>
          <a:prstGeom prst="ellips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pic>
        <p:nvPicPr>
          <p:cNvPr id="115" name="Picture 2" descr="3065de06-b14f-4479-8be2-9cb18547cf32@gazprombank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76" r="6781" b="21583"/>
          <a:stretch/>
        </p:blipFill>
        <p:spPr bwMode="auto">
          <a:xfrm>
            <a:off x="8241737" y="4615410"/>
            <a:ext cx="2887638" cy="1122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5269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9331" y="11771"/>
          <a:ext cx="1241" cy="12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129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9" name="Объект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331" y="11771"/>
                        <a:ext cx="1241" cy="12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B98B4068-D393-4CF9-B234-9BBE30D2B516}"/>
              </a:ext>
            </a:extLst>
          </p:cNvPr>
          <p:cNvGrpSpPr>
            <a:grpSpLocks noChangeAspect="1"/>
          </p:cNvGrpSpPr>
          <p:nvPr/>
        </p:nvGrpSpPr>
        <p:grpSpPr>
          <a:xfrm>
            <a:off x="8513306" y="1392093"/>
            <a:ext cx="3192657" cy="5082446"/>
            <a:chOff x="8247964" y="1293841"/>
            <a:chExt cx="3457191" cy="5503561"/>
          </a:xfrm>
        </p:grpSpPr>
        <p:sp>
          <p:nvSpPr>
            <p:cNvPr id="122" name="Прямоугольник: скругленные углы 17">
              <a:extLst>
                <a:ext uri="{FF2B5EF4-FFF2-40B4-BE49-F238E27FC236}">
                  <a16:creationId xmlns:a16="http://schemas.microsoft.com/office/drawing/2014/main" id="{310634E1-3072-4719-9993-D1ED94C9AC96}"/>
                </a:ext>
              </a:extLst>
            </p:cNvPr>
            <p:cNvSpPr/>
            <p:nvPr/>
          </p:nvSpPr>
          <p:spPr>
            <a:xfrm>
              <a:off x="8247964" y="1293841"/>
              <a:ext cx="3457191" cy="5503561"/>
            </a:xfrm>
            <a:prstGeom prst="roundRect">
              <a:avLst>
                <a:gd name="adj" fmla="val 7920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4" name="Группа 13">
              <a:extLst>
                <a:ext uri="{FF2B5EF4-FFF2-40B4-BE49-F238E27FC236}">
                  <a16:creationId xmlns:a16="http://schemas.microsoft.com/office/drawing/2014/main" id="{BF6C2001-20A7-4678-80CB-5504597532A6}"/>
                </a:ext>
              </a:extLst>
            </p:cNvPr>
            <p:cNvGrpSpPr/>
            <p:nvPr/>
          </p:nvGrpSpPr>
          <p:grpSpPr>
            <a:xfrm>
              <a:off x="8459652" y="1628360"/>
              <a:ext cx="3059751" cy="2418804"/>
              <a:chOff x="729882" y="5639886"/>
              <a:chExt cx="3059751" cy="2418804"/>
            </a:xfrm>
          </p:grpSpPr>
          <p:grpSp>
            <p:nvGrpSpPr>
              <p:cNvPr id="13" name="Группа 12">
                <a:extLst>
                  <a:ext uri="{FF2B5EF4-FFF2-40B4-BE49-F238E27FC236}">
                    <a16:creationId xmlns:a16="http://schemas.microsoft.com/office/drawing/2014/main" id="{0B41D849-158A-477C-9690-3B9D43C4E540}"/>
                  </a:ext>
                </a:extLst>
              </p:cNvPr>
              <p:cNvGrpSpPr/>
              <p:nvPr/>
            </p:nvGrpSpPr>
            <p:grpSpPr>
              <a:xfrm>
                <a:off x="729882" y="5639886"/>
                <a:ext cx="3059751" cy="2418804"/>
                <a:chOff x="922139" y="5706119"/>
                <a:chExt cx="3059751" cy="2418804"/>
              </a:xfrm>
            </p:grpSpPr>
            <p:grpSp>
              <p:nvGrpSpPr>
                <p:cNvPr id="123" name="Группа 122">
                  <a:extLst>
                    <a:ext uri="{FF2B5EF4-FFF2-40B4-BE49-F238E27FC236}">
                      <a16:creationId xmlns:a16="http://schemas.microsoft.com/office/drawing/2014/main" id="{BCC44DA0-B80B-415E-9B7B-27AEC648B561}"/>
                    </a:ext>
                  </a:extLst>
                </p:cNvPr>
                <p:cNvGrpSpPr/>
                <p:nvPr/>
              </p:nvGrpSpPr>
              <p:grpSpPr>
                <a:xfrm>
                  <a:off x="922139" y="5706119"/>
                  <a:ext cx="3059751" cy="2418804"/>
                  <a:chOff x="8499855" y="5482605"/>
                  <a:chExt cx="3059751" cy="2418804"/>
                </a:xfrm>
              </p:grpSpPr>
              <p:pic>
                <p:nvPicPr>
                  <p:cNvPr id="124" name="Picture 228"/>
                  <p:cNvPicPr>
                    <a:picLocks noChangeAspect="1" noChangeArrowheads="1"/>
                  </p:cNvPicPr>
                  <p:nvPr/>
                </p:nvPicPr>
                <p:blipFill>
                  <a:blip r:embed="rId1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522572" y="6119594"/>
                    <a:ext cx="891051" cy="38548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26" name="Рисунок 125">
                    <a:extLst>
                      <a:ext uri="{FF2B5EF4-FFF2-40B4-BE49-F238E27FC236}">
                        <a16:creationId xmlns:a16="http://schemas.microsoft.com/office/drawing/2014/main" id="{DE25A3C5-1EEC-423A-BFFA-EF06873DF37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148269" y="5561739"/>
                    <a:ext cx="1411337" cy="210199"/>
                  </a:xfrm>
                  <a:prstGeom prst="rect">
                    <a:avLst/>
                  </a:prstGeom>
                </p:spPr>
              </p:pic>
              <p:pic>
                <p:nvPicPr>
                  <p:cNvPr id="128" name="Рисунок 127">
                    <a:extLst>
                      <a:ext uri="{FF2B5EF4-FFF2-40B4-BE49-F238E27FC236}">
                        <a16:creationId xmlns:a16="http://schemas.microsoft.com/office/drawing/2014/main" id="{969B8FD6-4961-445C-B8C8-C0DA064F115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/>
                </p:blipFill>
                <p:spPr>
                  <a:xfrm>
                    <a:off x="8499855" y="5482605"/>
                    <a:ext cx="410038" cy="410038"/>
                  </a:xfrm>
                  <a:prstGeom prst="rect">
                    <a:avLst/>
                  </a:prstGeom>
                  <a:effectLst/>
                </p:spPr>
              </p:pic>
              <p:pic>
                <p:nvPicPr>
                  <p:cNvPr id="129" name="Picture 60"/>
                  <p:cNvPicPr>
                    <a:picLocks noChangeAspect="1" noChangeArrowheads="1"/>
                  </p:cNvPicPr>
                  <p:nvPr>
                    <p:custDataLst>
                      <p:tags r:id="rId5"/>
                    </p:custDataLst>
                  </p:nvPr>
                </p:nvPicPr>
                <p:blipFill>
                  <a:blip r:embed="rId13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247952" y="7408693"/>
                    <a:ext cx="492716" cy="49271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pic>
              <p:nvPicPr>
                <p:cNvPr id="108" name="Рисунок 107">
                  <a:extLst>
                    <a:ext uri="{FF2B5EF4-FFF2-40B4-BE49-F238E27FC236}">
                      <a16:creationId xmlns:a16="http://schemas.microsoft.com/office/drawing/2014/main" id="{68EF0CB3-14C9-4730-B326-CC3D211E2A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>
                <a:xfrm>
                  <a:off x="1845220" y="6241958"/>
                  <a:ext cx="825016" cy="486633"/>
                </a:xfrm>
                <a:prstGeom prst="rect">
                  <a:avLst/>
                </a:prstGeom>
              </p:spPr>
            </p:pic>
          </p:grpSp>
          <p:pic>
            <p:nvPicPr>
              <p:cNvPr id="79" name="Рисунок 78">
                <a:extLst>
                  <a:ext uri="{FF2B5EF4-FFF2-40B4-BE49-F238E27FC236}">
                    <a16:creationId xmlns:a16="http://schemas.microsoft.com/office/drawing/2014/main" id="{5ED172D9-8794-4933-B009-6A6F05592CE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0470" r="-10470"/>
              <a:stretch/>
            </p:blipFill>
            <p:spPr>
              <a:xfrm>
                <a:off x="1253185" y="5666666"/>
                <a:ext cx="1096833" cy="320259"/>
              </a:xfrm>
              <a:prstGeom prst="rect">
                <a:avLst/>
              </a:prstGeom>
            </p:spPr>
          </p:pic>
        </p:grpSp>
      </p:grpSp>
      <p:grpSp>
        <p:nvGrpSpPr>
          <p:cNvPr id="21" name="Группа 20"/>
          <p:cNvGrpSpPr>
            <a:grpSpLocks noChangeAspect="1"/>
          </p:cNvGrpSpPr>
          <p:nvPr/>
        </p:nvGrpSpPr>
        <p:grpSpPr>
          <a:xfrm>
            <a:off x="517585" y="3350205"/>
            <a:ext cx="1938346" cy="1575145"/>
            <a:chOff x="8487375" y="5195441"/>
            <a:chExt cx="2098951" cy="1705656"/>
          </a:xfrm>
        </p:grpSpPr>
        <p:sp>
          <p:nvSpPr>
            <p:cNvPr id="161" name="Прямоугольник: скругленные углы 17">
              <a:extLst>
                <a:ext uri="{FF2B5EF4-FFF2-40B4-BE49-F238E27FC236}">
                  <a16:creationId xmlns:a16="http://schemas.microsoft.com/office/drawing/2014/main" id="{310634E1-3072-4719-9993-D1ED94C9AC96}"/>
                </a:ext>
              </a:extLst>
            </p:cNvPr>
            <p:cNvSpPr/>
            <p:nvPr/>
          </p:nvSpPr>
          <p:spPr>
            <a:xfrm>
              <a:off x="8487375" y="5195441"/>
              <a:ext cx="2098951" cy="1705656"/>
            </a:xfrm>
            <a:prstGeom prst="roundRect">
              <a:avLst>
                <a:gd name="adj" fmla="val 7920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152" name="Рисунок 151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25018" y="6370313"/>
              <a:ext cx="615078" cy="358776"/>
            </a:xfrm>
            <a:prstGeom prst="rect">
              <a:avLst/>
            </a:prstGeom>
          </p:spPr>
        </p:pic>
        <p:pic>
          <p:nvPicPr>
            <p:cNvPr id="162" name="Рисунок 161"/>
            <p:cNvPicPr>
              <a:picLocks noChangeAspect="1"/>
            </p:cNvPicPr>
            <p:nvPr/>
          </p:nvPicPr>
          <p:blipFill>
            <a:blip r:embed="rId1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00683" y="5274908"/>
              <a:ext cx="699312" cy="338001"/>
            </a:xfrm>
            <a:prstGeom prst="rect">
              <a:avLst/>
            </a:prstGeom>
          </p:spPr>
        </p:pic>
        <p:pic>
          <p:nvPicPr>
            <p:cNvPr id="164" name="Рисунок 163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326378" y="5341147"/>
              <a:ext cx="1159446" cy="395907"/>
            </a:xfrm>
            <a:prstGeom prst="rect">
              <a:avLst/>
            </a:prstGeom>
          </p:spPr>
        </p:pic>
        <p:pic>
          <p:nvPicPr>
            <p:cNvPr id="180" name="Рисунок 179"/>
            <p:cNvPicPr>
              <a:picLocks noChangeAspect="1"/>
            </p:cNvPicPr>
            <p:nvPr/>
          </p:nvPicPr>
          <p:blipFill rotWithShape="1">
            <a:blip r:embed="rId1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484" b="25484"/>
            <a:stretch/>
          </p:blipFill>
          <p:spPr>
            <a:xfrm>
              <a:off x="8999403" y="5865809"/>
              <a:ext cx="1066309" cy="348559"/>
            </a:xfrm>
            <a:prstGeom prst="rect">
              <a:avLst/>
            </a:prstGeom>
          </p:spPr>
        </p:pic>
      </p:grpSp>
      <p:graphicFrame>
        <p:nvGraphicFramePr>
          <p:cNvPr id="86" name="Диаграмма 85">
            <a:extLst>
              <a:ext uri="{FF2B5EF4-FFF2-40B4-BE49-F238E27FC236}">
                <a16:creationId xmlns:a16="http://schemas.microsoft.com/office/drawing/2014/main" id="{EC99FC35-AA69-42F3-B071-A97502A6A36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0339653"/>
              </p:ext>
            </p:extLst>
          </p:nvPr>
        </p:nvGraphicFramePr>
        <p:xfrm>
          <a:off x="1783635" y="1635895"/>
          <a:ext cx="4904035" cy="3392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8A150F10-608D-4545-92CD-BDFD5CE107D1}"/>
              </a:ext>
            </a:extLst>
          </p:cNvPr>
          <p:cNvGrpSpPr/>
          <p:nvPr/>
        </p:nvGrpSpPr>
        <p:grpSpPr>
          <a:xfrm>
            <a:off x="3401337" y="2289265"/>
            <a:ext cx="1630265" cy="1378640"/>
            <a:chOff x="5291551" y="2195529"/>
            <a:chExt cx="1630265" cy="1378640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BAA49319-FE28-4248-9F24-6EC7A2809AA1}"/>
                </a:ext>
              </a:extLst>
            </p:cNvPr>
            <p:cNvSpPr txBox="1"/>
            <p:nvPr/>
          </p:nvSpPr>
          <p:spPr>
            <a:xfrm>
              <a:off x="5369975" y="2195529"/>
              <a:ext cx="1458608" cy="120603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ru-RU" sz="7837" b="1" dirty="0" smtClean="0">
                  <a:latin typeface="Cera CY" panose="00000500000000000000" pitchFamily="50" charset="-52"/>
                </a:rPr>
                <a:t>23</a:t>
              </a:r>
              <a:endParaRPr lang="ru-RU" sz="3600" b="1" dirty="0">
                <a:latin typeface="Cera CY" panose="00000500000000000000" pitchFamily="50" charset="-52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66F49C37-43A7-4642-889C-C72A5538DE2E}"/>
                </a:ext>
              </a:extLst>
            </p:cNvPr>
            <p:cNvSpPr txBox="1"/>
            <p:nvPr/>
          </p:nvSpPr>
          <p:spPr>
            <a:xfrm>
              <a:off x="5291551" y="3205927"/>
              <a:ext cx="1630265" cy="3682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2393" b="1" dirty="0">
                  <a:latin typeface="Cera CY" panose="00000500000000000000" pitchFamily="50" charset="-52"/>
                </a:rPr>
                <a:t>трлн руб.</a:t>
              </a:r>
            </a:p>
          </p:txBody>
        </p:sp>
      </p:grpSp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9401" y="0"/>
            <a:ext cx="124419" cy="1244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75" b="1" dirty="0">
              <a:latin typeface="Cera CY" panose="00000500000000000000" pitchFamily="50" charset="-52"/>
              <a:ea typeface="Stem Medium" panose="020B0603020203020204" pitchFamily="34" charset="-52"/>
              <a:cs typeface="+mj-cs"/>
              <a:sym typeface="Cera CY" panose="00000500000000000000" pitchFamily="50" charset="-52"/>
            </a:endParaRPr>
          </a:p>
        </p:txBody>
      </p:sp>
      <p:sp>
        <p:nvSpPr>
          <p:cNvPr id="3" name="Прямоугольник 2" hidden="1"/>
          <p:cNvSpPr/>
          <p:nvPr>
            <p:custDataLst>
              <p:tags r:id="rId4"/>
            </p:custDataLst>
          </p:nvPr>
        </p:nvSpPr>
        <p:spPr>
          <a:xfrm>
            <a:off x="28091" y="10530"/>
            <a:ext cx="124038" cy="124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75" b="1" dirty="0">
              <a:latin typeface="Cera CY" panose="00000500000000000000" pitchFamily="50" charset="-52"/>
              <a:ea typeface="Stem Medium" panose="020B0603020203020204" pitchFamily="34" charset="-52"/>
              <a:cs typeface="+mj-cs"/>
              <a:sym typeface="Cera CY" panose="00000500000000000000" pitchFamily="50" charset="-52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71F7BC-02C2-42F0-B89C-55B4421F7BE6}"/>
              </a:ext>
            </a:extLst>
          </p:cNvPr>
          <p:cNvSpPr txBox="1"/>
          <p:nvPr/>
        </p:nvSpPr>
        <p:spPr>
          <a:xfrm>
            <a:off x="6243056" y="3692934"/>
            <a:ext cx="169329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5400" b="1" dirty="0" smtClean="0">
                <a:latin typeface="Cera CY" panose="00000500000000000000" pitchFamily="50" charset="-52"/>
              </a:rPr>
              <a:t>19</a:t>
            </a:r>
            <a:r>
              <a:rPr lang="ru-RU" sz="4000" b="1" dirty="0" smtClean="0">
                <a:latin typeface="Cera CY" panose="00000500000000000000" pitchFamily="50" charset="-52"/>
              </a:rPr>
              <a:t>%</a:t>
            </a:r>
            <a:endParaRPr lang="ru-RU" sz="4000" b="1" dirty="0">
              <a:latin typeface="Cera CY" panose="00000500000000000000" pitchFamily="50" charset="-52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39D3998-4020-4FF0-970C-3D2082B8FAE9}"/>
              </a:ext>
            </a:extLst>
          </p:cNvPr>
          <p:cNvSpPr txBox="1"/>
          <p:nvPr/>
        </p:nvSpPr>
        <p:spPr>
          <a:xfrm>
            <a:off x="6243056" y="4497661"/>
            <a:ext cx="1433482" cy="2963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b="1" dirty="0">
                <a:latin typeface="Cera CY" panose="00000500000000000000" pitchFamily="50" charset="-52"/>
              </a:rPr>
              <a:t>Строительные контракты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61A4001-B65F-4049-9A98-709025A97C2F}"/>
              </a:ext>
            </a:extLst>
          </p:cNvPr>
          <p:cNvSpPr txBox="1"/>
          <p:nvPr/>
        </p:nvSpPr>
        <p:spPr>
          <a:xfrm>
            <a:off x="6243056" y="5008175"/>
            <a:ext cx="226363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5400" b="1" dirty="0" smtClean="0">
                <a:latin typeface="Cera CY" panose="00000500000000000000" pitchFamily="50" charset="-52"/>
              </a:rPr>
              <a:t>20,19</a:t>
            </a:r>
            <a:r>
              <a:rPr lang="ru-RU" sz="4000" b="1" dirty="0" smtClean="0">
                <a:latin typeface="Cera CY" panose="00000500000000000000" pitchFamily="50" charset="-52"/>
              </a:rPr>
              <a:t>%</a:t>
            </a:r>
            <a:endParaRPr lang="ru-RU" sz="4000" b="1" dirty="0">
              <a:latin typeface="Cera CY" panose="00000500000000000000" pitchFamily="50" charset="-52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2CF1799-14C7-47E0-B01B-7C460070F2A4}"/>
              </a:ext>
            </a:extLst>
          </p:cNvPr>
          <p:cNvSpPr txBox="1"/>
          <p:nvPr/>
        </p:nvSpPr>
        <p:spPr>
          <a:xfrm>
            <a:off x="6243056" y="5809430"/>
            <a:ext cx="1810100" cy="2963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b="1" dirty="0">
                <a:latin typeface="Cera CY" panose="00000500000000000000" pitchFamily="50" charset="-52"/>
              </a:rPr>
              <a:t>Нефтехимические контракты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3BDD876-2FDA-4ABF-B319-56A573BE08E9}"/>
              </a:ext>
            </a:extLst>
          </p:cNvPr>
          <p:cNvSpPr txBox="1"/>
          <p:nvPr/>
        </p:nvSpPr>
        <p:spPr>
          <a:xfrm>
            <a:off x="6243056" y="1128823"/>
            <a:ext cx="221157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5400" b="1" dirty="0" smtClean="0">
                <a:latin typeface="Cera CY" panose="00000500000000000000" pitchFamily="50" charset="-52"/>
              </a:rPr>
              <a:t>4,50</a:t>
            </a:r>
            <a:r>
              <a:rPr lang="ru-RU" sz="4000" b="1" dirty="0" smtClean="0">
                <a:latin typeface="Cera CY" panose="00000500000000000000" pitchFamily="50" charset="-52"/>
              </a:rPr>
              <a:t>%</a:t>
            </a:r>
            <a:endParaRPr lang="ru-RU" sz="4000" b="1" dirty="0">
              <a:latin typeface="Cera CY" panose="00000500000000000000" pitchFamily="50" charset="-52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D7E8E48-8C6A-49A3-B6E0-C02B3091A152}"/>
              </a:ext>
            </a:extLst>
          </p:cNvPr>
          <p:cNvSpPr txBox="1"/>
          <p:nvPr/>
        </p:nvSpPr>
        <p:spPr>
          <a:xfrm>
            <a:off x="6246172" y="3208690"/>
            <a:ext cx="1507224" cy="2963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b="1" dirty="0">
                <a:latin typeface="Cera CY" panose="00000500000000000000" pitchFamily="50" charset="-52"/>
              </a:rPr>
              <a:t>Государственные контракты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E175202-F68E-4401-BFC9-1C372F47A49C}"/>
              </a:ext>
            </a:extLst>
          </p:cNvPr>
          <p:cNvSpPr txBox="1"/>
          <p:nvPr/>
        </p:nvSpPr>
        <p:spPr>
          <a:xfrm>
            <a:off x="286001" y="1908485"/>
            <a:ext cx="23825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5400" b="1" dirty="0" smtClean="0">
                <a:latin typeface="Cera CY" panose="00000500000000000000" pitchFamily="50" charset="-52"/>
              </a:rPr>
              <a:t>48,66</a:t>
            </a:r>
            <a:r>
              <a:rPr lang="ru-RU" sz="4000" b="1" dirty="0" smtClean="0">
                <a:latin typeface="Cera CY" panose="00000500000000000000" pitchFamily="50" charset="-52"/>
              </a:rPr>
              <a:t>%</a:t>
            </a:r>
            <a:endParaRPr lang="ru-RU" sz="4000" b="1" dirty="0">
              <a:latin typeface="Cera CY" panose="00000500000000000000" pitchFamily="50" charset="-52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57C05CD-51B0-400E-AF5E-2C1900E88207}"/>
              </a:ext>
            </a:extLst>
          </p:cNvPr>
          <p:cNvSpPr txBox="1"/>
          <p:nvPr/>
        </p:nvSpPr>
        <p:spPr>
          <a:xfrm>
            <a:off x="562008" y="2973502"/>
            <a:ext cx="856852" cy="2963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b="1" dirty="0">
                <a:latin typeface="Cera CY" panose="00000500000000000000" pitchFamily="50" charset="-52"/>
              </a:rPr>
              <a:t>Газовые контракты</a:t>
            </a: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EC35F622-645D-41BB-A2BD-EFDCF01F6D82}"/>
              </a:ext>
            </a:extLst>
          </p:cNvPr>
          <p:cNvCxnSpPr>
            <a:cxnSpLocks/>
          </p:cNvCxnSpPr>
          <p:nvPr/>
        </p:nvCxnSpPr>
        <p:spPr>
          <a:xfrm>
            <a:off x="5722892" y="2758755"/>
            <a:ext cx="513552" cy="4391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6C8A049F-FC6D-4501-AE0E-D8C69111012A}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5731200" y="3997501"/>
            <a:ext cx="511856" cy="110932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9C2E9E2-1026-4764-8424-8C0A3AC162B0}"/>
              </a:ext>
            </a:extLst>
          </p:cNvPr>
          <p:cNvCxnSpPr>
            <a:cxnSpLocks/>
          </p:cNvCxnSpPr>
          <p:nvPr/>
        </p:nvCxnSpPr>
        <p:spPr>
          <a:xfrm>
            <a:off x="2490893" y="2645251"/>
            <a:ext cx="223507" cy="18491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79C2E9E2-1026-4764-8424-8C0A3AC162B0}"/>
              </a:ext>
            </a:extLst>
          </p:cNvPr>
          <p:cNvCxnSpPr>
            <a:cxnSpLocks/>
          </p:cNvCxnSpPr>
          <p:nvPr/>
        </p:nvCxnSpPr>
        <p:spPr>
          <a:xfrm flipV="1">
            <a:off x="5205600" y="1607020"/>
            <a:ext cx="890400" cy="53138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Номер слайда 5">
            <a:extLst>
              <a:ext uri="{FF2B5EF4-FFF2-40B4-BE49-F238E27FC236}">
                <a16:creationId xmlns:a16="http://schemas.microsoft.com/office/drawing/2014/main" id="{C626B79A-E9A7-44EB-8E63-1F5B06098C2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pPr algn="r"/>
            <a:fld id="{58A9CFFD-EE99-4E11-B8BC-23AC5DDB75ED}" type="slidenum">
              <a:rPr lang="ru-RU" sz="800">
                <a:latin typeface="Cera CY" panose="00000500000000000000" pitchFamily="2" charset="-52"/>
              </a:rPr>
              <a:pPr algn="r"/>
              <a:t>13</a:t>
            </a:fld>
            <a:endParaRPr lang="ru-RU" sz="800" dirty="0">
              <a:latin typeface="Cera CY" panose="00000500000000000000" pitchFamily="2" charset="-52"/>
            </a:endParaRPr>
          </a:p>
        </p:txBody>
      </p:sp>
      <p:sp>
        <p:nvSpPr>
          <p:cNvPr id="60" name="Текст 2">
            <a:extLst>
              <a:ext uri="{FF2B5EF4-FFF2-40B4-BE49-F238E27FC236}">
                <a16:creationId xmlns:a16="http://schemas.microsoft.com/office/drawing/2014/main" id="{3BA70E5A-B1C7-40F5-9D4C-F6B45495D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0101" y="280803"/>
            <a:ext cx="9119530" cy="800219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ru-RU" sz="2600" b="1" dirty="0">
                <a:solidFill>
                  <a:schemeClr val="tx1"/>
                </a:solidFill>
              </a:rPr>
              <a:t>Структура портфеля и отраслевые направления</a:t>
            </a:r>
          </a:p>
          <a:p>
            <a:pPr marL="0" indent="0">
              <a:buNone/>
            </a:pPr>
            <a:r>
              <a:rPr lang="ru-RU" sz="2600" b="1" dirty="0">
                <a:solidFill>
                  <a:schemeClr val="tx1"/>
                </a:solidFill>
              </a:rPr>
              <a:t>сопровождаемых контрактов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3BDD876-2FDA-4ABF-B319-56A573BE08E9}"/>
              </a:ext>
            </a:extLst>
          </p:cNvPr>
          <p:cNvSpPr txBox="1"/>
          <p:nvPr/>
        </p:nvSpPr>
        <p:spPr>
          <a:xfrm>
            <a:off x="6243056" y="2377694"/>
            <a:ext cx="2031466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5400" b="1" dirty="0" smtClean="0">
                <a:latin typeface="Cera CY" panose="00000500000000000000" pitchFamily="50" charset="-52"/>
              </a:rPr>
              <a:t>7,65</a:t>
            </a:r>
            <a:r>
              <a:rPr lang="ru-RU" sz="4000" b="1" dirty="0" smtClean="0">
                <a:latin typeface="Cera CY" panose="00000500000000000000" pitchFamily="50" charset="-52"/>
              </a:rPr>
              <a:t>%</a:t>
            </a:r>
            <a:endParaRPr lang="ru-RU" sz="4000" b="1" dirty="0">
              <a:latin typeface="Cera CY" panose="00000500000000000000" pitchFamily="50" charset="-52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D7E8E48-8C6A-49A3-B6E0-C02B3091A152}"/>
              </a:ext>
            </a:extLst>
          </p:cNvPr>
          <p:cNvSpPr txBox="1"/>
          <p:nvPr/>
        </p:nvSpPr>
        <p:spPr>
          <a:xfrm>
            <a:off x="6243056" y="1931945"/>
            <a:ext cx="2338866" cy="4440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  <a:defRPr sz="1197" b="0" i="0" u="none" strike="noStrike" kern="1200" baseline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  <a:ea typeface="+mn-ea"/>
                <a:cs typeface="+mn-cs"/>
              </a:defRPr>
            </a:pPr>
            <a:fld id="{E7324DFE-0713-40FA-A180-E32CAC5B634A}" type="CATEGORYNAME">
              <a:rPr lang="ru-RU" sz="1200" b="1">
                <a:latin typeface="Cera CY" panose="00000500000000000000" pitchFamily="50" charset="-52"/>
              </a:rPr>
              <a:pPr>
                <a:lnSpc>
                  <a:spcPct val="80000"/>
                </a:lnSpc>
                <a:defRPr sz="1197" b="0" i="0" u="none" strike="noStrike" kern="1200" baseline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+mn-ea"/>
                  <a:cs typeface="+mn-cs"/>
                </a:defRPr>
              </a:pPr>
              <a:t>Контракты атомной отрасли, силовых ведомств, международные проекты</a:t>
            </a:fld>
            <a:endParaRPr lang="ru-RU" sz="1200" b="1" dirty="0">
              <a:latin typeface="Cera CY" panose="00000500000000000000" pitchFamily="50" charset="-52"/>
            </a:endParaRPr>
          </a:p>
        </p:txBody>
      </p:sp>
      <p:grpSp>
        <p:nvGrpSpPr>
          <p:cNvPr id="131" name="Группа 130">
            <a:extLst>
              <a:ext uri="{FF2B5EF4-FFF2-40B4-BE49-F238E27FC236}">
                <a16:creationId xmlns:a16="http://schemas.microsoft.com/office/drawing/2014/main" id="{D46A10EE-4A0D-41DB-B639-6EEE26BA7CC6}"/>
              </a:ext>
            </a:extLst>
          </p:cNvPr>
          <p:cNvGrpSpPr/>
          <p:nvPr/>
        </p:nvGrpSpPr>
        <p:grpSpPr>
          <a:xfrm>
            <a:off x="8667161" y="3987407"/>
            <a:ext cx="2860103" cy="870062"/>
            <a:chOff x="8420960" y="2376992"/>
            <a:chExt cx="3097082" cy="942153"/>
          </a:xfrm>
        </p:grpSpPr>
        <p:pic>
          <p:nvPicPr>
            <p:cNvPr id="132" name="Picture 6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25"/>
                </a:ext>
              </a:extLst>
            </a:blip>
            <a:srcRect/>
            <a:stretch/>
          </p:blipFill>
          <p:spPr bwMode="auto">
            <a:xfrm>
              <a:off x="9533385" y="2376992"/>
              <a:ext cx="626617" cy="4503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" name="Picture 15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470276" y="2971903"/>
              <a:ext cx="628908" cy="2790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4" name="Рисунок 133"/>
            <p:cNvPicPr>
              <a:picLocks noChangeAspect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20960" y="2532046"/>
              <a:ext cx="828340" cy="227071"/>
            </a:xfrm>
            <a:prstGeom prst="rect">
              <a:avLst/>
            </a:prstGeom>
          </p:spPr>
        </p:pic>
        <p:pic>
          <p:nvPicPr>
            <p:cNvPr id="135" name="Рисунок 134"/>
            <p:cNvPicPr/>
            <p:nvPr/>
          </p:nvPicPr>
          <p:blipFill>
            <a:blip r:embed="rId2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0557265" y="2486513"/>
              <a:ext cx="886862" cy="280690"/>
            </a:xfrm>
            <a:prstGeom prst="rect">
              <a:avLst/>
            </a:prstGeom>
          </p:spPr>
        </p:pic>
        <p:pic>
          <p:nvPicPr>
            <p:cNvPr id="136" name="Рисунок 135"/>
            <p:cNvPicPr>
              <a:picLocks noChangeAspect="1"/>
            </p:cNvPicPr>
            <p:nvPr/>
          </p:nvPicPr>
          <p:blipFill>
            <a:blip r:embed="rId2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418931" y="2884334"/>
              <a:ext cx="781785" cy="434811"/>
            </a:xfrm>
            <a:prstGeom prst="rect">
              <a:avLst/>
            </a:prstGeom>
          </p:spPr>
        </p:pic>
        <p:pic>
          <p:nvPicPr>
            <p:cNvPr id="137" name="Рисунок 136"/>
            <p:cNvPicPr>
              <a:picLocks noChangeAspect="1"/>
            </p:cNvPicPr>
            <p:nvPr/>
          </p:nvPicPr>
          <p:blipFill rotWithShape="1"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0401" b="27531"/>
            <a:stretch/>
          </p:blipFill>
          <p:spPr>
            <a:xfrm>
              <a:off x="10483351" y="2816078"/>
              <a:ext cx="1034691" cy="435270"/>
            </a:xfrm>
            <a:prstGeom prst="rect">
              <a:avLst/>
            </a:prstGeom>
          </p:spPr>
        </p:pic>
      </p:grpSp>
      <p:cxnSp>
        <p:nvCxnSpPr>
          <p:cNvPr id="149" name="Прямая соединительная линия 148">
            <a:extLst>
              <a:ext uri="{FF2B5EF4-FFF2-40B4-BE49-F238E27FC236}">
                <a16:creationId xmlns:a16="http://schemas.microsoft.com/office/drawing/2014/main" id="{6C8A049F-FC6D-4501-AE0E-D8C69111012A}"/>
              </a:ext>
            </a:extLst>
          </p:cNvPr>
          <p:cNvCxnSpPr>
            <a:cxnSpLocks/>
          </p:cNvCxnSpPr>
          <p:nvPr/>
        </p:nvCxnSpPr>
        <p:spPr>
          <a:xfrm>
            <a:off x="5205600" y="4676059"/>
            <a:ext cx="973537" cy="78888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Группа 21"/>
          <p:cNvGrpSpPr>
            <a:grpSpLocks noChangeAspect="1"/>
          </p:cNvGrpSpPr>
          <p:nvPr/>
        </p:nvGrpSpPr>
        <p:grpSpPr>
          <a:xfrm>
            <a:off x="8571052" y="2234969"/>
            <a:ext cx="2858602" cy="3959874"/>
            <a:chOff x="8492874" y="114536"/>
            <a:chExt cx="3095456" cy="4287976"/>
          </a:xfrm>
        </p:grpSpPr>
        <p:grpSp>
          <p:nvGrpSpPr>
            <p:cNvPr id="167" name="Группа 166">
              <a:extLst>
                <a:ext uri="{FF2B5EF4-FFF2-40B4-BE49-F238E27FC236}">
                  <a16:creationId xmlns:a16="http://schemas.microsoft.com/office/drawing/2014/main" id="{047A74B7-8B31-4E67-8C84-D6743FFE4347}"/>
                </a:ext>
              </a:extLst>
            </p:cNvPr>
            <p:cNvGrpSpPr/>
            <p:nvPr/>
          </p:nvGrpSpPr>
          <p:grpSpPr>
            <a:xfrm>
              <a:off x="8629011" y="3612132"/>
              <a:ext cx="2228648" cy="790380"/>
              <a:chOff x="806873" y="2452573"/>
              <a:chExt cx="2228648" cy="790380"/>
            </a:xfrm>
          </p:grpSpPr>
          <p:pic>
            <p:nvPicPr>
              <p:cNvPr id="168" name="Рисунок 167"/>
              <p:cNvPicPr>
                <a:picLocks noChangeAspect="1"/>
              </p:cNvPicPr>
              <p:nvPr/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924838" y="2452573"/>
                <a:ext cx="1110683" cy="296821"/>
              </a:xfrm>
              <a:prstGeom prst="rect">
                <a:avLst/>
              </a:prstGeom>
            </p:spPr>
          </p:pic>
          <p:pic>
            <p:nvPicPr>
              <p:cNvPr id="172" name="Рисунок 171"/>
              <p:cNvPicPr>
                <a:picLocks noChangeAspect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06873" y="2948430"/>
                <a:ext cx="880820" cy="294523"/>
              </a:xfrm>
              <a:prstGeom prst="rect">
                <a:avLst/>
              </a:prstGeom>
            </p:spPr>
          </p:pic>
          <p:pic>
            <p:nvPicPr>
              <p:cNvPr id="175" name="Рисунок 174"/>
              <p:cNvPicPr>
                <a:picLocks noChangeAspect="1"/>
              </p:cNvPicPr>
              <p:nvPr/>
            </p:nvPicPr>
            <p:blipFill>
              <a:blip r:embed="rId3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88881" y="2922649"/>
                <a:ext cx="1060671" cy="307285"/>
              </a:xfrm>
              <a:prstGeom prst="rect">
                <a:avLst/>
              </a:prstGeom>
            </p:spPr>
          </p:pic>
          <p:pic>
            <p:nvPicPr>
              <p:cNvPr id="176" name="Рисунок 175"/>
              <p:cNvPicPr>
                <a:picLocks noChangeAspect="1"/>
              </p:cNvPicPr>
              <p:nvPr/>
            </p:nvPicPr>
            <p:blipFill>
              <a:blip r:embed="rId3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47097" y="2515738"/>
                <a:ext cx="885668" cy="165586"/>
              </a:xfrm>
              <a:prstGeom prst="rect">
                <a:avLst/>
              </a:prstGeom>
            </p:spPr>
          </p:pic>
        </p:grpSp>
        <p:pic>
          <p:nvPicPr>
            <p:cNvPr id="177" name="Рисунок 176"/>
            <p:cNvPicPr>
              <a:picLocks noChangeAspect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59572" y="3398433"/>
              <a:ext cx="528758" cy="546337"/>
            </a:xfrm>
            <a:prstGeom prst="rect">
              <a:avLst/>
            </a:prstGeom>
          </p:spPr>
        </p:pic>
        <p:pic>
          <p:nvPicPr>
            <p:cNvPr id="178" name="Рисунок 177"/>
            <p:cNvPicPr>
              <a:picLocks noChangeAspect="1"/>
            </p:cNvPicPr>
            <p:nvPr/>
          </p:nvPicPr>
          <p:blipFill>
            <a:blip r:embed="rId3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492874" y="114536"/>
              <a:ext cx="699312" cy="343502"/>
            </a:xfrm>
            <a:prstGeom prst="rect">
              <a:avLst/>
            </a:prstGeom>
          </p:spPr>
        </p:pic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3A273608-6DEE-4435-B7C2-E65BD248E820}"/>
              </a:ext>
            </a:extLst>
          </p:cNvPr>
          <p:cNvGrpSpPr/>
          <p:nvPr/>
        </p:nvGrpSpPr>
        <p:grpSpPr>
          <a:xfrm>
            <a:off x="8728789" y="2839786"/>
            <a:ext cx="2715138" cy="1002274"/>
            <a:chOff x="722025" y="1924531"/>
            <a:chExt cx="2940106" cy="1085319"/>
          </a:xfrm>
        </p:grpSpPr>
        <p:pic>
          <p:nvPicPr>
            <p:cNvPr id="181" name="Рисунок 180"/>
            <p:cNvPicPr>
              <a:picLocks noChangeAspect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8" b="788"/>
            <a:stretch/>
          </p:blipFill>
          <p:spPr>
            <a:xfrm>
              <a:off x="722025" y="2647880"/>
              <a:ext cx="391788" cy="346567"/>
            </a:xfrm>
            <a:prstGeom prst="rect">
              <a:avLst/>
            </a:prstGeom>
          </p:spPr>
        </p:pic>
        <p:pic>
          <p:nvPicPr>
            <p:cNvPr id="182" name="Рисунок 181"/>
            <p:cNvPicPr>
              <a:picLocks noChangeAspect="1"/>
            </p:cNvPicPr>
            <p:nvPr/>
          </p:nvPicPr>
          <p:blipFill>
            <a:blip r:embed="rId38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15468" y="2731152"/>
              <a:ext cx="788364" cy="278698"/>
            </a:xfrm>
            <a:prstGeom prst="rect">
              <a:avLst/>
            </a:prstGeom>
          </p:spPr>
        </p:pic>
        <p:pic>
          <p:nvPicPr>
            <p:cNvPr id="183" name="Picture 45"/>
            <p:cNvPicPr>
              <a:picLocks noChangeAspect="1"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252796" y="2658414"/>
              <a:ext cx="393879" cy="346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4" name="Picture 2"/>
            <p:cNvPicPr>
              <a:picLocks noChangeAspect="1" noChangeArrowheads="1"/>
            </p:cNvPicPr>
            <p:nvPr/>
          </p:nvPicPr>
          <p:blipFill>
            <a:blip r:embed="rId4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093447" y="2001416"/>
              <a:ext cx="568684" cy="4167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5" name="Picture 11"/>
            <p:cNvPicPr>
              <a:picLocks noChangeAspect="1" noChangeArrowheads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51715" y="1931012"/>
              <a:ext cx="511585" cy="5584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6" name="Picture 63"/>
            <p:cNvPicPr>
              <a:picLocks noChangeAspect="1" noChangeArrowheads="1"/>
            </p:cNvPicPr>
            <p:nvPr/>
          </p:nvPicPr>
          <p:blipFill>
            <a:blip r:embed="rId4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483631" y="1924531"/>
              <a:ext cx="548882" cy="5407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6" name="Рисунок 75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5038" y="5084156"/>
            <a:ext cx="855643" cy="14736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10844600" y="4862983"/>
            <a:ext cx="614405" cy="462387"/>
          </a:xfrm>
          <a:prstGeom prst="rect">
            <a:avLst/>
          </a:prstGeom>
        </p:spPr>
      </p:pic>
      <p:pic>
        <p:nvPicPr>
          <p:cNvPr id="78" name="Picture 13" descr="T:\Downloads\My Pictures\1001352248.jpg"/>
          <p:cNvPicPr>
            <a:picLocks noChangeAspect="1" noChangeArrowheads="1"/>
          </p:cNvPicPr>
          <p:nvPr/>
        </p:nvPicPr>
        <p:blipFill rotWithShape="1"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0" t="26949" r="12806" b="30904"/>
          <a:stretch/>
        </p:blipFill>
        <p:spPr bwMode="auto">
          <a:xfrm>
            <a:off x="8630682" y="4928299"/>
            <a:ext cx="1137341" cy="37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62" descr="T:\Downloads\My Pictures\logo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7786" y="2860914"/>
            <a:ext cx="429373" cy="519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10778149" y="5922826"/>
            <a:ext cx="846490" cy="324832"/>
          </a:xfrm>
          <a:prstGeom prst="rect">
            <a:avLst/>
          </a:prstGeom>
        </p:spPr>
      </p:pic>
      <p:sp>
        <p:nvSpPr>
          <p:cNvPr id="70" name="TextBox 69"/>
          <p:cNvSpPr txBox="1"/>
          <p:nvPr/>
        </p:nvSpPr>
        <p:spPr>
          <a:xfrm>
            <a:off x="3229808" y="3659895"/>
            <a:ext cx="196311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43F2"/>
                </a:solidFill>
              </a:rPr>
              <a:t>Рост портфеля контрактов </a:t>
            </a:r>
          </a:p>
          <a:p>
            <a:pPr algn="ctr"/>
            <a:r>
              <a:rPr lang="ru-RU" sz="1100" b="1" dirty="0" smtClean="0">
                <a:solidFill>
                  <a:srgbClr val="0043F2"/>
                </a:solidFill>
              </a:rPr>
              <a:t>в 14 раз за 8 лет </a:t>
            </a:r>
            <a:endParaRPr lang="ru-RU" sz="1100" b="1" dirty="0">
              <a:solidFill>
                <a:srgbClr val="0043F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80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789992"/>
              </p:ext>
            </p:extLst>
          </p:nvPr>
        </p:nvGraphicFramePr>
        <p:xfrm>
          <a:off x="1657" y="162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56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4" name="Объект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7" y="162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: скругленные углы 283">
            <a:extLst>
              <a:ext uri="{FF2B5EF4-FFF2-40B4-BE49-F238E27FC236}">
                <a16:creationId xmlns:a16="http://schemas.microsoft.com/office/drawing/2014/main" id="{F9DDBD55-B0C7-4F77-ADDD-6A6EA3FBC161}"/>
              </a:ext>
            </a:extLst>
          </p:cNvPr>
          <p:cNvSpPr/>
          <p:nvPr/>
        </p:nvSpPr>
        <p:spPr>
          <a:xfrm>
            <a:off x="346548" y="979941"/>
            <a:ext cx="11233023" cy="5317898"/>
          </a:xfrm>
          <a:prstGeom prst="roundRect">
            <a:avLst>
              <a:gd name="adj" fmla="val 370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6560"/>
            <a:endParaRPr lang="ru-RU" sz="1797">
              <a:solidFill>
                <a:srgbClr val="FFFFFF"/>
              </a:solidFill>
              <a:latin typeface="Cera CY"/>
            </a:endParaRPr>
          </a:p>
        </p:txBody>
      </p:sp>
      <p:grpSp>
        <p:nvGrpSpPr>
          <p:cNvPr id="502" name="Группа 501"/>
          <p:cNvGrpSpPr>
            <a:grpSpLocks noChangeAspect="1"/>
          </p:cNvGrpSpPr>
          <p:nvPr/>
        </p:nvGrpSpPr>
        <p:grpSpPr>
          <a:xfrm>
            <a:off x="1184443" y="1287374"/>
            <a:ext cx="9315578" cy="4903421"/>
            <a:chOff x="6259687" y="2930551"/>
            <a:chExt cx="5489402" cy="2894387"/>
          </a:xfrm>
          <a:solidFill>
            <a:schemeClr val="bg1">
              <a:lumMod val="50000"/>
              <a:alpha val="12000"/>
            </a:schemeClr>
          </a:solidFill>
        </p:grpSpPr>
        <p:sp>
          <p:nvSpPr>
            <p:cNvPr id="503" name="Shape 2959"/>
            <p:cNvSpPr/>
            <p:nvPr/>
          </p:nvSpPr>
          <p:spPr>
            <a:xfrm>
              <a:off x="10896119" y="5268056"/>
              <a:ext cx="282196" cy="5568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711" y="10654"/>
                  </a:moveTo>
                  <a:lnTo>
                    <a:pt x="19300" y="10654"/>
                  </a:lnTo>
                  <a:lnTo>
                    <a:pt x="19300" y="11861"/>
                  </a:lnTo>
                  <a:lnTo>
                    <a:pt x="18808" y="11861"/>
                  </a:lnTo>
                  <a:lnTo>
                    <a:pt x="18808" y="12111"/>
                  </a:lnTo>
                  <a:lnTo>
                    <a:pt x="18315" y="12111"/>
                  </a:lnTo>
                  <a:lnTo>
                    <a:pt x="18808" y="12319"/>
                  </a:lnTo>
                  <a:lnTo>
                    <a:pt x="18808" y="12569"/>
                  </a:lnTo>
                  <a:lnTo>
                    <a:pt x="18315" y="12569"/>
                  </a:lnTo>
                  <a:lnTo>
                    <a:pt x="18315" y="13068"/>
                  </a:lnTo>
                  <a:lnTo>
                    <a:pt x="18808" y="13068"/>
                  </a:lnTo>
                  <a:lnTo>
                    <a:pt x="18315" y="13068"/>
                  </a:lnTo>
                  <a:lnTo>
                    <a:pt x="18315" y="13526"/>
                  </a:lnTo>
                  <a:lnTo>
                    <a:pt x="18808" y="13526"/>
                  </a:lnTo>
                  <a:lnTo>
                    <a:pt x="18808" y="13776"/>
                  </a:lnTo>
                  <a:lnTo>
                    <a:pt x="18315" y="13776"/>
                  </a:lnTo>
                  <a:lnTo>
                    <a:pt x="18315" y="14234"/>
                  </a:lnTo>
                  <a:lnTo>
                    <a:pt x="17822" y="14234"/>
                  </a:lnTo>
                  <a:lnTo>
                    <a:pt x="17822" y="14483"/>
                  </a:lnTo>
                  <a:lnTo>
                    <a:pt x="18315" y="14483"/>
                  </a:lnTo>
                  <a:lnTo>
                    <a:pt x="17822" y="14483"/>
                  </a:lnTo>
                  <a:lnTo>
                    <a:pt x="18315" y="14483"/>
                  </a:lnTo>
                  <a:lnTo>
                    <a:pt x="18315" y="14733"/>
                  </a:lnTo>
                  <a:lnTo>
                    <a:pt x="17822" y="14733"/>
                  </a:lnTo>
                  <a:lnTo>
                    <a:pt x="18315" y="14733"/>
                  </a:lnTo>
                  <a:lnTo>
                    <a:pt x="18315" y="14941"/>
                  </a:lnTo>
                  <a:lnTo>
                    <a:pt x="17822" y="14941"/>
                  </a:lnTo>
                  <a:lnTo>
                    <a:pt x="17822" y="15191"/>
                  </a:lnTo>
                  <a:lnTo>
                    <a:pt x="17411" y="15191"/>
                  </a:lnTo>
                  <a:lnTo>
                    <a:pt x="17822" y="15191"/>
                  </a:lnTo>
                  <a:lnTo>
                    <a:pt x="17411" y="15191"/>
                  </a:lnTo>
                  <a:lnTo>
                    <a:pt x="17411" y="15649"/>
                  </a:lnTo>
                  <a:lnTo>
                    <a:pt x="16919" y="15649"/>
                  </a:lnTo>
                  <a:lnTo>
                    <a:pt x="16919" y="16148"/>
                  </a:lnTo>
                  <a:lnTo>
                    <a:pt x="16426" y="16148"/>
                  </a:lnTo>
                  <a:lnTo>
                    <a:pt x="16426" y="16398"/>
                  </a:lnTo>
                  <a:lnTo>
                    <a:pt x="16015" y="16606"/>
                  </a:lnTo>
                  <a:lnTo>
                    <a:pt x="16015" y="16398"/>
                  </a:lnTo>
                  <a:lnTo>
                    <a:pt x="16015" y="16855"/>
                  </a:lnTo>
                  <a:lnTo>
                    <a:pt x="15522" y="16855"/>
                  </a:lnTo>
                  <a:lnTo>
                    <a:pt x="15522" y="17313"/>
                  </a:lnTo>
                  <a:lnTo>
                    <a:pt x="15030" y="17563"/>
                  </a:lnTo>
                  <a:lnTo>
                    <a:pt x="15030" y="17313"/>
                  </a:lnTo>
                  <a:lnTo>
                    <a:pt x="15030" y="17563"/>
                  </a:lnTo>
                  <a:lnTo>
                    <a:pt x="14537" y="17563"/>
                  </a:lnTo>
                  <a:lnTo>
                    <a:pt x="14537" y="17813"/>
                  </a:lnTo>
                  <a:lnTo>
                    <a:pt x="14126" y="17813"/>
                  </a:lnTo>
                  <a:lnTo>
                    <a:pt x="13633" y="18021"/>
                  </a:lnTo>
                  <a:lnTo>
                    <a:pt x="13633" y="18271"/>
                  </a:lnTo>
                  <a:lnTo>
                    <a:pt x="13141" y="18271"/>
                  </a:lnTo>
                  <a:lnTo>
                    <a:pt x="13141" y="18520"/>
                  </a:lnTo>
                  <a:lnTo>
                    <a:pt x="12730" y="18520"/>
                  </a:lnTo>
                  <a:lnTo>
                    <a:pt x="12730" y="18770"/>
                  </a:lnTo>
                  <a:lnTo>
                    <a:pt x="12237" y="18770"/>
                  </a:lnTo>
                  <a:lnTo>
                    <a:pt x="12237" y="18520"/>
                  </a:lnTo>
                  <a:lnTo>
                    <a:pt x="12730" y="18520"/>
                  </a:lnTo>
                  <a:lnTo>
                    <a:pt x="12237" y="18520"/>
                  </a:lnTo>
                  <a:lnTo>
                    <a:pt x="12237" y="18271"/>
                  </a:lnTo>
                  <a:lnTo>
                    <a:pt x="11744" y="18271"/>
                  </a:lnTo>
                  <a:lnTo>
                    <a:pt x="11744" y="18770"/>
                  </a:lnTo>
                  <a:lnTo>
                    <a:pt x="11252" y="18770"/>
                  </a:lnTo>
                  <a:lnTo>
                    <a:pt x="11252" y="18520"/>
                  </a:lnTo>
                  <a:lnTo>
                    <a:pt x="10348" y="18520"/>
                  </a:lnTo>
                  <a:lnTo>
                    <a:pt x="10348" y="18770"/>
                  </a:lnTo>
                  <a:lnTo>
                    <a:pt x="9856" y="18520"/>
                  </a:lnTo>
                  <a:lnTo>
                    <a:pt x="9363" y="18520"/>
                  </a:lnTo>
                  <a:lnTo>
                    <a:pt x="9363" y="18770"/>
                  </a:lnTo>
                  <a:lnTo>
                    <a:pt x="9856" y="18770"/>
                  </a:lnTo>
                  <a:lnTo>
                    <a:pt x="9363" y="18770"/>
                  </a:lnTo>
                  <a:lnTo>
                    <a:pt x="9363" y="18978"/>
                  </a:lnTo>
                  <a:lnTo>
                    <a:pt x="9363" y="18520"/>
                  </a:lnTo>
                  <a:lnTo>
                    <a:pt x="8952" y="18520"/>
                  </a:lnTo>
                  <a:lnTo>
                    <a:pt x="8952" y="18021"/>
                  </a:lnTo>
                  <a:lnTo>
                    <a:pt x="8459" y="18021"/>
                  </a:lnTo>
                  <a:lnTo>
                    <a:pt x="8459" y="17813"/>
                  </a:lnTo>
                  <a:lnTo>
                    <a:pt x="8459" y="18021"/>
                  </a:lnTo>
                  <a:lnTo>
                    <a:pt x="7967" y="18021"/>
                  </a:lnTo>
                  <a:lnTo>
                    <a:pt x="7967" y="18770"/>
                  </a:lnTo>
                  <a:lnTo>
                    <a:pt x="7556" y="18770"/>
                  </a:lnTo>
                  <a:lnTo>
                    <a:pt x="7556" y="18520"/>
                  </a:lnTo>
                  <a:lnTo>
                    <a:pt x="7556" y="18770"/>
                  </a:lnTo>
                  <a:lnTo>
                    <a:pt x="7556" y="18021"/>
                  </a:lnTo>
                  <a:lnTo>
                    <a:pt x="6570" y="18021"/>
                  </a:lnTo>
                  <a:lnTo>
                    <a:pt x="6570" y="18520"/>
                  </a:lnTo>
                  <a:lnTo>
                    <a:pt x="6078" y="18520"/>
                  </a:lnTo>
                  <a:lnTo>
                    <a:pt x="6078" y="18770"/>
                  </a:lnTo>
                  <a:lnTo>
                    <a:pt x="6570" y="18520"/>
                  </a:lnTo>
                  <a:lnTo>
                    <a:pt x="6570" y="18770"/>
                  </a:lnTo>
                  <a:lnTo>
                    <a:pt x="6078" y="18770"/>
                  </a:lnTo>
                  <a:lnTo>
                    <a:pt x="6078" y="18978"/>
                  </a:lnTo>
                  <a:lnTo>
                    <a:pt x="6570" y="18978"/>
                  </a:lnTo>
                  <a:lnTo>
                    <a:pt x="6078" y="19228"/>
                  </a:lnTo>
                  <a:lnTo>
                    <a:pt x="6078" y="19477"/>
                  </a:lnTo>
                  <a:lnTo>
                    <a:pt x="5667" y="19477"/>
                  </a:lnTo>
                  <a:lnTo>
                    <a:pt x="6078" y="19477"/>
                  </a:lnTo>
                  <a:lnTo>
                    <a:pt x="6078" y="19935"/>
                  </a:lnTo>
                  <a:lnTo>
                    <a:pt x="5667" y="19686"/>
                  </a:lnTo>
                  <a:lnTo>
                    <a:pt x="5667" y="20435"/>
                  </a:lnTo>
                  <a:lnTo>
                    <a:pt x="6078" y="20435"/>
                  </a:lnTo>
                  <a:lnTo>
                    <a:pt x="4681" y="20435"/>
                  </a:lnTo>
                  <a:lnTo>
                    <a:pt x="4681" y="20643"/>
                  </a:lnTo>
                  <a:lnTo>
                    <a:pt x="4271" y="20643"/>
                  </a:lnTo>
                  <a:lnTo>
                    <a:pt x="4681" y="20643"/>
                  </a:lnTo>
                  <a:lnTo>
                    <a:pt x="4681" y="20435"/>
                  </a:lnTo>
                  <a:lnTo>
                    <a:pt x="4271" y="20435"/>
                  </a:lnTo>
                  <a:lnTo>
                    <a:pt x="4271" y="20643"/>
                  </a:lnTo>
                  <a:lnTo>
                    <a:pt x="4271" y="20435"/>
                  </a:lnTo>
                  <a:lnTo>
                    <a:pt x="3778" y="20643"/>
                  </a:lnTo>
                  <a:lnTo>
                    <a:pt x="4271" y="20643"/>
                  </a:lnTo>
                  <a:lnTo>
                    <a:pt x="4271" y="20892"/>
                  </a:lnTo>
                  <a:lnTo>
                    <a:pt x="4271" y="20643"/>
                  </a:lnTo>
                  <a:lnTo>
                    <a:pt x="4271" y="20892"/>
                  </a:lnTo>
                  <a:lnTo>
                    <a:pt x="4681" y="20892"/>
                  </a:lnTo>
                  <a:lnTo>
                    <a:pt x="4681" y="21350"/>
                  </a:lnTo>
                  <a:lnTo>
                    <a:pt x="4271" y="21600"/>
                  </a:lnTo>
                  <a:lnTo>
                    <a:pt x="4271" y="21350"/>
                  </a:lnTo>
                  <a:lnTo>
                    <a:pt x="3778" y="21142"/>
                  </a:lnTo>
                  <a:lnTo>
                    <a:pt x="3778" y="20892"/>
                  </a:lnTo>
                  <a:lnTo>
                    <a:pt x="3285" y="20643"/>
                  </a:lnTo>
                  <a:lnTo>
                    <a:pt x="2792" y="20643"/>
                  </a:lnTo>
                  <a:lnTo>
                    <a:pt x="2792" y="20435"/>
                  </a:lnTo>
                  <a:lnTo>
                    <a:pt x="3285" y="20435"/>
                  </a:lnTo>
                  <a:lnTo>
                    <a:pt x="3285" y="20185"/>
                  </a:lnTo>
                  <a:lnTo>
                    <a:pt x="3778" y="20185"/>
                  </a:lnTo>
                  <a:lnTo>
                    <a:pt x="3778" y="19935"/>
                  </a:lnTo>
                  <a:lnTo>
                    <a:pt x="4681" y="19935"/>
                  </a:lnTo>
                  <a:lnTo>
                    <a:pt x="4271" y="19686"/>
                  </a:lnTo>
                  <a:lnTo>
                    <a:pt x="4681" y="19686"/>
                  </a:lnTo>
                  <a:lnTo>
                    <a:pt x="4681" y="18271"/>
                  </a:lnTo>
                  <a:lnTo>
                    <a:pt x="4271" y="18271"/>
                  </a:lnTo>
                  <a:lnTo>
                    <a:pt x="4271" y="18021"/>
                  </a:lnTo>
                  <a:lnTo>
                    <a:pt x="3778" y="17813"/>
                  </a:lnTo>
                  <a:lnTo>
                    <a:pt x="3778" y="17313"/>
                  </a:lnTo>
                  <a:lnTo>
                    <a:pt x="3285" y="17313"/>
                  </a:lnTo>
                  <a:lnTo>
                    <a:pt x="3285" y="16606"/>
                  </a:lnTo>
                  <a:lnTo>
                    <a:pt x="2792" y="16606"/>
                  </a:lnTo>
                  <a:lnTo>
                    <a:pt x="2792" y="16398"/>
                  </a:lnTo>
                  <a:lnTo>
                    <a:pt x="2382" y="16398"/>
                  </a:lnTo>
                  <a:lnTo>
                    <a:pt x="2382" y="15898"/>
                  </a:lnTo>
                  <a:lnTo>
                    <a:pt x="1889" y="15898"/>
                  </a:lnTo>
                  <a:lnTo>
                    <a:pt x="1396" y="15649"/>
                  </a:lnTo>
                  <a:lnTo>
                    <a:pt x="1396" y="15440"/>
                  </a:lnTo>
                  <a:lnTo>
                    <a:pt x="986" y="15440"/>
                  </a:lnTo>
                  <a:lnTo>
                    <a:pt x="986" y="15191"/>
                  </a:lnTo>
                  <a:lnTo>
                    <a:pt x="493" y="15191"/>
                  </a:lnTo>
                  <a:lnTo>
                    <a:pt x="493" y="14941"/>
                  </a:lnTo>
                  <a:lnTo>
                    <a:pt x="493" y="15191"/>
                  </a:lnTo>
                  <a:lnTo>
                    <a:pt x="0" y="14941"/>
                  </a:lnTo>
                  <a:lnTo>
                    <a:pt x="493" y="14941"/>
                  </a:lnTo>
                  <a:lnTo>
                    <a:pt x="493" y="14733"/>
                  </a:lnTo>
                  <a:lnTo>
                    <a:pt x="986" y="14733"/>
                  </a:lnTo>
                  <a:lnTo>
                    <a:pt x="986" y="14483"/>
                  </a:lnTo>
                  <a:lnTo>
                    <a:pt x="1396" y="14483"/>
                  </a:lnTo>
                  <a:lnTo>
                    <a:pt x="1396" y="14234"/>
                  </a:lnTo>
                  <a:lnTo>
                    <a:pt x="1889" y="14234"/>
                  </a:lnTo>
                  <a:lnTo>
                    <a:pt x="1889" y="13984"/>
                  </a:lnTo>
                  <a:lnTo>
                    <a:pt x="2382" y="13984"/>
                  </a:lnTo>
                  <a:lnTo>
                    <a:pt x="2382" y="13776"/>
                  </a:lnTo>
                  <a:lnTo>
                    <a:pt x="1889" y="13776"/>
                  </a:lnTo>
                  <a:lnTo>
                    <a:pt x="1889" y="13526"/>
                  </a:lnTo>
                  <a:lnTo>
                    <a:pt x="2382" y="13526"/>
                  </a:lnTo>
                  <a:lnTo>
                    <a:pt x="2382" y="13068"/>
                  </a:lnTo>
                  <a:lnTo>
                    <a:pt x="2792" y="13068"/>
                  </a:lnTo>
                  <a:lnTo>
                    <a:pt x="2792" y="13276"/>
                  </a:lnTo>
                  <a:lnTo>
                    <a:pt x="3285" y="13276"/>
                  </a:lnTo>
                  <a:lnTo>
                    <a:pt x="3285" y="13068"/>
                  </a:lnTo>
                  <a:lnTo>
                    <a:pt x="7063" y="13068"/>
                  </a:lnTo>
                  <a:lnTo>
                    <a:pt x="7063" y="12569"/>
                  </a:lnTo>
                  <a:lnTo>
                    <a:pt x="7556" y="12569"/>
                  </a:lnTo>
                  <a:lnTo>
                    <a:pt x="7063" y="12569"/>
                  </a:lnTo>
                  <a:lnTo>
                    <a:pt x="7063" y="12319"/>
                  </a:lnTo>
                  <a:lnTo>
                    <a:pt x="6570" y="12111"/>
                  </a:lnTo>
                  <a:lnTo>
                    <a:pt x="6570" y="11403"/>
                  </a:lnTo>
                  <a:lnTo>
                    <a:pt x="7063" y="11403"/>
                  </a:lnTo>
                  <a:lnTo>
                    <a:pt x="7063" y="11154"/>
                  </a:lnTo>
                  <a:lnTo>
                    <a:pt x="7556" y="11154"/>
                  </a:lnTo>
                  <a:lnTo>
                    <a:pt x="7063" y="11154"/>
                  </a:lnTo>
                  <a:lnTo>
                    <a:pt x="7063" y="10197"/>
                  </a:lnTo>
                  <a:lnTo>
                    <a:pt x="7556" y="10197"/>
                  </a:lnTo>
                  <a:lnTo>
                    <a:pt x="7063" y="10197"/>
                  </a:lnTo>
                  <a:lnTo>
                    <a:pt x="7063" y="9947"/>
                  </a:lnTo>
                  <a:lnTo>
                    <a:pt x="7556" y="9947"/>
                  </a:lnTo>
                  <a:lnTo>
                    <a:pt x="7556" y="9739"/>
                  </a:lnTo>
                  <a:lnTo>
                    <a:pt x="7063" y="9739"/>
                  </a:lnTo>
                  <a:lnTo>
                    <a:pt x="7063" y="9489"/>
                  </a:lnTo>
                  <a:lnTo>
                    <a:pt x="7556" y="9489"/>
                  </a:lnTo>
                  <a:lnTo>
                    <a:pt x="7556" y="9031"/>
                  </a:lnTo>
                  <a:lnTo>
                    <a:pt x="7063" y="9031"/>
                  </a:lnTo>
                  <a:lnTo>
                    <a:pt x="7063" y="8782"/>
                  </a:lnTo>
                  <a:lnTo>
                    <a:pt x="6570" y="8782"/>
                  </a:lnTo>
                  <a:lnTo>
                    <a:pt x="6570" y="8282"/>
                  </a:lnTo>
                  <a:lnTo>
                    <a:pt x="7063" y="8282"/>
                  </a:lnTo>
                  <a:lnTo>
                    <a:pt x="7063" y="8074"/>
                  </a:lnTo>
                  <a:lnTo>
                    <a:pt x="7063" y="8282"/>
                  </a:lnTo>
                  <a:lnTo>
                    <a:pt x="7063" y="8074"/>
                  </a:lnTo>
                  <a:lnTo>
                    <a:pt x="7556" y="8074"/>
                  </a:lnTo>
                  <a:lnTo>
                    <a:pt x="7556" y="7824"/>
                  </a:lnTo>
                  <a:lnTo>
                    <a:pt x="7967" y="7824"/>
                  </a:lnTo>
                  <a:lnTo>
                    <a:pt x="7967" y="7117"/>
                  </a:lnTo>
                  <a:lnTo>
                    <a:pt x="7556" y="7117"/>
                  </a:lnTo>
                  <a:lnTo>
                    <a:pt x="7556" y="6867"/>
                  </a:lnTo>
                  <a:lnTo>
                    <a:pt x="7967" y="6867"/>
                  </a:lnTo>
                  <a:lnTo>
                    <a:pt x="7967" y="6409"/>
                  </a:lnTo>
                  <a:lnTo>
                    <a:pt x="8459" y="6409"/>
                  </a:lnTo>
                  <a:lnTo>
                    <a:pt x="8459" y="6160"/>
                  </a:lnTo>
                  <a:lnTo>
                    <a:pt x="8952" y="6160"/>
                  </a:lnTo>
                  <a:lnTo>
                    <a:pt x="8952" y="5910"/>
                  </a:lnTo>
                  <a:lnTo>
                    <a:pt x="10841" y="5910"/>
                  </a:lnTo>
                  <a:lnTo>
                    <a:pt x="10841" y="6409"/>
                  </a:lnTo>
                  <a:lnTo>
                    <a:pt x="11252" y="6160"/>
                  </a:lnTo>
                  <a:lnTo>
                    <a:pt x="11744" y="6160"/>
                  </a:lnTo>
                  <a:lnTo>
                    <a:pt x="11744" y="5910"/>
                  </a:lnTo>
                  <a:lnTo>
                    <a:pt x="12237" y="5910"/>
                  </a:lnTo>
                  <a:lnTo>
                    <a:pt x="12237" y="6160"/>
                  </a:lnTo>
                  <a:lnTo>
                    <a:pt x="13141" y="6160"/>
                  </a:lnTo>
                  <a:lnTo>
                    <a:pt x="13141" y="5910"/>
                  </a:lnTo>
                  <a:lnTo>
                    <a:pt x="14537" y="5910"/>
                  </a:lnTo>
                  <a:lnTo>
                    <a:pt x="14537" y="5702"/>
                  </a:lnTo>
                  <a:lnTo>
                    <a:pt x="15522" y="5702"/>
                  </a:lnTo>
                  <a:lnTo>
                    <a:pt x="15522" y="4953"/>
                  </a:lnTo>
                  <a:lnTo>
                    <a:pt x="16015" y="4953"/>
                  </a:lnTo>
                  <a:lnTo>
                    <a:pt x="16015" y="4745"/>
                  </a:lnTo>
                  <a:lnTo>
                    <a:pt x="15522" y="4745"/>
                  </a:lnTo>
                  <a:lnTo>
                    <a:pt x="15522" y="4037"/>
                  </a:lnTo>
                  <a:lnTo>
                    <a:pt x="16015" y="4037"/>
                  </a:lnTo>
                  <a:lnTo>
                    <a:pt x="16015" y="3787"/>
                  </a:lnTo>
                  <a:lnTo>
                    <a:pt x="16426" y="3787"/>
                  </a:lnTo>
                  <a:lnTo>
                    <a:pt x="16426" y="4037"/>
                  </a:lnTo>
                  <a:lnTo>
                    <a:pt x="16919" y="4037"/>
                  </a:lnTo>
                  <a:lnTo>
                    <a:pt x="16919" y="3787"/>
                  </a:lnTo>
                  <a:lnTo>
                    <a:pt x="17411" y="3787"/>
                  </a:lnTo>
                  <a:lnTo>
                    <a:pt x="17411" y="3288"/>
                  </a:lnTo>
                  <a:lnTo>
                    <a:pt x="17822" y="3288"/>
                  </a:lnTo>
                  <a:lnTo>
                    <a:pt x="17822" y="2830"/>
                  </a:lnTo>
                  <a:lnTo>
                    <a:pt x="18315" y="2830"/>
                  </a:lnTo>
                  <a:lnTo>
                    <a:pt x="18315" y="2372"/>
                  </a:lnTo>
                  <a:lnTo>
                    <a:pt x="17822" y="2372"/>
                  </a:lnTo>
                  <a:lnTo>
                    <a:pt x="17822" y="2123"/>
                  </a:lnTo>
                  <a:lnTo>
                    <a:pt x="17411" y="2372"/>
                  </a:lnTo>
                  <a:lnTo>
                    <a:pt x="17411" y="2123"/>
                  </a:lnTo>
                  <a:lnTo>
                    <a:pt x="17411" y="2372"/>
                  </a:lnTo>
                  <a:lnTo>
                    <a:pt x="15522" y="2372"/>
                  </a:lnTo>
                  <a:lnTo>
                    <a:pt x="15522" y="2580"/>
                  </a:lnTo>
                  <a:lnTo>
                    <a:pt x="15522" y="2123"/>
                  </a:lnTo>
                  <a:lnTo>
                    <a:pt x="16015" y="2123"/>
                  </a:lnTo>
                  <a:lnTo>
                    <a:pt x="15522" y="1873"/>
                  </a:lnTo>
                  <a:lnTo>
                    <a:pt x="15030" y="1873"/>
                  </a:lnTo>
                  <a:lnTo>
                    <a:pt x="15030" y="2123"/>
                  </a:lnTo>
                  <a:lnTo>
                    <a:pt x="15030" y="1873"/>
                  </a:lnTo>
                  <a:lnTo>
                    <a:pt x="14537" y="1873"/>
                  </a:lnTo>
                  <a:lnTo>
                    <a:pt x="14537" y="1415"/>
                  </a:lnTo>
                  <a:lnTo>
                    <a:pt x="15030" y="1165"/>
                  </a:lnTo>
                  <a:lnTo>
                    <a:pt x="16015" y="1165"/>
                  </a:lnTo>
                  <a:lnTo>
                    <a:pt x="16015" y="708"/>
                  </a:lnTo>
                  <a:lnTo>
                    <a:pt x="16426" y="708"/>
                  </a:lnTo>
                  <a:lnTo>
                    <a:pt x="16426" y="208"/>
                  </a:lnTo>
                  <a:lnTo>
                    <a:pt x="16919" y="0"/>
                  </a:lnTo>
                  <a:lnTo>
                    <a:pt x="17411" y="0"/>
                  </a:lnTo>
                  <a:lnTo>
                    <a:pt x="17411" y="208"/>
                  </a:lnTo>
                  <a:lnTo>
                    <a:pt x="17822" y="208"/>
                  </a:lnTo>
                  <a:lnTo>
                    <a:pt x="17822" y="458"/>
                  </a:lnTo>
                  <a:lnTo>
                    <a:pt x="18808" y="458"/>
                  </a:lnTo>
                  <a:lnTo>
                    <a:pt x="18808" y="708"/>
                  </a:lnTo>
                  <a:lnTo>
                    <a:pt x="18315" y="708"/>
                  </a:lnTo>
                  <a:lnTo>
                    <a:pt x="18808" y="708"/>
                  </a:lnTo>
                  <a:lnTo>
                    <a:pt x="18808" y="916"/>
                  </a:lnTo>
                  <a:lnTo>
                    <a:pt x="19711" y="916"/>
                  </a:lnTo>
                  <a:lnTo>
                    <a:pt x="19711" y="1165"/>
                  </a:lnTo>
                  <a:lnTo>
                    <a:pt x="20204" y="1415"/>
                  </a:lnTo>
                  <a:lnTo>
                    <a:pt x="19711" y="1415"/>
                  </a:lnTo>
                  <a:lnTo>
                    <a:pt x="19711" y="1665"/>
                  </a:lnTo>
                  <a:lnTo>
                    <a:pt x="19300" y="1665"/>
                  </a:lnTo>
                  <a:lnTo>
                    <a:pt x="19300" y="1873"/>
                  </a:lnTo>
                  <a:lnTo>
                    <a:pt x="19711" y="1873"/>
                  </a:lnTo>
                  <a:lnTo>
                    <a:pt x="19711" y="2123"/>
                  </a:lnTo>
                  <a:lnTo>
                    <a:pt x="20204" y="2123"/>
                  </a:lnTo>
                  <a:lnTo>
                    <a:pt x="19711" y="2123"/>
                  </a:lnTo>
                  <a:lnTo>
                    <a:pt x="19711" y="2372"/>
                  </a:lnTo>
                  <a:lnTo>
                    <a:pt x="20204" y="2372"/>
                  </a:lnTo>
                  <a:lnTo>
                    <a:pt x="20204" y="2123"/>
                  </a:lnTo>
                  <a:lnTo>
                    <a:pt x="20697" y="2123"/>
                  </a:lnTo>
                  <a:lnTo>
                    <a:pt x="21107" y="1873"/>
                  </a:lnTo>
                  <a:lnTo>
                    <a:pt x="21600" y="2123"/>
                  </a:lnTo>
                  <a:lnTo>
                    <a:pt x="21600" y="2830"/>
                  </a:lnTo>
                  <a:lnTo>
                    <a:pt x="21107" y="2830"/>
                  </a:lnTo>
                  <a:lnTo>
                    <a:pt x="21107" y="4245"/>
                  </a:lnTo>
                  <a:lnTo>
                    <a:pt x="21600" y="4495"/>
                  </a:lnTo>
                  <a:lnTo>
                    <a:pt x="21600" y="4953"/>
                  </a:lnTo>
                  <a:lnTo>
                    <a:pt x="21107" y="5202"/>
                  </a:lnTo>
                  <a:lnTo>
                    <a:pt x="21600" y="5202"/>
                  </a:lnTo>
                  <a:lnTo>
                    <a:pt x="21600" y="6409"/>
                  </a:lnTo>
                  <a:lnTo>
                    <a:pt x="21107" y="6617"/>
                  </a:lnTo>
                  <a:lnTo>
                    <a:pt x="21107" y="7575"/>
                  </a:lnTo>
                  <a:lnTo>
                    <a:pt x="20697" y="7575"/>
                  </a:lnTo>
                  <a:lnTo>
                    <a:pt x="20697" y="8532"/>
                  </a:lnTo>
                  <a:lnTo>
                    <a:pt x="20204" y="8782"/>
                  </a:lnTo>
                  <a:lnTo>
                    <a:pt x="20204" y="9239"/>
                  </a:lnTo>
                  <a:lnTo>
                    <a:pt x="19711" y="9239"/>
                  </a:lnTo>
                  <a:lnTo>
                    <a:pt x="19711" y="9489"/>
                  </a:lnTo>
                  <a:lnTo>
                    <a:pt x="20204" y="9739"/>
                  </a:lnTo>
                  <a:lnTo>
                    <a:pt x="19711" y="9739"/>
                  </a:lnTo>
                  <a:lnTo>
                    <a:pt x="19711" y="10654"/>
                  </a:lnTo>
                  <a:close/>
                </a:path>
              </a:pathLst>
            </a:custGeom>
            <a:grpFill/>
            <a:ln w="6350" cap="rnd">
              <a:solidFill>
                <a:schemeClr val="accent1">
                  <a:lumMod val="75000"/>
                  <a:alpha val="6000"/>
                </a:schemeClr>
              </a:solidFill>
              <a:prstDash val="solid"/>
              <a:round/>
            </a:ln>
            <a:effectLst/>
          </p:spPr>
          <p:txBody>
            <a:bodyPr wrap="square" lIns="17916" tIns="17916" rIns="17916" bIns="17916" numCol="1" anchor="ctr">
              <a:noAutofit/>
            </a:bodyPr>
            <a:lstStyle/>
            <a:p>
              <a:pPr defTabSz="716560">
                <a:defRPr sz="3000">
                  <a:solidFill>
                    <a:srgbClr val="FFFFFF"/>
                  </a:solidFill>
                </a:defRPr>
              </a:pPr>
              <a:endParaRPr sz="1176" dirty="0">
                <a:solidFill>
                  <a:srgbClr val="FFFFFF"/>
                </a:solidFill>
                <a:latin typeface="Cera CY" panose="00000500000000000000" pitchFamily="50" charset="-52"/>
              </a:endParaRPr>
            </a:p>
          </p:txBody>
        </p:sp>
        <p:sp>
          <p:nvSpPr>
            <p:cNvPr id="504" name="Shape 2970"/>
            <p:cNvSpPr/>
            <p:nvPr/>
          </p:nvSpPr>
          <p:spPr>
            <a:xfrm>
              <a:off x="11215815" y="3549666"/>
              <a:ext cx="453874" cy="8573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302" y="8786"/>
                  </a:moveTo>
                  <a:lnTo>
                    <a:pt x="7864" y="8786"/>
                  </a:lnTo>
                  <a:lnTo>
                    <a:pt x="7864" y="8624"/>
                  </a:lnTo>
                  <a:lnTo>
                    <a:pt x="7557" y="8624"/>
                  </a:lnTo>
                  <a:lnTo>
                    <a:pt x="7557" y="8786"/>
                  </a:lnTo>
                  <a:lnTo>
                    <a:pt x="7557" y="8489"/>
                  </a:lnTo>
                  <a:lnTo>
                    <a:pt x="7864" y="8489"/>
                  </a:lnTo>
                  <a:lnTo>
                    <a:pt x="7864" y="8624"/>
                  </a:lnTo>
                  <a:lnTo>
                    <a:pt x="8170" y="8624"/>
                  </a:lnTo>
                  <a:lnTo>
                    <a:pt x="8170" y="8489"/>
                  </a:lnTo>
                  <a:lnTo>
                    <a:pt x="8426" y="8489"/>
                  </a:lnTo>
                  <a:lnTo>
                    <a:pt x="8426" y="8326"/>
                  </a:lnTo>
                  <a:lnTo>
                    <a:pt x="8170" y="8326"/>
                  </a:lnTo>
                  <a:lnTo>
                    <a:pt x="8426" y="8326"/>
                  </a:lnTo>
                  <a:lnTo>
                    <a:pt x="8170" y="8326"/>
                  </a:lnTo>
                  <a:lnTo>
                    <a:pt x="8170" y="8164"/>
                  </a:lnTo>
                  <a:lnTo>
                    <a:pt x="7864" y="8164"/>
                  </a:lnTo>
                  <a:lnTo>
                    <a:pt x="7864" y="8326"/>
                  </a:lnTo>
                  <a:lnTo>
                    <a:pt x="7557" y="8326"/>
                  </a:lnTo>
                  <a:lnTo>
                    <a:pt x="7557" y="8164"/>
                  </a:lnTo>
                  <a:lnTo>
                    <a:pt x="7302" y="8164"/>
                  </a:lnTo>
                  <a:lnTo>
                    <a:pt x="7302" y="7867"/>
                  </a:lnTo>
                  <a:lnTo>
                    <a:pt x="6996" y="7867"/>
                  </a:lnTo>
                  <a:lnTo>
                    <a:pt x="6996" y="7705"/>
                  </a:lnTo>
                  <a:lnTo>
                    <a:pt x="6689" y="7705"/>
                  </a:lnTo>
                  <a:lnTo>
                    <a:pt x="6689" y="7542"/>
                  </a:lnTo>
                  <a:lnTo>
                    <a:pt x="6383" y="7542"/>
                  </a:lnTo>
                  <a:lnTo>
                    <a:pt x="6689" y="7542"/>
                  </a:lnTo>
                  <a:lnTo>
                    <a:pt x="6689" y="7407"/>
                  </a:lnTo>
                  <a:lnTo>
                    <a:pt x="6383" y="7407"/>
                  </a:lnTo>
                  <a:lnTo>
                    <a:pt x="6689" y="7407"/>
                  </a:lnTo>
                  <a:lnTo>
                    <a:pt x="6689" y="7245"/>
                  </a:lnTo>
                  <a:lnTo>
                    <a:pt x="6383" y="7245"/>
                  </a:lnTo>
                  <a:lnTo>
                    <a:pt x="6383" y="7407"/>
                  </a:lnTo>
                  <a:lnTo>
                    <a:pt x="6383" y="7245"/>
                  </a:lnTo>
                  <a:lnTo>
                    <a:pt x="6128" y="7245"/>
                  </a:lnTo>
                  <a:lnTo>
                    <a:pt x="6128" y="6921"/>
                  </a:lnTo>
                  <a:lnTo>
                    <a:pt x="6383" y="6921"/>
                  </a:lnTo>
                  <a:lnTo>
                    <a:pt x="6383" y="6623"/>
                  </a:lnTo>
                  <a:lnTo>
                    <a:pt x="6689" y="6623"/>
                  </a:lnTo>
                  <a:lnTo>
                    <a:pt x="6689" y="6326"/>
                  </a:lnTo>
                  <a:lnTo>
                    <a:pt x="6996" y="6326"/>
                  </a:lnTo>
                  <a:lnTo>
                    <a:pt x="6996" y="6164"/>
                  </a:lnTo>
                  <a:lnTo>
                    <a:pt x="7302" y="6002"/>
                  </a:lnTo>
                  <a:lnTo>
                    <a:pt x="7557" y="6164"/>
                  </a:lnTo>
                  <a:lnTo>
                    <a:pt x="7864" y="6164"/>
                  </a:lnTo>
                  <a:lnTo>
                    <a:pt x="7864" y="6002"/>
                  </a:lnTo>
                  <a:lnTo>
                    <a:pt x="8426" y="6002"/>
                  </a:lnTo>
                  <a:lnTo>
                    <a:pt x="8426" y="5839"/>
                  </a:lnTo>
                  <a:lnTo>
                    <a:pt x="8732" y="5839"/>
                  </a:lnTo>
                  <a:lnTo>
                    <a:pt x="9038" y="5704"/>
                  </a:lnTo>
                  <a:lnTo>
                    <a:pt x="9038" y="5839"/>
                  </a:lnTo>
                  <a:lnTo>
                    <a:pt x="8732" y="5839"/>
                  </a:lnTo>
                  <a:lnTo>
                    <a:pt x="8426" y="6002"/>
                  </a:lnTo>
                  <a:lnTo>
                    <a:pt x="9038" y="6002"/>
                  </a:lnTo>
                  <a:lnTo>
                    <a:pt x="9038" y="6164"/>
                  </a:lnTo>
                  <a:lnTo>
                    <a:pt x="9038" y="6002"/>
                  </a:lnTo>
                  <a:lnTo>
                    <a:pt x="8732" y="6002"/>
                  </a:lnTo>
                  <a:lnTo>
                    <a:pt x="8732" y="6164"/>
                  </a:lnTo>
                  <a:lnTo>
                    <a:pt x="8170" y="6164"/>
                  </a:lnTo>
                  <a:lnTo>
                    <a:pt x="8170" y="6326"/>
                  </a:lnTo>
                  <a:lnTo>
                    <a:pt x="7864" y="6326"/>
                  </a:lnTo>
                  <a:lnTo>
                    <a:pt x="7864" y="6785"/>
                  </a:lnTo>
                  <a:lnTo>
                    <a:pt x="7557" y="6785"/>
                  </a:lnTo>
                  <a:lnTo>
                    <a:pt x="7864" y="6785"/>
                  </a:lnTo>
                  <a:lnTo>
                    <a:pt x="7864" y="7083"/>
                  </a:lnTo>
                  <a:lnTo>
                    <a:pt x="8170" y="7083"/>
                  </a:lnTo>
                  <a:lnTo>
                    <a:pt x="8170" y="7245"/>
                  </a:lnTo>
                  <a:lnTo>
                    <a:pt x="8426" y="7245"/>
                  </a:lnTo>
                  <a:lnTo>
                    <a:pt x="8426" y="7407"/>
                  </a:lnTo>
                  <a:lnTo>
                    <a:pt x="8732" y="7407"/>
                  </a:lnTo>
                  <a:lnTo>
                    <a:pt x="8732" y="7542"/>
                  </a:lnTo>
                  <a:lnTo>
                    <a:pt x="9038" y="7542"/>
                  </a:lnTo>
                  <a:lnTo>
                    <a:pt x="9038" y="8002"/>
                  </a:lnTo>
                  <a:lnTo>
                    <a:pt x="9345" y="8002"/>
                  </a:lnTo>
                  <a:lnTo>
                    <a:pt x="9345" y="8326"/>
                  </a:lnTo>
                  <a:lnTo>
                    <a:pt x="9600" y="8326"/>
                  </a:lnTo>
                  <a:lnTo>
                    <a:pt x="9600" y="8164"/>
                  </a:lnTo>
                  <a:lnTo>
                    <a:pt x="9906" y="8164"/>
                  </a:lnTo>
                  <a:lnTo>
                    <a:pt x="9906" y="8326"/>
                  </a:lnTo>
                  <a:lnTo>
                    <a:pt x="10213" y="8326"/>
                  </a:lnTo>
                  <a:lnTo>
                    <a:pt x="10213" y="9083"/>
                  </a:lnTo>
                  <a:lnTo>
                    <a:pt x="10774" y="9083"/>
                  </a:lnTo>
                  <a:lnTo>
                    <a:pt x="10774" y="8948"/>
                  </a:lnTo>
                  <a:lnTo>
                    <a:pt x="10774" y="9083"/>
                  </a:lnTo>
                  <a:lnTo>
                    <a:pt x="11081" y="9083"/>
                  </a:lnTo>
                  <a:lnTo>
                    <a:pt x="10774" y="9083"/>
                  </a:lnTo>
                  <a:lnTo>
                    <a:pt x="10774" y="9408"/>
                  </a:lnTo>
                  <a:lnTo>
                    <a:pt x="10468" y="9408"/>
                  </a:lnTo>
                  <a:lnTo>
                    <a:pt x="10774" y="9570"/>
                  </a:lnTo>
                  <a:lnTo>
                    <a:pt x="10468" y="9570"/>
                  </a:lnTo>
                  <a:lnTo>
                    <a:pt x="10468" y="9408"/>
                  </a:lnTo>
                  <a:lnTo>
                    <a:pt x="10468" y="9570"/>
                  </a:lnTo>
                  <a:lnTo>
                    <a:pt x="10213" y="9570"/>
                  </a:lnTo>
                  <a:lnTo>
                    <a:pt x="10468" y="9705"/>
                  </a:lnTo>
                  <a:lnTo>
                    <a:pt x="10213" y="9705"/>
                  </a:lnTo>
                  <a:lnTo>
                    <a:pt x="10213" y="10165"/>
                  </a:lnTo>
                  <a:lnTo>
                    <a:pt x="9906" y="10165"/>
                  </a:lnTo>
                  <a:lnTo>
                    <a:pt x="9906" y="10786"/>
                  </a:lnTo>
                  <a:lnTo>
                    <a:pt x="9600" y="10786"/>
                  </a:lnTo>
                  <a:lnTo>
                    <a:pt x="9600" y="10949"/>
                  </a:lnTo>
                  <a:lnTo>
                    <a:pt x="9906" y="10949"/>
                  </a:lnTo>
                  <a:lnTo>
                    <a:pt x="9906" y="11111"/>
                  </a:lnTo>
                  <a:lnTo>
                    <a:pt x="10213" y="11111"/>
                  </a:lnTo>
                  <a:lnTo>
                    <a:pt x="10213" y="12949"/>
                  </a:lnTo>
                  <a:lnTo>
                    <a:pt x="9906" y="12949"/>
                  </a:lnTo>
                  <a:lnTo>
                    <a:pt x="9906" y="13111"/>
                  </a:lnTo>
                  <a:lnTo>
                    <a:pt x="10213" y="13111"/>
                  </a:lnTo>
                  <a:lnTo>
                    <a:pt x="10213" y="14328"/>
                  </a:lnTo>
                  <a:lnTo>
                    <a:pt x="10468" y="14328"/>
                  </a:lnTo>
                  <a:lnTo>
                    <a:pt x="10468" y="14490"/>
                  </a:lnTo>
                  <a:lnTo>
                    <a:pt x="10774" y="14652"/>
                  </a:lnTo>
                  <a:lnTo>
                    <a:pt x="10468" y="14652"/>
                  </a:lnTo>
                  <a:lnTo>
                    <a:pt x="10774" y="14652"/>
                  </a:lnTo>
                  <a:lnTo>
                    <a:pt x="10774" y="15409"/>
                  </a:lnTo>
                  <a:lnTo>
                    <a:pt x="11081" y="15409"/>
                  </a:lnTo>
                  <a:lnTo>
                    <a:pt x="10774" y="15409"/>
                  </a:lnTo>
                  <a:lnTo>
                    <a:pt x="10774" y="15896"/>
                  </a:lnTo>
                  <a:lnTo>
                    <a:pt x="10468" y="16031"/>
                  </a:lnTo>
                  <a:lnTo>
                    <a:pt x="10468" y="16653"/>
                  </a:lnTo>
                  <a:lnTo>
                    <a:pt x="10774" y="16653"/>
                  </a:lnTo>
                  <a:lnTo>
                    <a:pt x="10774" y="16815"/>
                  </a:lnTo>
                  <a:lnTo>
                    <a:pt x="10774" y="16653"/>
                  </a:lnTo>
                  <a:lnTo>
                    <a:pt x="10468" y="16653"/>
                  </a:lnTo>
                  <a:lnTo>
                    <a:pt x="10468" y="16815"/>
                  </a:lnTo>
                  <a:lnTo>
                    <a:pt x="10213" y="16977"/>
                  </a:lnTo>
                  <a:lnTo>
                    <a:pt x="9906" y="17112"/>
                  </a:lnTo>
                  <a:lnTo>
                    <a:pt x="9600" y="17112"/>
                  </a:lnTo>
                  <a:lnTo>
                    <a:pt x="9906" y="17112"/>
                  </a:lnTo>
                  <a:lnTo>
                    <a:pt x="9906" y="17734"/>
                  </a:lnTo>
                  <a:lnTo>
                    <a:pt x="9345" y="17734"/>
                  </a:lnTo>
                  <a:lnTo>
                    <a:pt x="9345" y="17896"/>
                  </a:lnTo>
                  <a:lnTo>
                    <a:pt x="9345" y="17734"/>
                  </a:lnTo>
                  <a:lnTo>
                    <a:pt x="9038" y="17734"/>
                  </a:lnTo>
                  <a:lnTo>
                    <a:pt x="9038" y="18059"/>
                  </a:lnTo>
                  <a:lnTo>
                    <a:pt x="9345" y="18059"/>
                  </a:lnTo>
                  <a:lnTo>
                    <a:pt x="9600" y="18194"/>
                  </a:lnTo>
                  <a:lnTo>
                    <a:pt x="9906" y="18194"/>
                  </a:lnTo>
                  <a:lnTo>
                    <a:pt x="9906" y="18356"/>
                  </a:lnTo>
                  <a:lnTo>
                    <a:pt x="10213" y="18356"/>
                  </a:lnTo>
                  <a:lnTo>
                    <a:pt x="10213" y="18653"/>
                  </a:lnTo>
                  <a:lnTo>
                    <a:pt x="10468" y="18816"/>
                  </a:lnTo>
                  <a:lnTo>
                    <a:pt x="10468" y="19113"/>
                  </a:lnTo>
                  <a:lnTo>
                    <a:pt x="10213" y="19113"/>
                  </a:lnTo>
                  <a:lnTo>
                    <a:pt x="10213" y="19275"/>
                  </a:lnTo>
                  <a:lnTo>
                    <a:pt x="10468" y="19275"/>
                  </a:lnTo>
                  <a:lnTo>
                    <a:pt x="10468" y="19600"/>
                  </a:lnTo>
                  <a:lnTo>
                    <a:pt x="10213" y="19600"/>
                  </a:lnTo>
                  <a:lnTo>
                    <a:pt x="10213" y="19735"/>
                  </a:lnTo>
                  <a:lnTo>
                    <a:pt x="10468" y="19735"/>
                  </a:lnTo>
                  <a:lnTo>
                    <a:pt x="10213" y="19735"/>
                  </a:lnTo>
                  <a:lnTo>
                    <a:pt x="10213" y="19897"/>
                  </a:lnTo>
                  <a:lnTo>
                    <a:pt x="10468" y="20059"/>
                  </a:lnTo>
                  <a:lnTo>
                    <a:pt x="10213" y="20059"/>
                  </a:lnTo>
                  <a:lnTo>
                    <a:pt x="10213" y="19897"/>
                  </a:lnTo>
                  <a:lnTo>
                    <a:pt x="10213" y="20059"/>
                  </a:lnTo>
                  <a:lnTo>
                    <a:pt x="10468" y="20194"/>
                  </a:lnTo>
                  <a:lnTo>
                    <a:pt x="10468" y="20356"/>
                  </a:lnTo>
                  <a:lnTo>
                    <a:pt x="10774" y="20519"/>
                  </a:lnTo>
                  <a:lnTo>
                    <a:pt x="10774" y="20816"/>
                  </a:lnTo>
                  <a:lnTo>
                    <a:pt x="11081" y="20816"/>
                  </a:lnTo>
                  <a:lnTo>
                    <a:pt x="11081" y="21140"/>
                  </a:lnTo>
                  <a:lnTo>
                    <a:pt x="11387" y="21140"/>
                  </a:lnTo>
                  <a:lnTo>
                    <a:pt x="11387" y="21438"/>
                  </a:lnTo>
                  <a:lnTo>
                    <a:pt x="11643" y="21438"/>
                  </a:lnTo>
                  <a:lnTo>
                    <a:pt x="11643" y="21600"/>
                  </a:lnTo>
                  <a:lnTo>
                    <a:pt x="11949" y="21600"/>
                  </a:lnTo>
                  <a:lnTo>
                    <a:pt x="12255" y="21438"/>
                  </a:lnTo>
                  <a:lnTo>
                    <a:pt x="12817" y="21438"/>
                  </a:lnTo>
                  <a:lnTo>
                    <a:pt x="13123" y="21276"/>
                  </a:lnTo>
                  <a:lnTo>
                    <a:pt x="13430" y="21140"/>
                  </a:lnTo>
                  <a:lnTo>
                    <a:pt x="13430" y="20978"/>
                  </a:lnTo>
                  <a:lnTo>
                    <a:pt x="13685" y="20978"/>
                  </a:lnTo>
                  <a:lnTo>
                    <a:pt x="13685" y="20816"/>
                  </a:lnTo>
                  <a:lnTo>
                    <a:pt x="13991" y="20816"/>
                  </a:lnTo>
                  <a:lnTo>
                    <a:pt x="14298" y="20681"/>
                  </a:lnTo>
                  <a:lnTo>
                    <a:pt x="14553" y="20681"/>
                  </a:lnTo>
                  <a:lnTo>
                    <a:pt x="14553" y="20519"/>
                  </a:lnTo>
                  <a:lnTo>
                    <a:pt x="15166" y="20519"/>
                  </a:lnTo>
                  <a:lnTo>
                    <a:pt x="15166" y="20356"/>
                  </a:lnTo>
                  <a:lnTo>
                    <a:pt x="14860" y="20356"/>
                  </a:lnTo>
                  <a:lnTo>
                    <a:pt x="14860" y="19275"/>
                  </a:lnTo>
                  <a:lnTo>
                    <a:pt x="14553" y="19275"/>
                  </a:lnTo>
                  <a:lnTo>
                    <a:pt x="14553" y="19437"/>
                  </a:lnTo>
                  <a:lnTo>
                    <a:pt x="14298" y="19437"/>
                  </a:lnTo>
                  <a:lnTo>
                    <a:pt x="14298" y="19600"/>
                  </a:lnTo>
                  <a:lnTo>
                    <a:pt x="13991" y="19600"/>
                  </a:lnTo>
                  <a:lnTo>
                    <a:pt x="13685" y="19437"/>
                  </a:lnTo>
                  <a:lnTo>
                    <a:pt x="13123" y="19437"/>
                  </a:lnTo>
                  <a:lnTo>
                    <a:pt x="13123" y="19275"/>
                  </a:lnTo>
                  <a:lnTo>
                    <a:pt x="12817" y="19275"/>
                  </a:lnTo>
                  <a:lnTo>
                    <a:pt x="12817" y="19113"/>
                  </a:lnTo>
                  <a:lnTo>
                    <a:pt x="12511" y="19113"/>
                  </a:lnTo>
                  <a:lnTo>
                    <a:pt x="12511" y="18978"/>
                  </a:lnTo>
                  <a:lnTo>
                    <a:pt x="12817" y="18978"/>
                  </a:lnTo>
                  <a:lnTo>
                    <a:pt x="12817" y="18653"/>
                  </a:lnTo>
                  <a:lnTo>
                    <a:pt x="13430" y="18653"/>
                  </a:lnTo>
                  <a:lnTo>
                    <a:pt x="13430" y="18518"/>
                  </a:lnTo>
                  <a:lnTo>
                    <a:pt x="13685" y="18518"/>
                  </a:lnTo>
                  <a:lnTo>
                    <a:pt x="13685" y="18356"/>
                  </a:lnTo>
                  <a:lnTo>
                    <a:pt x="13991" y="18356"/>
                  </a:lnTo>
                  <a:lnTo>
                    <a:pt x="13991" y="18518"/>
                  </a:lnTo>
                  <a:lnTo>
                    <a:pt x="14298" y="18518"/>
                  </a:lnTo>
                  <a:lnTo>
                    <a:pt x="14298" y="18653"/>
                  </a:lnTo>
                  <a:lnTo>
                    <a:pt x="14298" y="18518"/>
                  </a:lnTo>
                  <a:lnTo>
                    <a:pt x="14553" y="18518"/>
                  </a:lnTo>
                  <a:lnTo>
                    <a:pt x="14553" y="18356"/>
                  </a:lnTo>
                  <a:lnTo>
                    <a:pt x="14860" y="18194"/>
                  </a:lnTo>
                  <a:lnTo>
                    <a:pt x="15166" y="18059"/>
                  </a:lnTo>
                  <a:lnTo>
                    <a:pt x="15166" y="17896"/>
                  </a:lnTo>
                  <a:lnTo>
                    <a:pt x="15472" y="17896"/>
                  </a:lnTo>
                  <a:lnTo>
                    <a:pt x="15472" y="17734"/>
                  </a:lnTo>
                  <a:lnTo>
                    <a:pt x="15728" y="17572"/>
                  </a:lnTo>
                  <a:lnTo>
                    <a:pt x="15728" y="17437"/>
                  </a:lnTo>
                  <a:lnTo>
                    <a:pt x="15472" y="17437"/>
                  </a:lnTo>
                  <a:lnTo>
                    <a:pt x="15728" y="17437"/>
                  </a:lnTo>
                  <a:lnTo>
                    <a:pt x="15472" y="17437"/>
                  </a:lnTo>
                  <a:lnTo>
                    <a:pt x="15472" y="16977"/>
                  </a:lnTo>
                  <a:lnTo>
                    <a:pt x="15166" y="16977"/>
                  </a:lnTo>
                  <a:lnTo>
                    <a:pt x="15166" y="16815"/>
                  </a:lnTo>
                  <a:lnTo>
                    <a:pt x="15472" y="16815"/>
                  </a:lnTo>
                  <a:lnTo>
                    <a:pt x="15166" y="16815"/>
                  </a:lnTo>
                  <a:lnTo>
                    <a:pt x="15166" y="16193"/>
                  </a:lnTo>
                  <a:lnTo>
                    <a:pt x="14860" y="16193"/>
                  </a:lnTo>
                  <a:lnTo>
                    <a:pt x="14860" y="15896"/>
                  </a:lnTo>
                  <a:lnTo>
                    <a:pt x="14553" y="15896"/>
                  </a:lnTo>
                  <a:lnTo>
                    <a:pt x="14860" y="15734"/>
                  </a:lnTo>
                  <a:lnTo>
                    <a:pt x="15472" y="15734"/>
                  </a:lnTo>
                  <a:lnTo>
                    <a:pt x="15472" y="15571"/>
                  </a:lnTo>
                  <a:lnTo>
                    <a:pt x="16034" y="15571"/>
                  </a:lnTo>
                  <a:lnTo>
                    <a:pt x="16034" y="15409"/>
                  </a:lnTo>
                  <a:lnTo>
                    <a:pt x="17209" y="15409"/>
                  </a:lnTo>
                  <a:lnTo>
                    <a:pt x="17209" y="15274"/>
                  </a:lnTo>
                  <a:lnTo>
                    <a:pt x="17515" y="15112"/>
                  </a:lnTo>
                  <a:lnTo>
                    <a:pt x="17515" y="14950"/>
                  </a:lnTo>
                  <a:lnTo>
                    <a:pt x="17770" y="14950"/>
                  </a:lnTo>
                  <a:lnTo>
                    <a:pt x="17770" y="14815"/>
                  </a:lnTo>
                  <a:lnTo>
                    <a:pt x="18077" y="14815"/>
                  </a:lnTo>
                  <a:lnTo>
                    <a:pt x="18077" y="14652"/>
                  </a:lnTo>
                  <a:lnTo>
                    <a:pt x="18383" y="14652"/>
                  </a:lnTo>
                  <a:lnTo>
                    <a:pt x="18383" y="14328"/>
                  </a:lnTo>
                  <a:lnTo>
                    <a:pt x="18689" y="14193"/>
                  </a:lnTo>
                  <a:lnTo>
                    <a:pt x="18383" y="14031"/>
                  </a:lnTo>
                  <a:lnTo>
                    <a:pt x="18383" y="13733"/>
                  </a:lnTo>
                  <a:lnTo>
                    <a:pt x="18077" y="13733"/>
                  </a:lnTo>
                  <a:lnTo>
                    <a:pt x="18077" y="13571"/>
                  </a:lnTo>
                  <a:lnTo>
                    <a:pt x="17770" y="13571"/>
                  </a:lnTo>
                  <a:lnTo>
                    <a:pt x="17770" y="13733"/>
                  </a:lnTo>
                  <a:lnTo>
                    <a:pt x="17209" y="13733"/>
                  </a:lnTo>
                  <a:lnTo>
                    <a:pt x="16902" y="13868"/>
                  </a:lnTo>
                  <a:lnTo>
                    <a:pt x="16647" y="13868"/>
                  </a:lnTo>
                  <a:lnTo>
                    <a:pt x="16647" y="14031"/>
                  </a:lnTo>
                  <a:lnTo>
                    <a:pt x="16902" y="14031"/>
                  </a:lnTo>
                  <a:lnTo>
                    <a:pt x="16902" y="14193"/>
                  </a:lnTo>
                  <a:lnTo>
                    <a:pt x="17209" y="14193"/>
                  </a:lnTo>
                  <a:lnTo>
                    <a:pt x="17209" y="14328"/>
                  </a:lnTo>
                  <a:lnTo>
                    <a:pt x="16902" y="14328"/>
                  </a:lnTo>
                  <a:lnTo>
                    <a:pt x="16902" y="14193"/>
                  </a:lnTo>
                  <a:lnTo>
                    <a:pt x="16902" y="14328"/>
                  </a:lnTo>
                  <a:lnTo>
                    <a:pt x="16034" y="14328"/>
                  </a:lnTo>
                  <a:lnTo>
                    <a:pt x="15728" y="14193"/>
                  </a:lnTo>
                  <a:lnTo>
                    <a:pt x="15472" y="14193"/>
                  </a:lnTo>
                  <a:lnTo>
                    <a:pt x="15472" y="13868"/>
                  </a:lnTo>
                  <a:lnTo>
                    <a:pt x="15166" y="13868"/>
                  </a:lnTo>
                  <a:lnTo>
                    <a:pt x="15166" y="13571"/>
                  </a:lnTo>
                  <a:lnTo>
                    <a:pt x="14860" y="13571"/>
                  </a:lnTo>
                  <a:lnTo>
                    <a:pt x="14860" y="12949"/>
                  </a:lnTo>
                  <a:lnTo>
                    <a:pt x="14553" y="12949"/>
                  </a:lnTo>
                  <a:lnTo>
                    <a:pt x="14553" y="12787"/>
                  </a:lnTo>
                  <a:lnTo>
                    <a:pt x="14860" y="12787"/>
                  </a:lnTo>
                  <a:lnTo>
                    <a:pt x="14860" y="12490"/>
                  </a:lnTo>
                  <a:lnTo>
                    <a:pt x="14553" y="12327"/>
                  </a:lnTo>
                  <a:lnTo>
                    <a:pt x="14860" y="12327"/>
                  </a:lnTo>
                  <a:lnTo>
                    <a:pt x="14860" y="12030"/>
                  </a:lnTo>
                  <a:lnTo>
                    <a:pt x="14553" y="12030"/>
                  </a:lnTo>
                  <a:lnTo>
                    <a:pt x="14553" y="12192"/>
                  </a:lnTo>
                  <a:lnTo>
                    <a:pt x="14298" y="12192"/>
                  </a:lnTo>
                  <a:lnTo>
                    <a:pt x="14298" y="11868"/>
                  </a:lnTo>
                  <a:lnTo>
                    <a:pt x="14553" y="11868"/>
                  </a:lnTo>
                  <a:lnTo>
                    <a:pt x="14553" y="12030"/>
                  </a:lnTo>
                  <a:lnTo>
                    <a:pt x="14553" y="11868"/>
                  </a:lnTo>
                  <a:lnTo>
                    <a:pt x="14860" y="11868"/>
                  </a:lnTo>
                  <a:lnTo>
                    <a:pt x="14860" y="12030"/>
                  </a:lnTo>
                  <a:lnTo>
                    <a:pt x="14860" y="11868"/>
                  </a:lnTo>
                  <a:lnTo>
                    <a:pt x="14298" y="11868"/>
                  </a:lnTo>
                  <a:lnTo>
                    <a:pt x="14298" y="11570"/>
                  </a:lnTo>
                  <a:lnTo>
                    <a:pt x="14553" y="11570"/>
                  </a:lnTo>
                  <a:lnTo>
                    <a:pt x="14553" y="11706"/>
                  </a:lnTo>
                  <a:lnTo>
                    <a:pt x="14553" y="11570"/>
                  </a:lnTo>
                  <a:lnTo>
                    <a:pt x="14298" y="11570"/>
                  </a:lnTo>
                  <a:lnTo>
                    <a:pt x="14298" y="11408"/>
                  </a:lnTo>
                  <a:lnTo>
                    <a:pt x="13685" y="11408"/>
                  </a:lnTo>
                  <a:lnTo>
                    <a:pt x="13685" y="10949"/>
                  </a:lnTo>
                  <a:lnTo>
                    <a:pt x="13123" y="10949"/>
                  </a:lnTo>
                  <a:lnTo>
                    <a:pt x="13123" y="10489"/>
                  </a:lnTo>
                  <a:lnTo>
                    <a:pt x="13430" y="10489"/>
                  </a:lnTo>
                  <a:lnTo>
                    <a:pt x="13123" y="10327"/>
                  </a:lnTo>
                  <a:lnTo>
                    <a:pt x="13123" y="10165"/>
                  </a:lnTo>
                  <a:lnTo>
                    <a:pt x="13430" y="10165"/>
                  </a:lnTo>
                  <a:lnTo>
                    <a:pt x="13430" y="10030"/>
                  </a:lnTo>
                  <a:lnTo>
                    <a:pt x="13991" y="10030"/>
                  </a:lnTo>
                  <a:lnTo>
                    <a:pt x="13991" y="9867"/>
                  </a:lnTo>
                  <a:lnTo>
                    <a:pt x="13685" y="9867"/>
                  </a:lnTo>
                  <a:lnTo>
                    <a:pt x="13685" y="9705"/>
                  </a:lnTo>
                  <a:lnTo>
                    <a:pt x="14860" y="9705"/>
                  </a:lnTo>
                  <a:lnTo>
                    <a:pt x="14860" y="9867"/>
                  </a:lnTo>
                  <a:lnTo>
                    <a:pt x="15166" y="9867"/>
                  </a:lnTo>
                  <a:lnTo>
                    <a:pt x="15166" y="9408"/>
                  </a:lnTo>
                  <a:lnTo>
                    <a:pt x="14860" y="9408"/>
                  </a:lnTo>
                  <a:lnTo>
                    <a:pt x="14860" y="9246"/>
                  </a:lnTo>
                  <a:lnTo>
                    <a:pt x="14553" y="9246"/>
                  </a:lnTo>
                  <a:lnTo>
                    <a:pt x="14553" y="9408"/>
                  </a:lnTo>
                  <a:lnTo>
                    <a:pt x="14553" y="9246"/>
                  </a:lnTo>
                  <a:lnTo>
                    <a:pt x="14860" y="9246"/>
                  </a:lnTo>
                  <a:lnTo>
                    <a:pt x="14860" y="8786"/>
                  </a:lnTo>
                  <a:lnTo>
                    <a:pt x="14553" y="8786"/>
                  </a:lnTo>
                  <a:lnTo>
                    <a:pt x="14860" y="8786"/>
                  </a:lnTo>
                  <a:lnTo>
                    <a:pt x="14860" y="8002"/>
                  </a:lnTo>
                  <a:lnTo>
                    <a:pt x="15166" y="8002"/>
                  </a:lnTo>
                  <a:lnTo>
                    <a:pt x="15166" y="7867"/>
                  </a:lnTo>
                  <a:lnTo>
                    <a:pt x="15472" y="7867"/>
                  </a:lnTo>
                  <a:lnTo>
                    <a:pt x="15472" y="8002"/>
                  </a:lnTo>
                  <a:lnTo>
                    <a:pt x="15166" y="8002"/>
                  </a:lnTo>
                  <a:lnTo>
                    <a:pt x="15472" y="8002"/>
                  </a:lnTo>
                  <a:lnTo>
                    <a:pt x="15472" y="8164"/>
                  </a:lnTo>
                  <a:lnTo>
                    <a:pt x="15728" y="8164"/>
                  </a:lnTo>
                  <a:lnTo>
                    <a:pt x="15728" y="8489"/>
                  </a:lnTo>
                  <a:lnTo>
                    <a:pt x="16034" y="8489"/>
                  </a:lnTo>
                  <a:lnTo>
                    <a:pt x="16034" y="8624"/>
                  </a:lnTo>
                  <a:lnTo>
                    <a:pt x="16340" y="8624"/>
                  </a:lnTo>
                  <a:lnTo>
                    <a:pt x="16340" y="8948"/>
                  </a:lnTo>
                  <a:lnTo>
                    <a:pt x="16647" y="8948"/>
                  </a:lnTo>
                  <a:lnTo>
                    <a:pt x="16902" y="8786"/>
                  </a:lnTo>
                  <a:lnTo>
                    <a:pt x="16902" y="8624"/>
                  </a:lnTo>
                  <a:lnTo>
                    <a:pt x="16647" y="8624"/>
                  </a:lnTo>
                  <a:lnTo>
                    <a:pt x="16647" y="7867"/>
                  </a:lnTo>
                  <a:lnTo>
                    <a:pt x="16340" y="7867"/>
                  </a:lnTo>
                  <a:lnTo>
                    <a:pt x="16340" y="7542"/>
                  </a:lnTo>
                  <a:lnTo>
                    <a:pt x="16034" y="7542"/>
                  </a:lnTo>
                  <a:lnTo>
                    <a:pt x="16034" y="7407"/>
                  </a:lnTo>
                  <a:lnTo>
                    <a:pt x="16340" y="7407"/>
                  </a:lnTo>
                  <a:lnTo>
                    <a:pt x="16340" y="7542"/>
                  </a:lnTo>
                  <a:lnTo>
                    <a:pt x="16647" y="7542"/>
                  </a:lnTo>
                  <a:lnTo>
                    <a:pt x="16647" y="7245"/>
                  </a:lnTo>
                  <a:lnTo>
                    <a:pt x="16340" y="7245"/>
                  </a:lnTo>
                  <a:lnTo>
                    <a:pt x="16647" y="7245"/>
                  </a:lnTo>
                  <a:lnTo>
                    <a:pt x="16647" y="7083"/>
                  </a:lnTo>
                  <a:lnTo>
                    <a:pt x="16902" y="7083"/>
                  </a:lnTo>
                  <a:lnTo>
                    <a:pt x="16902" y="6785"/>
                  </a:lnTo>
                  <a:lnTo>
                    <a:pt x="16647" y="6785"/>
                  </a:lnTo>
                  <a:lnTo>
                    <a:pt x="16902" y="6785"/>
                  </a:lnTo>
                  <a:lnTo>
                    <a:pt x="16902" y="6623"/>
                  </a:lnTo>
                  <a:lnTo>
                    <a:pt x="17209" y="6623"/>
                  </a:lnTo>
                  <a:lnTo>
                    <a:pt x="17209" y="6326"/>
                  </a:lnTo>
                  <a:lnTo>
                    <a:pt x="17515" y="6326"/>
                  </a:lnTo>
                  <a:lnTo>
                    <a:pt x="17515" y="6164"/>
                  </a:lnTo>
                  <a:lnTo>
                    <a:pt x="17770" y="6164"/>
                  </a:lnTo>
                  <a:lnTo>
                    <a:pt x="17770" y="6002"/>
                  </a:lnTo>
                  <a:lnTo>
                    <a:pt x="18077" y="6002"/>
                  </a:lnTo>
                  <a:lnTo>
                    <a:pt x="18077" y="5839"/>
                  </a:lnTo>
                  <a:lnTo>
                    <a:pt x="18383" y="5839"/>
                  </a:lnTo>
                  <a:lnTo>
                    <a:pt x="18383" y="5704"/>
                  </a:lnTo>
                  <a:lnTo>
                    <a:pt x="18689" y="5704"/>
                  </a:lnTo>
                  <a:lnTo>
                    <a:pt x="18383" y="5704"/>
                  </a:lnTo>
                  <a:lnTo>
                    <a:pt x="20119" y="5704"/>
                  </a:lnTo>
                  <a:lnTo>
                    <a:pt x="20119" y="5839"/>
                  </a:lnTo>
                  <a:lnTo>
                    <a:pt x="21600" y="5839"/>
                  </a:lnTo>
                  <a:lnTo>
                    <a:pt x="21600" y="5704"/>
                  </a:lnTo>
                  <a:lnTo>
                    <a:pt x="21294" y="5704"/>
                  </a:lnTo>
                  <a:lnTo>
                    <a:pt x="21294" y="5542"/>
                  </a:lnTo>
                  <a:lnTo>
                    <a:pt x="20732" y="5245"/>
                  </a:lnTo>
                  <a:lnTo>
                    <a:pt x="20732" y="5082"/>
                  </a:lnTo>
                  <a:lnTo>
                    <a:pt x="20426" y="5082"/>
                  </a:lnTo>
                  <a:lnTo>
                    <a:pt x="20426" y="4920"/>
                  </a:lnTo>
                  <a:lnTo>
                    <a:pt x="20426" y="5082"/>
                  </a:lnTo>
                  <a:lnTo>
                    <a:pt x="20426" y="4920"/>
                  </a:lnTo>
                  <a:lnTo>
                    <a:pt x="20732" y="4920"/>
                  </a:lnTo>
                  <a:lnTo>
                    <a:pt x="20732" y="4785"/>
                  </a:lnTo>
                  <a:lnTo>
                    <a:pt x="20426" y="4785"/>
                  </a:lnTo>
                  <a:lnTo>
                    <a:pt x="20426" y="4623"/>
                  </a:lnTo>
                  <a:lnTo>
                    <a:pt x="20732" y="4623"/>
                  </a:lnTo>
                  <a:lnTo>
                    <a:pt x="20732" y="4001"/>
                  </a:lnTo>
                  <a:lnTo>
                    <a:pt x="20426" y="4001"/>
                  </a:lnTo>
                  <a:lnTo>
                    <a:pt x="20426" y="3839"/>
                  </a:lnTo>
                  <a:lnTo>
                    <a:pt x="20426" y="4001"/>
                  </a:lnTo>
                  <a:lnTo>
                    <a:pt x="20732" y="4001"/>
                  </a:lnTo>
                  <a:lnTo>
                    <a:pt x="20732" y="3839"/>
                  </a:lnTo>
                  <a:lnTo>
                    <a:pt x="20426" y="3839"/>
                  </a:lnTo>
                  <a:lnTo>
                    <a:pt x="20426" y="3704"/>
                  </a:lnTo>
                  <a:lnTo>
                    <a:pt x="20732" y="3704"/>
                  </a:lnTo>
                  <a:lnTo>
                    <a:pt x="20426" y="3704"/>
                  </a:lnTo>
                  <a:lnTo>
                    <a:pt x="20426" y="3541"/>
                  </a:lnTo>
                  <a:lnTo>
                    <a:pt x="20732" y="3541"/>
                  </a:lnTo>
                  <a:lnTo>
                    <a:pt x="20732" y="3379"/>
                  </a:lnTo>
                  <a:lnTo>
                    <a:pt x="20987" y="3379"/>
                  </a:lnTo>
                  <a:lnTo>
                    <a:pt x="20732" y="3217"/>
                  </a:lnTo>
                  <a:lnTo>
                    <a:pt x="20732" y="3082"/>
                  </a:lnTo>
                  <a:lnTo>
                    <a:pt x="20426" y="3082"/>
                  </a:lnTo>
                  <a:lnTo>
                    <a:pt x="20732" y="3082"/>
                  </a:lnTo>
                  <a:lnTo>
                    <a:pt x="20732" y="2757"/>
                  </a:lnTo>
                  <a:lnTo>
                    <a:pt x="20426" y="2920"/>
                  </a:lnTo>
                  <a:lnTo>
                    <a:pt x="20426" y="2757"/>
                  </a:lnTo>
                  <a:lnTo>
                    <a:pt x="20119" y="2757"/>
                  </a:lnTo>
                  <a:lnTo>
                    <a:pt x="20119" y="2622"/>
                  </a:lnTo>
                  <a:lnTo>
                    <a:pt x="20732" y="2622"/>
                  </a:lnTo>
                  <a:lnTo>
                    <a:pt x="20732" y="2460"/>
                  </a:lnTo>
                  <a:lnTo>
                    <a:pt x="20426" y="2460"/>
                  </a:lnTo>
                  <a:lnTo>
                    <a:pt x="20732" y="2460"/>
                  </a:lnTo>
                  <a:lnTo>
                    <a:pt x="20732" y="2298"/>
                  </a:lnTo>
                  <a:lnTo>
                    <a:pt x="20426" y="2298"/>
                  </a:lnTo>
                  <a:lnTo>
                    <a:pt x="20732" y="2298"/>
                  </a:lnTo>
                  <a:lnTo>
                    <a:pt x="20732" y="2136"/>
                  </a:lnTo>
                  <a:lnTo>
                    <a:pt x="20119" y="2136"/>
                  </a:lnTo>
                  <a:lnTo>
                    <a:pt x="20119" y="2001"/>
                  </a:lnTo>
                  <a:lnTo>
                    <a:pt x="20426" y="2001"/>
                  </a:lnTo>
                  <a:lnTo>
                    <a:pt x="20732" y="1838"/>
                  </a:lnTo>
                  <a:lnTo>
                    <a:pt x="20732" y="1676"/>
                  </a:lnTo>
                  <a:lnTo>
                    <a:pt x="20426" y="1676"/>
                  </a:lnTo>
                  <a:lnTo>
                    <a:pt x="20426" y="1379"/>
                  </a:lnTo>
                  <a:lnTo>
                    <a:pt x="20119" y="1379"/>
                  </a:lnTo>
                  <a:lnTo>
                    <a:pt x="20119" y="1054"/>
                  </a:lnTo>
                  <a:lnTo>
                    <a:pt x="20732" y="1054"/>
                  </a:lnTo>
                  <a:lnTo>
                    <a:pt x="20732" y="919"/>
                  </a:lnTo>
                  <a:lnTo>
                    <a:pt x="20426" y="919"/>
                  </a:lnTo>
                  <a:lnTo>
                    <a:pt x="20426" y="595"/>
                  </a:lnTo>
                  <a:lnTo>
                    <a:pt x="20732" y="757"/>
                  </a:lnTo>
                  <a:lnTo>
                    <a:pt x="20732" y="460"/>
                  </a:lnTo>
                  <a:lnTo>
                    <a:pt x="20987" y="460"/>
                  </a:lnTo>
                  <a:lnTo>
                    <a:pt x="20732" y="460"/>
                  </a:lnTo>
                  <a:lnTo>
                    <a:pt x="20732" y="297"/>
                  </a:lnTo>
                  <a:lnTo>
                    <a:pt x="18945" y="297"/>
                  </a:lnTo>
                  <a:lnTo>
                    <a:pt x="18945" y="0"/>
                  </a:lnTo>
                  <a:lnTo>
                    <a:pt x="18383" y="0"/>
                  </a:lnTo>
                  <a:lnTo>
                    <a:pt x="18383" y="135"/>
                  </a:lnTo>
                  <a:lnTo>
                    <a:pt x="18077" y="135"/>
                  </a:lnTo>
                  <a:lnTo>
                    <a:pt x="18077" y="0"/>
                  </a:lnTo>
                  <a:lnTo>
                    <a:pt x="18077" y="135"/>
                  </a:lnTo>
                  <a:lnTo>
                    <a:pt x="17770" y="135"/>
                  </a:lnTo>
                  <a:lnTo>
                    <a:pt x="17770" y="297"/>
                  </a:lnTo>
                  <a:lnTo>
                    <a:pt x="17770" y="135"/>
                  </a:lnTo>
                  <a:lnTo>
                    <a:pt x="17770" y="595"/>
                  </a:lnTo>
                  <a:lnTo>
                    <a:pt x="17515" y="595"/>
                  </a:lnTo>
                  <a:lnTo>
                    <a:pt x="17515" y="919"/>
                  </a:lnTo>
                  <a:lnTo>
                    <a:pt x="17209" y="919"/>
                  </a:lnTo>
                  <a:lnTo>
                    <a:pt x="16902" y="1054"/>
                  </a:lnTo>
                  <a:lnTo>
                    <a:pt x="16902" y="1217"/>
                  </a:lnTo>
                  <a:lnTo>
                    <a:pt x="16647" y="1379"/>
                  </a:lnTo>
                  <a:lnTo>
                    <a:pt x="16647" y="1217"/>
                  </a:lnTo>
                  <a:lnTo>
                    <a:pt x="16340" y="1379"/>
                  </a:lnTo>
                  <a:lnTo>
                    <a:pt x="16340" y="1676"/>
                  </a:lnTo>
                  <a:lnTo>
                    <a:pt x="16034" y="1838"/>
                  </a:lnTo>
                  <a:lnTo>
                    <a:pt x="16340" y="1838"/>
                  </a:lnTo>
                  <a:lnTo>
                    <a:pt x="16034" y="1838"/>
                  </a:lnTo>
                  <a:lnTo>
                    <a:pt x="16034" y="2001"/>
                  </a:lnTo>
                  <a:lnTo>
                    <a:pt x="15728" y="2001"/>
                  </a:lnTo>
                  <a:lnTo>
                    <a:pt x="15728" y="2136"/>
                  </a:lnTo>
                  <a:lnTo>
                    <a:pt x="15728" y="2001"/>
                  </a:lnTo>
                  <a:lnTo>
                    <a:pt x="15728" y="2136"/>
                  </a:lnTo>
                  <a:lnTo>
                    <a:pt x="15472" y="2136"/>
                  </a:lnTo>
                  <a:lnTo>
                    <a:pt x="15472" y="2298"/>
                  </a:lnTo>
                  <a:lnTo>
                    <a:pt x="15728" y="2298"/>
                  </a:lnTo>
                  <a:lnTo>
                    <a:pt x="15472" y="2298"/>
                  </a:lnTo>
                  <a:lnTo>
                    <a:pt x="15472" y="2622"/>
                  </a:lnTo>
                  <a:lnTo>
                    <a:pt x="14860" y="2622"/>
                  </a:lnTo>
                  <a:lnTo>
                    <a:pt x="14860" y="2920"/>
                  </a:lnTo>
                  <a:lnTo>
                    <a:pt x="14553" y="2920"/>
                  </a:lnTo>
                  <a:lnTo>
                    <a:pt x="14553" y="2757"/>
                  </a:lnTo>
                  <a:lnTo>
                    <a:pt x="13991" y="2757"/>
                  </a:lnTo>
                  <a:lnTo>
                    <a:pt x="13991" y="2622"/>
                  </a:lnTo>
                  <a:lnTo>
                    <a:pt x="13991" y="2757"/>
                  </a:lnTo>
                  <a:lnTo>
                    <a:pt x="13685" y="2622"/>
                  </a:lnTo>
                  <a:lnTo>
                    <a:pt x="13685" y="2460"/>
                  </a:lnTo>
                  <a:lnTo>
                    <a:pt x="13430" y="2460"/>
                  </a:lnTo>
                  <a:lnTo>
                    <a:pt x="13430" y="2622"/>
                  </a:lnTo>
                  <a:lnTo>
                    <a:pt x="13123" y="2622"/>
                  </a:lnTo>
                  <a:lnTo>
                    <a:pt x="12817" y="2757"/>
                  </a:lnTo>
                  <a:lnTo>
                    <a:pt x="12817" y="2622"/>
                  </a:lnTo>
                  <a:lnTo>
                    <a:pt x="11949" y="2622"/>
                  </a:lnTo>
                  <a:lnTo>
                    <a:pt x="11949" y="2757"/>
                  </a:lnTo>
                  <a:lnTo>
                    <a:pt x="11643" y="2757"/>
                  </a:lnTo>
                  <a:lnTo>
                    <a:pt x="11643" y="2920"/>
                  </a:lnTo>
                  <a:lnTo>
                    <a:pt x="10774" y="2920"/>
                  </a:lnTo>
                  <a:lnTo>
                    <a:pt x="10774" y="3082"/>
                  </a:lnTo>
                  <a:lnTo>
                    <a:pt x="10468" y="3082"/>
                  </a:lnTo>
                  <a:lnTo>
                    <a:pt x="10468" y="2757"/>
                  </a:lnTo>
                  <a:lnTo>
                    <a:pt x="10774" y="2622"/>
                  </a:lnTo>
                  <a:lnTo>
                    <a:pt x="10468" y="2622"/>
                  </a:lnTo>
                  <a:lnTo>
                    <a:pt x="10468" y="2136"/>
                  </a:lnTo>
                  <a:lnTo>
                    <a:pt x="10213" y="2136"/>
                  </a:lnTo>
                  <a:lnTo>
                    <a:pt x="10213" y="1838"/>
                  </a:lnTo>
                  <a:lnTo>
                    <a:pt x="10468" y="1838"/>
                  </a:lnTo>
                  <a:lnTo>
                    <a:pt x="10468" y="1676"/>
                  </a:lnTo>
                  <a:lnTo>
                    <a:pt x="10213" y="1676"/>
                  </a:lnTo>
                  <a:lnTo>
                    <a:pt x="10213" y="1541"/>
                  </a:lnTo>
                  <a:lnTo>
                    <a:pt x="9906" y="1379"/>
                  </a:lnTo>
                  <a:lnTo>
                    <a:pt x="9345" y="1379"/>
                  </a:lnTo>
                  <a:lnTo>
                    <a:pt x="9345" y="1217"/>
                  </a:lnTo>
                  <a:lnTo>
                    <a:pt x="9038" y="1217"/>
                  </a:lnTo>
                  <a:lnTo>
                    <a:pt x="9038" y="1379"/>
                  </a:lnTo>
                  <a:lnTo>
                    <a:pt x="8732" y="1541"/>
                  </a:lnTo>
                  <a:lnTo>
                    <a:pt x="8426" y="1541"/>
                  </a:lnTo>
                  <a:lnTo>
                    <a:pt x="8426" y="1379"/>
                  </a:lnTo>
                  <a:lnTo>
                    <a:pt x="7302" y="1379"/>
                  </a:lnTo>
                  <a:lnTo>
                    <a:pt x="6996" y="1541"/>
                  </a:lnTo>
                  <a:lnTo>
                    <a:pt x="6996" y="1676"/>
                  </a:lnTo>
                  <a:lnTo>
                    <a:pt x="6383" y="1676"/>
                  </a:lnTo>
                  <a:lnTo>
                    <a:pt x="6383" y="1838"/>
                  </a:lnTo>
                  <a:lnTo>
                    <a:pt x="6128" y="1838"/>
                  </a:lnTo>
                  <a:lnTo>
                    <a:pt x="6128" y="1676"/>
                  </a:lnTo>
                  <a:lnTo>
                    <a:pt x="5821" y="1676"/>
                  </a:lnTo>
                  <a:lnTo>
                    <a:pt x="5821" y="1838"/>
                  </a:lnTo>
                  <a:lnTo>
                    <a:pt x="5821" y="1676"/>
                  </a:lnTo>
                  <a:lnTo>
                    <a:pt x="5515" y="1838"/>
                  </a:lnTo>
                  <a:lnTo>
                    <a:pt x="5260" y="1676"/>
                  </a:lnTo>
                  <a:lnTo>
                    <a:pt x="4953" y="1676"/>
                  </a:lnTo>
                  <a:lnTo>
                    <a:pt x="4953" y="2136"/>
                  </a:lnTo>
                  <a:lnTo>
                    <a:pt x="4647" y="2136"/>
                  </a:lnTo>
                  <a:lnTo>
                    <a:pt x="4647" y="2298"/>
                  </a:lnTo>
                  <a:lnTo>
                    <a:pt x="3779" y="2298"/>
                  </a:lnTo>
                  <a:lnTo>
                    <a:pt x="3779" y="2622"/>
                  </a:lnTo>
                  <a:lnTo>
                    <a:pt x="3217" y="2622"/>
                  </a:lnTo>
                  <a:lnTo>
                    <a:pt x="3217" y="2460"/>
                  </a:lnTo>
                  <a:lnTo>
                    <a:pt x="2911" y="2460"/>
                  </a:lnTo>
                  <a:lnTo>
                    <a:pt x="2911" y="2622"/>
                  </a:lnTo>
                  <a:lnTo>
                    <a:pt x="2043" y="2622"/>
                  </a:lnTo>
                  <a:lnTo>
                    <a:pt x="2043" y="2920"/>
                  </a:lnTo>
                  <a:lnTo>
                    <a:pt x="2298" y="2920"/>
                  </a:lnTo>
                  <a:lnTo>
                    <a:pt x="2298" y="3082"/>
                  </a:lnTo>
                  <a:lnTo>
                    <a:pt x="868" y="3082"/>
                  </a:lnTo>
                  <a:lnTo>
                    <a:pt x="868" y="3379"/>
                  </a:lnTo>
                  <a:lnTo>
                    <a:pt x="255" y="3379"/>
                  </a:lnTo>
                  <a:lnTo>
                    <a:pt x="255" y="3541"/>
                  </a:lnTo>
                  <a:lnTo>
                    <a:pt x="0" y="3541"/>
                  </a:lnTo>
                  <a:lnTo>
                    <a:pt x="255" y="3704"/>
                  </a:lnTo>
                  <a:lnTo>
                    <a:pt x="255" y="3839"/>
                  </a:lnTo>
                  <a:lnTo>
                    <a:pt x="0" y="3839"/>
                  </a:lnTo>
                  <a:lnTo>
                    <a:pt x="0" y="4001"/>
                  </a:lnTo>
                  <a:lnTo>
                    <a:pt x="255" y="4001"/>
                  </a:lnTo>
                  <a:lnTo>
                    <a:pt x="255" y="4163"/>
                  </a:lnTo>
                  <a:lnTo>
                    <a:pt x="562" y="4163"/>
                  </a:lnTo>
                  <a:lnTo>
                    <a:pt x="562" y="4298"/>
                  </a:lnTo>
                  <a:lnTo>
                    <a:pt x="1430" y="4298"/>
                  </a:lnTo>
                  <a:lnTo>
                    <a:pt x="1430" y="4785"/>
                  </a:lnTo>
                  <a:lnTo>
                    <a:pt x="1736" y="4785"/>
                  </a:lnTo>
                  <a:lnTo>
                    <a:pt x="1430" y="4920"/>
                  </a:lnTo>
                  <a:lnTo>
                    <a:pt x="1430" y="5245"/>
                  </a:lnTo>
                  <a:lnTo>
                    <a:pt x="2043" y="5245"/>
                  </a:lnTo>
                  <a:lnTo>
                    <a:pt x="2043" y="5380"/>
                  </a:lnTo>
                  <a:lnTo>
                    <a:pt x="2298" y="5380"/>
                  </a:lnTo>
                  <a:lnTo>
                    <a:pt x="2043" y="5380"/>
                  </a:lnTo>
                  <a:lnTo>
                    <a:pt x="2043" y="5542"/>
                  </a:lnTo>
                  <a:lnTo>
                    <a:pt x="2298" y="5704"/>
                  </a:lnTo>
                  <a:lnTo>
                    <a:pt x="2911" y="5704"/>
                  </a:lnTo>
                  <a:lnTo>
                    <a:pt x="2911" y="5839"/>
                  </a:lnTo>
                  <a:lnTo>
                    <a:pt x="3217" y="5839"/>
                  </a:lnTo>
                  <a:lnTo>
                    <a:pt x="3217" y="6326"/>
                  </a:lnTo>
                  <a:lnTo>
                    <a:pt x="3472" y="6326"/>
                  </a:lnTo>
                  <a:lnTo>
                    <a:pt x="3779" y="6461"/>
                  </a:lnTo>
                  <a:lnTo>
                    <a:pt x="3779" y="6623"/>
                  </a:lnTo>
                  <a:lnTo>
                    <a:pt x="3472" y="6623"/>
                  </a:lnTo>
                  <a:lnTo>
                    <a:pt x="3779" y="6623"/>
                  </a:lnTo>
                  <a:lnTo>
                    <a:pt x="3779" y="6785"/>
                  </a:lnTo>
                  <a:lnTo>
                    <a:pt x="3472" y="6785"/>
                  </a:lnTo>
                  <a:lnTo>
                    <a:pt x="3472" y="6921"/>
                  </a:lnTo>
                  <a:lnTo>
                    <a:pt x="3779" y="6921"/>
                  </a:lnTo>
                  <a:lnTo>
                    <a:pt x="3779" y="7245"/>
                  </a:lnTo>
                  <a:lnTo>
                    <a:pt x="4085" y="7245"/>
                  </a:lnTo>
                  <a:lnTo>
                    <a:pt x="4085" y="7083"/>
                  </a:lnTo>
                  <a:lnTo>
                    <a:pt x="4647" y="7083"/>
                  </a:lnTo>
                  <a:lnTo>
                    <a:pt x="4647" y="7245"/>
                  </a:lnTo>
                  <a:lnTo>
                    <a:pt x="4953" y="7245"/>
                  </a:lnTo>
                  <a:lnTo>
                    <a:pt x="4953" y="7083"/>
                  </a:lnTo>
                  <a:lnTo>
                    <a:pt x="5260" y="7245"/>
                  </a:lnTo>
                  <a:lnTo>
                    <a:pt x="5260" y="7407"/>
                  </a:lnTo>
                  <a:lnTo>
                    <a:pt x="5515" y="7407"/>
                  </a:lnTo>
                  <a:lnTo>
                    <a:pt x="5515" y="7542"/>
                  </a:lnTo>
                  <a:lnTo>
                    <a:pt x="5821" y="7542"/>
                  </a:lnTo>
                  <a:lnTo>
                    <a:pt x="5821" y="7705"/>
                  </a:lnTo>
                  <a:lnTo>
                    <a:pt x="6128" y="7705"/>
                  </a:lnTo>
                  <a:lnTo>
                    <a:pt x="6128" y="7867"/>
                  </a:lnTo>
                  <a:lnTo>
                    <a:pt x="5821" y="7867"/>
                  </a:lnTo>
                  <a:lnTo>
                    <a:pt x="5821" y="8164"/>
                  </a:lnTo>
                  <a:lnTo>
                    <a:pt x="5515" y="8164"/>
                  </a:lnTo>
                  <a:lnTo>
                    <a:pt x="5515" y="8326"/>
                  </a:lnTo>
                  <a:lnTo>
                    <a:pt x="6128" y="8326"/>
                  </a:lnTo>
                  <a:lnTo>
                    <a:pt x="6128" y="8164"/>
                  </a:lnTo>
                  <a:lnTo>
                    <a:pt x="6383" y="8164"/>
                  </a:lnTo>
                  <a:lnTo>
                    <a:pt x="6383" y="8489"/>
                  </a:lnTo>
                  <a:lnTo>
                    <a:pt x="6689" y="8489"/>
                  </a:lnTo>
                  <a:lnTo>
                    <a:pt x="6689" y="8624"/>
                  </a:lnTo>
                  <a:lnTo>
                    <a:pt x="6996" y="8624"/>
                  </a:lnTo>
                  <a:lnTo>
                    <a:pt x="6996" y="8786"/>
                  </a:lnTo>
                  <a:lnTo>
                    <a:pt x="7302" y="8786"/>
                  </a:lnTo>
                  <a:close/>
                </a:path>
              </a:pathLst>
            </a:custGeom>
            <a:grpFill/>
            <a:ln w="6350" cap="rnd">
              <a:solidFill>
                <a:schemeClr val="accent1">
                  <a:lumMod val="75000"/>
                  <a:alpha val="6000"/>
                </a:schemeClr>
              </a:solidFill>
              <a:prstDash val="solid"/>
              <a:round/>
            </a:ln>
            <a:effectLst/>
          </p:spPr>
          <p:txBody>
            <a:bodyPr wrap="square" lIns="17916" tIns="17916" rIns="17916" bIns="17916" numCol="1" anchor="ctr">
              <a:noAutofit/>
            </a:bodyPr>
            <a:lstStyle/>
            <a:p>
              <a:pPr defTabSz="716560">
                <a:defRPr sz="3000">
                  <a:solidFill>
                    <a:srgbClr val="FFFFFF"/>
                  </a:solidFill>
                </a:defRPr>
              </a:pPr>
              <a:endParaRPr sz="1176" dirty="0">
                <a:solidFill>
                  <a:srgbClr val="FFFFFF"/>
                </a:solidFill>
                <a:latin typeface="Cera CY" panose="00000500000000000000" pitchFamily="50" charset="-52"/>
              </a:endParaRPr>
            </a:p>
          </p:txBody>
        </p:sp>
        <p:grpSp>
          <p:nvGrpSpPr>
            <p:cNvPr id="505" name="Группа 504"/>
            <p:cNvGrpSpPr/>
            <p:nvPr/>
          </p:nvGrpSpPr>
          <p:grpSpPr>
            <a:xfrm>
              <a:off x="6259687" y="2930551"/>
              <a:ext cx="5489402" cy="2787624"/>
              <a:chOff x="6254750" y="2442535"/>
              <a:chExt cx="7388851" cy="3752198"/>
            </a:xfrm>
            <a:grpFill/>
          </p:grpSpPr>
          <p:sp>
            <p:nvSpPr>
              <p:cNvPr id="506" name="Shape 2777"/>
              <p:cNvSpPr/>
              <p:nvPr/>
            </p:nvSpPr>
            <p:spPr>
              <a:xfrm>
                <a:off x="9705095" y="4065166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07" name="Shape 2778"/>
              <p:cNvSpPr/>
              <p:nvPr/>
            </p:nvSpPr>
            <p:spPr>
              <a:xfrm>
                <a:off x="9673322" y="4041335"/>
                <a:ext cx="15888" cy="173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818" y="0"/>
                    </a:moveTo>
                    <a:lnTo>
                      <a:pt x="9818" y="10800"/>
                    </a:lnTo>
                    <a:lnTo>
                      <a:pt x="0" y="10800"/>
                    </a:lnTo>
                    <a:lnTo>
                      <a:pt x="9818" y="10800"/>
                    </a:lnTo>
                    <a:lnTo>
                      <a:pt x="9818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lnTo>
                      <a:pt x="9818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08" name="Shape 2779"/>
              <p:cNvSpPr/>
              <p:nvPr/>
            </p:nvSpPr>
            <p:spPr>
              <a:xfrm>
                <a:off x="9837967" y="3613834"/>
                <a:ext cx="15888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9818"/>
                    </a:moveTo>
                    <a:lnTo>
                      <a:pt x="0" y="21600"/>
                    </a:lnTo>
                    <a:lnTo>
                      <a:pt x="11782" y="21600"/>
                    </a:lnTo>
                    <a:lnTo>
                      <a:pt x="11782" y="9818"/>
                    </a:lnTo>
                    <a:lnTo>
                      <a:pt x="21600" y="0"/>
                    </a:lnTo>
                    <a:lnTo>
                      <a:pt x="11782" y="0"/>
                    </a:lnTo>
                    <a:lnTo>
                      <a:pt x="11782" y="9818"/>
                    </a:lnTo>
                    <a:lnTo>
                      <a:pt x="0" y="981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09" name="Shape 2780"/>
              <p:cNvSpPr/>
              <p:nvPr/>
            </p:nvSpPr>
            <p:spPr>
              <a:xfrm>
                <a:off x="10622202" y="3538732"/>
                <a:ext cx="66437" cy="577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148" y="12420"/>
                    </a:moveTo>
                    <a:lnTo>
                      <a:pt x="15965" y="12420"/>
                    </a:lnTo>
                    <a:lnTo>
                      <a:pt x="15965" y="9180"/>
                    </a:lnTo>
                    <a:lnTo>
                      <a:pt x="18783" y="9180"/>
                    </a:lnTo>
                    <a:lnTo>
                      <a:pt x="18783" y="6480"/>
                    </a:lnTo>
                    <a:lnTo>
                      <a:pt x="15965" y="6480"/>
                    </a:lnTo>
                    <a:lnTo>
                      <a:pt x="15965" y="0"/>
                    </a:lnTo>
                    <a:lnTo>
                      <a:pt x="18783" y="3240"/>
                    </a:lnTo>
                    <a:lnTo>
                      <a:pt x="18783" y="0"/>
                    </a:lnTo>
                    <a:lnTo>
                      <a:pt x="21600" y="0"/>
                    </a:lnTo>
                    <a:lnTo>
                      <a:pt x="15965" y="0"/>
                    </a:lnTo>
                    <a:lnTo>
                      <a:pt x="15965" y="6480"/>
                    </a:lnTo>
                    <a:lnTo>
                      <a:pt x="10800" y="6480"/>
                    </a:lnTo>
                    <a:lnTo>
                      <a:pt x="10800" y="3240"/>
                    </a:lnTo>
                    <a:lnTo>
                      <a:pt x="2817" y="3240"/>
                    </a:lnTo>
                    <a:lnTo>
                      <a:pt x="2817" y="12420"/>
                    </a:lnTo>
                    <a:lnTo>
                      <a:pt x="0" y="12420"/>
                    </a:lnTo>
                    <a:lnTo>
                      <a:pt x="0" y="18360"/>
                    </a:lnTo>
                    <a:lnTo>
                      <a:pt x="2817" y="18360"/>
                    </a:lnTo>
                    <a:lnTo>
                      <a:pt x="2817" y="21600"/>
                    </a:lnTo>
                    <a:lnTo>
                      <a:pt x="2817" y="18360"/>
                    </a:lnTo>
                    <a:lnTo>
                      <a:pt x="7983" y="18360"/>
                    </a:lnTo>
                    <a:lnTo>
                      <a:pt x="7983" y="15660"/>
                    </a:lnTo>
                    <a:lnTo>
                      <a:pt x="10800" y="15660"/>
                    </a:lnTo>
                    <a:lnTo>
                      <a:pt x="10800" y="12420"/>
                    </a:lnTo>
                    <a:lnTo>
                      <a:pt x="13148" y="1242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10" name="Shape 2783"/>
              <p:cNvSpPr/>
              <p:nvPr/>
            </p:nvSpPr>
            <p:spPr>
              <a:xfrm>
                <a:off x="11776169" y="2771827"/>
                <a:ext cx="11555" cy="17332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11" name="Shape 2784"/>
              <p:cNvSpPr/>
              <p:nvPr/>
            </p:nvSpPr>
            <p:spPr>
              <a:xfrm>
                <a:off x="11646186" y="2780492"/>
                <a:ext cx="15888" cy="245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818" y="0"/>
                    </a:moveTo>
                    <a:lnTo>
                      <a:pt x="21600" y="0"/>
                    </a:lnTo>
                    <a:lnTo>
                      <a:pt x="9818" y="0"/>
                    </a:lnTo>
                    <a:lnTo>
                      <a:pt x="9818" y="7624"/>
                    </a:lnTo>
                    <a:lnTo>
                      <a:pt x="21600" y="7624"/>
                    </a:lnTo>
                    <a:lnTo>
                      <a:pt x="21600" y="13976"/>
                    </a:lnTo>
                    <a:lnTo>
                      <a:pt x="9818" y="13976"/>
                    </a:lnTo>
                    <a:lnTo>
                      <a:pt x="9818" y="21600"/>
                    </a:lnTo>
                    <a:lnTo>
                      <a:pt x="0" y="21600"/>
                    </a:lnTo>
                    <a:lnTo>
                      <a:pt x="0" y="7624"/>
                    </a:lnTo>
                    <a:lnTo>
                      <a:pt x="9818" y="7624"/>
                    </a:lnTo>
                    <a:lnTo>
                      <a:pt x="9818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12" name="Shape 2785"/>
              <p:cNvSpPr/>
              <p:nvPr/>
            </p:nvSpPr>
            <p:spPr>
              <a:xfrm>
                <a:off x="11321948" y="3531510"/>
                <a:ext cx="11555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21600" y="0"/>
                    </a:moveTo>
                    <a:lnTo>
                      <a:pt x="0" y="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13" name="Shape 2786"/>
              <p:cNvSpPr/>
              <p:nvPr/>
            </p:nvSpPr>
            <p:spPr>
              <a:xfrm>
                <a:off x="11314004" y="3522844"/>
                <a:ext cx="11555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14" name="Shape 2787"/>
              <p:cNvSpPr/>
              <p:nvPr/>
            </p:nvSpPr>
            <p:spPr>
              <a:xfrm>
                <a:off x="11297396" y="3480961"/>
                <a:ext cx="11555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21600" y="0"/>
                    </a:moveTo>
                    <a:lnTo>
                      <a:pt x="0" y="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15" name="Shape 2788"/>
              <p:cNvSpPr/>
              <p:nvPr/>
            </p:nvSpPr>
            <p:spPr>
              <a:xfrm>
                <a:off x="11321948" y="3595058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16" name="Shape 2789"/>
              <p:cNvSpPr/>
              <p:nvPr/>
            </p:nvSpPr>
            <p:spPr>
              <a:xfrm>
                <a:off x="11321948" y="3586393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17" name="Shape 2790"/>
              <p:cNvSpPr/>
              <p:nvPr/>
            </p:nvSpPr>
            <p:spPr>
              <a:xfrm>
                <a:off x="11321948" y="3587836"/>
                <a:ext cx="11555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18" name="Shape 2791"/>
              <p:cNvSpPr/>
              <p:nvPr/>
            </p:nvSpPr>
            <p:spPr>
              <a:xfrm>
                <a:off x="11653406" y="3454964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19" name="Shape 2792"/>
              <p:cNvSpPr/>
              <p:nvPr/>
            </p:nvSpPr>
            <p:spPr>
              <a:xfrm>
                <a:off x="11660628" y="3471573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20" name="Shape 2793"/>
              <p:cNvSpPr/>
              <p:nvPr/>
            </p:nvSpPr>
            <p:spPr>
              <a:xfrm>
                <a:off x="11348667" y="3085232"/>
                <a:ext cx="33219" cy="577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635" y="0"/>
                    </a:moveTo>
                    <a:lnTo>
                      <a:pt x="5635" y="3240"/>
                    </a:lnTo>
                    <a:lnTo>
                      <a:pt x="10330" y="3240"/>
                    </a:lnTo>
                    <a:lnTo>
                      <a:pt x="10330" y="6480"/>
                    </a:lnTo>
                    <a:lnTo>
                      <a:pt x="21600" y="6480"/>
                    </a:lnTo>
                    <a:lnTo>
                      <a:pt x="21600" y="21600"/>
                    </a:lnTo>
                    <a:lnTo>
                      <a:pt x="15965" y="21600"/>
                    </a:lnTo>
                    <a:lnTo>
                      <a:pt x="15965" y="15660"/>
                    </a:lnTo>
                    <a:lnTo>
                      <a:pt x="10330" y="15660"/>
                    </a:lnTo>
                    <a:lnTo>
                      <a:pt x="10330" y="9180"/>
                    </a:lnTo>
                    <a:lnTo>
                      <a:pt x="5635" y="9180"/>
                    </a:lnTo>
                    <a:lnTo>
                      <a:pt x="5635" y="3240"/>
                    </a:lnTo>
                    <a:lnTo>
                      <a:pt x="0" y="0"/>
                    </a:lnTo>
                    <a:lnTo>
                      <a:pt x="5635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21" name="Shape 2794"/>
              <p:cNvSpPr/>
              <p:nvPr/>
            </p:nvSpPr>
            <p:spPr>
              <a:xfrm>
                <a:off x="11430990" y="3267209"/>
                <a:ext cx="41885" cy="245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2662" y="0"/>
                    </a:lnTo>
                    <a:lnTo>
                      <a:pt x="12662" y="7624"/>
                    </a:lnTo>
                    <a:lnTo>
                      <a:pt x="21600" y="7624"/>
                    </a:lnTo>
                    <a:lnTo>
                      <a:pt x="21600" y="21600"/>
                    </a:lnTo>
                    <a:lnTo>
                      <a:pt x="17131" y="21600"/>
                    </a:lnTo>
                    <a:lnTo>
                      <a:pt x="17131" y="13976"/>
                    </a:lnTo>
                    <a:lnTo>
                      <a:pt x="8193" y="13976"/>
                    </a:lnTo>
                    <a:lnTo>
                      <a:pt x="8193" y="7624"/>
                    </a:lnTo>
                    <a:lnTo>
                      <a:pt x="4469" y="762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22" name="Shape 2795"/>
              <p:cNvSpPr/>
              <p:nvPr/>
            </p:nvSpPr>
            <p:spPr>
              <a:xfrm>
                <a:off x="11621632" y="3498292"/>
                <a:ext cx="31774" cy="245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13976"/>
                    </a:lnTo>
                    <a:lnTo>
                      <a:pt x="10800" y="13976"/>
                    </a:lnTo>
                    <a:lnTo>
                      <a:pt x="10800" y="21600"/>
                    </a:lnTo>
                    <a:lnTo>
                      <a:pt x="10800" y="13976"/>
                    </a:lnTo>
                    <a:lnTo>
                      <a:pt x="16691" y="13976"/>
                    </a:lnTo>
                    <a:lnTo>
                      <a:pt x="16691" y="21600"/>
                    </a:lnTo>
                    <a:lnTo>
                      <a:pt x="0" y="21600"/>
                    </a:lnTo>
                    <a:lnTo>
                      <a:pt x="0" y="13976"/>
                    </a:lnTo>
                    <a:lnTo>
                      <a:pt x="4909" y="13976"/>
                    </a:lnTo>
                    <a:lnTo>
                      <a:pt x="4909" y="6353"/>
                    </a:lnTo>
                    <a:lnTo>
                      <a:pt x="16691" y="6353"/>
                    </a:lnTo>
                    <a:lnTo>
                      <a:pt x="16691" y="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23" name="Shape 2796"/>
              <p:cNvSpPr/>
              <p:nvPr/>
            </p:nvSpPr>
            <p:spPr>
              <a:xfrm>
                <a:off x="11093033" y="3463629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24" name="Shape 2797"/>
              <p:cNvSpPr/>
              <p:nvPr/>
            </p:nvSpPr>
            <p:spPr>
              <a:xfrm>
                <a:off x="11107476" y="3438356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25" name="Shape 2798"/>
              <p:cNvSpPr/>
              <p:nvPr/>
            </p:nvSpPr>
            <p:spPr>
              <a:xfrm>
                <a:off x="10977491" y="3571950"/>
                <a:ext cx="24554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1782"/>
                    </a:moveTo>
                    <a:lnTo>
                      <a:pt x="6353" y="11782"/>
                    </a:lnTo>
                    <a:lnTo>
                      <a:pt x="6353" y="0"/>
                    </a:lnTo>
                    <a:lnTo>
                      <a:pt x="21600" y="0"/>
                    </a:lnTo>
                    <a:lnTo>
                      <a:pt x="21600" y="21600"/>
                    </a:lnTo>
                    <a:lnTo>
                      <a:pt x="6353" y="21600"/>
                    </a:lnTo>
                    <a:lnTo>
                      <a:pt x="6353" y="11782"/>
                    </a:lnTo>
                    <a:lnTo>
                      <a:pt x="0" y="11782"/>
                    </a:lnTo>
                    <a:lnTo>
                      <a:pt x="6353" y="11782"/>
                    </a:lnTo>
                    <a:lnTo>
                      <a:pt x="6353" y="0"/>
                    </a:lnTo>
                    <a:lnTo>
                      <a:pt x="0" y="1178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26" name="Shape 2799"/>
              <p:cNvSpPr/>
              <p:nvPr/>
            </p:nvSpPr>
            <p:spPr>
              <a:xfrm>
                <a:off x="10975325" y="3578449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27" name="Shape 2800"/>
              <p:cNvSpPr/>
              <p:nvPr/>
            </p:nvSpPr>
            <p:spPr>
              <a:xfrm>
                <a:off x="10968826" y="3578449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21600"/>
                    </a:moveTo>
                    <a:lnTo>
                      <a:pt x="0" y="0"/>
                    </a:lnTo>
                    <a:lnTo>
                      <a:pt x="0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28" name="Shape 2801"/>
              <p:cNvSpPr/>
              <p:nvPr/>
            </p:nvSpPr>
            <p:spPr>
              <a:xfrm>
                <a:off x="9846633" y="3465074"/>
                <a:ext cx="24554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353" y="0"/>
                    </a:moveTo>
                    <a:lnTo>
                      <a:pt x="6353" y="11782"/>
                    </a:lnTo>
                    <a:lnTo>
                      <a:pt x="0" y="11782"/>
                    </a:lnTo>
                    <a:lnTo>
                      <a:pt x="0" y="0"/>
                    </a:lnTo>
                    <a:lnTo>
                      <a:pt x="0" y="21600"/>
                    </a:lnTo>
                    <a:lnTo>
                      <a:pt x="13976" y="21600"/>
                    </a:lnTo>
                    <a:lnTo>
                      <a:pt x="13976" y="11782"/>
                    </a:lnTo>
                    <a:lnTo>
                      <a:pt x="6353" y="11782"/>
                    </a:lnTo>
                    <a:lnTo>
                      <a:pt x="21600" y="11782"/>
                    </a:lnTo>
                    <a:lnTo>
                      <a:pt x="21600" y="0"/>
                    </a:lnTo>
                    <a:lnTo>
                      <a:pt x="6353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29" name="Shape 2802"/>
              <p:cNvSpPr/>
              <p:nvPr/>
            </p:nvSpPr>
            <p:spPr>
              <a:xfrm>
                <a:off x="10118155" y="3265766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30" name="Shape 2803"/>
              <p:cNvSpPr/>
              <p:nvPr/>
            </p:nvSpPr>
            <p:spPr>
              <a:xfrm>
                <a:off x="10671307" y="3473739"/>
                <a:ext cx="66437" cy="4910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635" y="0"/>
                    </a:moveTo>
                    <a:lnTo>
                      <a:pt x="5635" y="10800"/>
                    </a:lnTo>
                    <a:lnTo>
                      <a:pt x="0" y="10800"/>
                    </a:lnTo>
                    <a:lnTo>
                      <a:pt x="0" y="13976"/>
                    </a:lnTo>
                    <a:lnTo>
                      <a:pt x="2817" y="13976"/>
                    </a:lnTo>
                    <a:lnTo>
                      <a:pt x="2817" y="17788"/>
                    </a:lnTo>
                    <a:lnTo>
                      <a:pt x="7983" y="17788"/>
                    </a:lnTo>
                    <a:lnTo>
                      <a:pt x="7983" y="21600"/>
                    </a:lnTo>
                    <a:lnTo>
                      <a:pt x="15965" y="21600"/>
                    </a:lnTo>
                    <a:lnTo>
                      <a:pt x="15965" y="17788"/>
                    </a:lnTo>
                    <a:lnTo>
                      <a:pt x="18783" y="17788"/>
                    </a:lnTo>
                    <a:lnTo>
                      <a:pt x="18783" y="10800"/>
                    </a:lnTo>
                    <a:lnTo>
                      <a:pt x="21600" y="10800"/>
                    </a:lnTo>
                    <a:lnTo>
                      <a:pt x="18783" y="10800"/>
                    </a:lnTo>
                    <a:lnTo>
                      <a:pt x="21600" y="10800"/>
                    </a:lnTo>
                    <a:lnTo>
                      <a:pt x="21600" y="3176"/>
                    </a:lnTo>
                    <a:lnTo>
                      <a:pt x="18783" y="0"/>
                    </a:lnTo>
                    <a:lnTo>
                      <a:pt x="5635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31" name="Shape 2804"/>
              <p:cNvSpPr/>
              <p:nvPr/>
            </p:nvSpPr>
            <p:spPr>
              <a:xfrm>
                <a:off x="10678528" y="3240491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32" name="Shape 2805"/>
              <p:cNvSpPr/>
              <p:nvPr/>
            </p:nvSpPr>
            <p:spPr>
              <a:xfrm>
                <a:off x="10686473" y="3248434"/>
                <a:ext cx="11555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33" name="Shape 2806"/>
              <p:cNvSpPr/>
              <p:nvPr/>
            </p:nvSpPr>
            <p:spPr>
              <a:xfrm>
                <a:off x="10191091" y="3267209"/>
                <a:ext cx="11555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34" name="Shape 2807"/>
              <p:cNvSpPr/>
              <p:nvPr/>
            </p:nvSpPr>
            <p:spPr>
              <a:xfrm>
                <a:off x="10207699" y="3273709"/>
                <a:ext cx="11555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35" name="Shape 2808"/>
              <p:cNvSpPr/>
              <p:nvPr/>
            </p:nvSpPr>
            <p:spPr>
              <a:xfrm>
                <a:off x="10160038" y="3265766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36" name="Shape 2809"/>
              <p:cNvSpPr/>
              <p:nvPr/>
            </p:nvSpPr>
            <p:spPr>
              <a:xfrm>
                <a:off x="10141263" y="3273709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37" name="Shape 2810"/>
              <p:cNvSpPr/>
              <p:nvPr/>
            </p:nvSpPr>
            <p:spPr>
              <a:xfrm>
                <a:off x="10108045" y="3291761"/>
                <a:ext cx="11555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38" name="Shape 2811"/>
              <p:cNvSpPr/>
              <p:nvPr/>
            </p:nvSpPr>
            <p:spPr>
              <a:xfrm>
                <a:off x="9654546" y="3908462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39" name="Shape 2812"/>
              <p:cNvSpPr/>
              <p:nvPr/>
            </p:nvSpPr>
            <p:spPr>
              <a:xfrm>
                <a:off x="9673322" y="3908462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40" name="Shape 2813"/>
              <p:cNvSpPr/>
              <p:nvPr/>
            </p:nvSpPr>
            <p:spPr>
              <a:xfrm>
                <a:off x="9680542" y="3908462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41" name="Shape 2814"/>
              <p:cNvSpPr/>
              <p:nvPr/>
            </p:nvSpPr>
            <p:spPr>
              <a:xfrm>
                <a:off x="9664656" y="3990786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42" name="Shape 2815"/>
              <p:cNvSpPr/>
              <p:nvPr/>
            </p:nvSpPr>
            <p:spPr>
              <a:xfrm>
                <a:off x="9654546" y="3990786"/>
                <a:ext cx="11555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43" name="Shape 2816"/>
              <p:cNvSpPr/>
              <p:nvPr/>
            </p:nvSpPr>
            <p:spPr>
              <a:xfrm>
                <a:off x="9679098" y="3974898"/>
                <a:ext cx="11555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44" name="Shape 2817"/>
              <p:cNvSpPr/>
              <p:nvPr/>
            </p:nvSpPr>
            <p:spPr>
              <a:xfrm>
                <a:off x="9679098" y="3966233"/>
                <a:ext cx="11555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45" name="Shape 2818"/>
              <p:cNvSpPr/>
              <p:nvPr/>
            </p:nvSpPr>
            <p:spPr>
              <a:xfrm>
                <a:off x="9679098" y="3959012"/>
                <a:ext cx="11555" cy="173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10800"/>
                    </a:lnTo>
                    <a:lnTo>
                      <a:pt x="21600" y="0"/>
                    </a:lnTo>
                    <a:lnTo>
                      <a:pt x="21600" y="21600"/>
                    </a:lnTo>
                    <a:lnTo>
                      <a:pt x="0" y="108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46" name="Shape 2819"/>
              <p:cNvSpPr/>
              <p:nvPr/>
            </p:nvSpPr>
            <p:spPr>
              <a:xfrm>
                <a:off x="9679098" y="3949625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47" name="Shape 2820"/>
              <p:cNvSpPr/>
              <p:nvPr/>
            </p:nvSpPr>
            <p:spPr>
              <a:xfrm>
                <a:off x="10184591" y="3340867"/>
                <a:ext cx="15888" cy="173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11782" y="0"/>
                    </a:lnTo>
                    <a:lnTo>
                      <a:pt x="11782" y="10800"/>
                    </a:lnTo>
                    <a:lnTo>
                      <a:pt x="0" y="10800"/>
                    </a:lnTo>
                    <a:lnTo>
                      <a:pt x="0" y="21600"/>
                    </a:lnTo>
                    <a:lnTo>
                      <a:pt x="11782" y="21600"/>
                    </a:lnTo>
                    <a:lnTo>
                      <a:pt x="11782" y="10800"/>
                    </a:lnTo>
                    <a:lnTo>
                      <a:pt x="21600" y="1080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48" name="Shape 2821"/>
              <p:cNvSpPr/>
              <p:nvPr/>
            </p:nvSpPr>
            <p:spPr>
              <a:xfrm>
                <a:off x="10151373" y="3273709"/>
                <a:ext cx="15888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11782" y="21600"/>
                    </a:lnTo>
                    <a:lnTo>
                      <a:pt x="11782" y="0"/>
                    </a:lnTo>
                    <a:lnTo>
                      <a:pt x="11782" y="21600"/>
                    </a:lnTo>
                    <a:lnTo>
                      <a:pt x="11782" y="0"/>
                    </a:lnTo>
                    <a:lnTo>
                      <a:pt x="21600" y="0"/>
                    </a:ln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49" name="Shape 2822"/>
              <p:cNvSpPr/>
              <p:nvPr/>
            </p:nvSpPr>
            <p:spPr>
              <a:xfrm>
                <a:off x="10135486" y="3218105"/>
                <a:ext cx="40440" cy="3177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6691"/>
                    </a:moveTo>
                    <a:lnTo>
                      <a:pt x="0" y="10800"/>
                    </a:lnTo>
                    <a:lnTo>
                      <a:pt x="3857" y="10800"/>
                    </a:lnTo>
                    <a:lnTo>
                      <a:pt x="3857" y="4909"/>
                    </a:lnTo>
                    <a:lnTo>
                      <a:pt x="13114" y="4909"/>
                    </a:lnTo>
                    <a:lnTo>
                      <a:pt x="13114" y="0"/>
                    </a:lnTo>
                    <a:lnTo>
                      <a:pt x="21600" y="0"/>
                    </a:lnTo>
                    <a:lnTo>
                      <a:pt x="21600" y="4909"/>
                    </a:lnTo>
                    <a:lnTo>
                      <a:pt x="16971" y="4909"/>
                    </a:lnTo>
                    <a:lnTo>
                      <a:pt x="16971" y="16691"/>
                    </a:lnTo>
                    <a:lnTo>
                      <a:pt x="8486" y="16691"/>
                    </a:lnTo>
                    <a:lnTo>
                      <a:pt x="8486" y="21600"/>
                    </a:lnTo>
                    <a:lnTo>
                      <a:pt x="8486" y="16691"/>
                    </a:lnTo>
                    <a:lnTo>
                      <a:pt x="13114" y="16691"/>
                    </a:lnTo>
                    <a:lnTo>
                      <a:pt x="13114" y="10800"/>
                    </a:lnTo>
                    <a:lnTo>
                      <a:pt x="8486" y="10800"/>
                    </a:lnTo>
                    <a:lnTo>
                      <a:pt x="8486" y="16691"/>
                    </a:lnTo>
                    <a:lnTo>
                      <a:pt x="3857" y="16691"/>
                    </a:lnTo>
                    <a:lnTo>
                      <a:pt x="3857" y="10800"/>
                    </a:lnTo>
                    <a:lnTo>
                      <a:pt x="3857" y="16691"/>
                    </a:lnTo>
                    <a:lnTo>
                      <a:pt x="0" y="1669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50" name="Shape 2823"/>
              <p:cNvSpPr/>
              <p:nvPr/>
            </p:nvSpPr>
            <p:spPr>
              <a:xfrm>
                <a:off x="10638090" y="3233991"/>
                <a:ext cx="24554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5247" y="0"/>
                    </a:lnTo>
                    <a:lnTo>
                      <a:pt x="15247" y="11782"/>
                    </a:lnTo>
                    <a:lnTo>
                      <a:pt x="21600" y="11782"/>
                    </a:lnTo>
                    <a:lnTo>
                      <a:pt x="15247" y="11782"/>
                    </a:lnTo>
                    <a:lnTo>
                      <a:pt x="15247" y="21600"/>
                    </a:lnTo>
                    <a:lnTo>
                      <a:pt x="21600" y="21600"/>
                    </a:lnTo>
                    <a:lnTo>
                      <a:pt x="15247" y="21600"/>
                    </a:lnTo>
                    <a:lnTo>
                      <a:pt x="7624" y="11782"/>
                    </a:lnTo>
                    <a:lnTo>
                      <a:pt x="0" y="1178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51" name="Shape 2824"/>
              <p:cNvSpPr/>
              <p:nvPr/>
            </p:nvSpPr>
            <p:spPr>
              <a:xfrm>
                <a:off x="10487886" y="3167555"/>
                <a:ext cx="11555" cy="17332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52" name="Shape 2825"/>
              <p:cNvSpPr/>
              <p:nvPr/>
            </p:nvSpPr>
            <p:spPr>
              <a:xfrm>
                <a:off x="10463333" y="3158168"/>
                <a:ext cx="11555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0" y="21600"/>
                    </a:lnTo>
                    <a:lnTo>
                      <a:pt x="0" y="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53" name="Shape 2826"/>
              <p:cNvSpPr/>
              <p:nvPr/>
            </p:nvSpPr>
            <p:spPr>
              <a:xfrm>
                <a:off x="10448890" y="3060680"/>
                <a:ext cx="33219" cy="245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3976"/>
                    </a:moveTo>
                    <a:lnTo>
                      <a:pt x="5635" y="7624"/>
                    </a:lnTo>
                    <a:lnTo>
                      <a:pt x="15965" y="7624"/>
                    </a:lnTo>
                    <a:lnTo>
                      <a:pt x="21600" y="0"/>
                    </a:lnTo>
                    <a:lnTo>
                      <a:pt x="21600" y="21600"/>
                    </a:lnTo>
                    <a:lnTo>
                      <a:pt x="15965" y="13976"/>
                    </a:lnTo>
                    <a:lnTo>
                      <a:pt x="21600" y="13976"/>
                    </a:lnTo>
                    <a:lnTo>
                      <a:pt x="0" y="1397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54" name="Shape 2827"/>
              <p:cNvSpPr/>
              <p:nvPr/>
            </p:nvSpPr>
            <p:spPr>
              <a:xfrm>
                <a:off x="10440225" y="3052014"/>
                <a:ext cx="17331" cy="173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0"/>
                    </a:lnTo>
                    <a:lnTo>
                      <a:pt x="21600" y="10800"/>
                    </a:lnTo>
                    <a:lnTo>
                      <a:pt x="10800" y="10800"/>
                    </a:lnTo>
                    <a:lnTo>
                      <a:pt x="10800" y="21600"/>
                    </a:lnTo>
                    <a:lnTo>
                      <a:pt x="0" y="21600"/>
                    </a:lnTo>
                    <a:lnTo>
                      <a:pt x="0" y="10800"/>
                    </a:lnTo>
                    <a:lnTo>
                      <a:pt x="10800" y="10800"/>
                    </a:lnTo>
                    <a:lnTo>
                      <a:pt x="108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55" name="Shape 2829"/>
              <p:cNvSpPr/>
              <p:nvPr/>
            </p:nvSpPr>
            <p:spPr>
              <a:xfrm>
                <a:off x="10183147" y="3307649"/>
                <a:ext cx="11555" cy="245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15247"/>
                    </a:lnTo>
                    <a:lnTo>
                      <a:pt x="21600" y="15247"/>
                    </a:lnTo>
                    <a:lnTo>
                      <a:pt x="0" y="15247"/>
                    </a:lnTo>
                    <a:lnTo>
                      <a:pt x="0" y="21600"/>
                    </a:lnTo>
                    <a:lnTo>
                      <a:pt x="0" y="7624"/>
                    </a:lnTo>
                    <a:lnTo>
                      <a:pt x="21600" y="7624"/>
                    </a:lnTo>
                    <a:lnTo>
                      <a:pt x="21600" y="0"/>
                    </a:lnTo>
                    <a:lnTo>
                      <a:pt x="21600" y="7624"/>
                    </a:lnTo>
                    <a:lnTo>
                      <a:pt x="0" y="762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56" name="Shape 2830"/>
              <p:cNvSpPr/>
              <p:nvPr/>
            </p:nvSpPr>
            <p:spPr>
              <a:xfrm>
                <a:off x="10135486" y="3316315"/>
                <a:ext cx="40440" cy="245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7624"/>
                    </a:lnTo>
                    <a:lnTo>
                      <a:pt x="3857" y="7624"/>
                    </a:lnTo>
                    <a:lnTo>
                      <a:pt x="0" y="7624"/>
                    </a:lnTo>
                    <a:lnTo>
                      <a:pt x="0" y="13976"/>
                    </a:lnTo>
                    <a:lnTo>
                      <a:pt x="16971" y="13976"/>
                    </a:lnTo>
                    <a:lnTo>
                      <a:pt x="16971" y="21600"/>
                    </a:lnTo>
                    <a:lnTo>
                      <a:pt x="21600" y="21600"/>
                    </a:lnTo>
                    <a:lnTo>
                      <a:pt x="21600" y="13976"/>
                    </a:lnTo>
                    <a:lnTo>
                      <a:pt x="16971" y="13976"/>
                    </a:lnTo>
                    <a:lnTo>
                      <a:pt x="16971" y="7624"/>
                    </a:lnTo>
                    <a:lnTo>
                      <a:pt x="21600" y="13976"/>
                    </a:lnTo>
                    <a:lnTo>
                      <a:pt x="21600" y="7624"/>
                    </a:lnTo>
                    <a:lnTo>
                      <a:pt x="16971" y="7624"/>
                    </a:lnTo>
                    <a:lnTo>
                      <a:pt x="21600" y="7624"/>
                    </a:lnTo>
                    <a:lnTo>
                      <a:pt x="21600" y="13976"/>
                    </a:lnTo>
                    <a:lnTo>
                      <a:pt x="21600" y="0"/>
                    </a:lnTo>
                    <a:lnTo>
                      <a:pt x="16971" y="0"/>
                    </a:lnTo>
                    <a:lnTo>
                      <a:pt x="16971" y="7624"/>
                    </a:lnTo>
                    <a:lnTo>
                      <a:pt x="13114" y="7624"/>
                    </a:lnTo>
                    <a:lnTo>
                      <a:pt x="13114" y="0"/>
                    </a:lnTo>
                    <a:lnTo>
                      <a:pt x="13114" y="7624"/>
                    </a:lnTo>
                    <a:lnTo>
                      <a:pt x="13114" y="0"/>
                    </a:lnTo>
                    <a:lnTo>
                      <a:pt x="13114" y="7624"/>
                    </a:lnTo>
                    <a:lnTo>
                      <a:pt x="8486" y="7624"/>
                    </a:lnTo>
                    <a:lnTo>
                      <a:pt x="8486" y="0"/>
                    </a:lnTo>
                    <a:lnTo>
                      <a:pt x="8486" y="7624"/>
                    </a:lnTo>
                    <a:lnTo>
                      <a:pt x="3857" y="7624"/>
                    </a:lnTo>
                    <a:lnTo>
                      <a:pt x="385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57" name="Shape 2831"/>
              <p:cNvSpPr/>
              <p:nvPr/>
            </p:nvSpPr>
            <p:spPr>
              <a:xfrm>
                <a:off x="9307923" y="3556063"/>
                <a:ext cx="11555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lnTo>
                      <a:pt x="0" y="9818"/>
                    </a:lnTo>
                    <a:lnTo>
                      <a:pt x="21600" y="9818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58" name="Shape 2832"/>
              <p:cNvSpPr/>
              <p:nvPr/>
            </p:nvSpPr>
            <p:spPr>
              <a:xfrm>
                <a:off x="9260262" y="3538732"/>
                <a:ext cx="64993" cy="4910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lnTo>
                      <a:pt x="2400" y="21600"/>
                    </a:lnTo>
                    <a:lnTo>
                      <a:pt x="2400" y="18424"/>
                    </a:lnTo>
                    <a:lnTo>
                      <a:pt x="2400" y="21600"/>
                    </a:lnTo>
                    <a:lnTo>
                      <a:pt x="0" y="21600"/>
                    </a:lnTo>
                    <a:lnTo>
                      <a:pt x="0" y="18424"/>
                    </a:lnTo>
                    <a:lnTo>
                      <a:pt x="2400" y="18424"/>
                    </a:lnTo>
                    <a:lnTo>
                      <a:pt x="2400" y="10800"/>
                    </a:lnTo>
                    <a:lnTo>
                      <a:pt x="5280" y="10800"/>
                    </a:lnTo>
                    <a:lnTo>
                      <a:pt x="5280" y="3812"/>
                    </a:lnTo>
                    <a:lnTo>
                      <a:pt x="8160" y="3812"/>
                    </a:lnTo>
                    <a:lnTo>
                      <a:pt x="11040" y="0"/>
                    </a:lnTo>
                    <a:lnTo>
                      <a:pt x="11040" y="3812"/>
                    </a:lnTo>
                    <a:lnTo>
                      <a:pt x="16320" y="3812"/>
                    </a:lnTo>
                    <a:lnTo>
                      <a:pt x="16320" y="0"/>
                    </a:lnTo>
                    <a:lnTo>
                      <a:pt x="16320" y="3812"/>
                    </a:lnTo>
                    <a:lnTo>
                      <a:pt x="19200" y="3812"/>
                    </a:lnTo>
                    <a:lnTo>
                      <a:pt x="19200" y="7624"/>
                    </a:lnTo>
                    <a:lnTo>
                      <a:pt x="16320" y="7624"/>
                    </a:lnTo>
                    <a:lnTo>
                      <a:pt x="16320" y="14612"/>
                    </a:lnTo>
                    <a:lnTo>
                      <a:pt x="13440" y="14612"/>
                    </a:lnTo>
                    <a:lnTo>
                      <a:pt x="19200" y="14612"/>
                    </a:lnTo>
                    <a:lnTo>
                      <a:pt x="19200" y="18424"/>
                    </a:lnTo>
                    <a:lnTo>
                      <a:pt x="19200" y="10800"/>
                    </a:lnTo>
                    <a:lnTo>
                      <a:pt x="21600" y="10800"/>
                    </a:lnTo>
                    <a:lnTo>
                      <a:pt x="21600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59" name="Shape 2833"/>
              <p:cNvSpPr/>
              <p:nvPr/>
            </p:nvSpPr>
            <p:spPr>
              <a:xfrm>
                <a:off x="9019071" y="4007395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60" name="Shape 2834"/>
              <p:cNvSpPr/>
              <p:nvPr/>
            </p:nvSpPr>
            <p:spPr>
              <a:xfrm>
                <a:off x="8987296" y="3967678"/>
                <a:ext cx="17331" cy="245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0800" y="0"/>
                    </a:lnTo>
                    <a:lnTo>
                      <a:pt x="10800" y="15247"/>
                    </a:lnTo>
                    <a:lnTo>
                      <a:pt x="21600" y="15247"/>
                    </a:lnTo>
                    <a:lnTo>
                      <a:pt x="21600" y="21600"/>
                    </a:lnTo>
                    <a:lnTo>
                      <a:pt x="10800" y="21600"/>
                    </a:lnTo>
                    <a:lnTo>
                      <a:pt x="10800" y="7624"/>
                    </a:lnTo>
                    <a:lnTo>
                      <a:pt x="0" y="762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61" name="Shape 2835"/>
              <p:cNvSpPr/>
              <p:nvPr/>
            </p:nvSpPr>
            <p:spPr>
              <a:xfrm>
                <a:off x="9664656" y="3927238"/>
                <a:ext cx="24554" cy="577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976" y="0"/>
                    </a:moveTo>
                    <a:lnTo>
                      <a:pt x="13976" y="2700"/>
                    </a:lnTo>
                    <a:lnTo>
                      <a:pt x="21600" y="2700"/>
                    </a:lnTo>
                    <a:lnTo>
                      <a:pt x="21600" y="9180"/>
                    </a:lnTo>
                    <a:lnTo>
                      <a:pt x="13976" y="9180"/>
                    </a:lnTo>
                    <a:lnTo>
                      <a:pt x="13976" y="15120"/>
                    </a:lnTo>
                    <a:lnTo>
                      <a:pt x="7624" y="15120"/>
                    </a:lnTo>
                    <a:lnTo>
                      <a:pt x="13976" y="15120"/>
                    </a:lnTo>
                    <a:lnTo>
                      <a:pt x="13976" y="18360"/>
                    </a:lnTo>
                    <a:lnTo>
                      <a:pt x="7624" y="18360"/>
                    </a:lnTo>
                    <a:lnTo>
                      <a:pt x="7624" y="21600"/>
                    </a:lnTo>
                    <a:lnTo>
                      <a:pt x="0" y="18360"/>
                    </a:lnTo>
                    <a:lnTo>
                      <a:pt x="7624" y="18360"/>
                    </a:lnTo>
                    <a:lnTo>
                      <a:pt x="7624" y="5940"/>
                    </a:lnTo>
                    <a:lnTo>
                      <a:pt x="13976" y="5940"/>
                    </a:lnTo>
                    <a:lnTo>
                      <a:pt x="13976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62" name="Shape 2836"/>
              <p:cNvSpPr/>
              <p:nvPr/>
            </p:nvSpPr>
            <p:spPr>
              <a:xfrm>
                <a:off x="10109489" y="3316315"/>
                <a:ext cx="17332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11782"/>
                    </a:lnTo>
                    <a:lnTo>
                      <a:pt x="10800" y="11782"/>
                    </a:lnTo>
                    <a:lnTo>
                      <a:pt x="21600" y="11782"/>
                    </a:lnTo>
                    <a:lnTo>
                      <a:pt x="21600" y="21600"/>
                    </a:lnTo>
                    <a:lnTo>
                      <a:pt x="10800" y="21600"/>
                    </a:lnTo>
                    <a:lnTo>
                      <a:pt x="10800" y="11782"/>
                    </a:lnTo>
                    <a:lnTo>
                      <a:pt x="0" y="11782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63" name="Shape 2837"/>
              <p:cNvSpPr/>
              <p:nvPr/>
            </p:nvSpPr>
            <p:spPr>
              <a:xfrm>
                <a:off x="9645880" y="3909907"/>
                <a:ext cx="11555" cy="173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0" y="108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64" name="Shape 2838"/>
              <p:cNvSpPr/>
              <p:nvPr/>
            </p:nvSpPr>
            <p:spPr>
              <a:xfrm>
                <a:off x="9731092" y="3556063"/>
                <a:ext cx="24554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9818"/>
                    </a:moveTo>
                    <a:lnTo>
                      <a:pt x="6353" y="0"/>
                    </a:lnTo>
                    <a:lnTo>
                      <a:pt x="21600" y="0"/>
                    </a:lnTo>
                    <a:lnTo>
                      <a:pt x="21600" y="9818"/>
                    </a:lnTo>
                    <a:lnTo>
                      <a:pt x="13976" y="9818"/>
                    </a:lnTo>
                    <a:lnTo>
                      <a:pt x="13976" y="21600"/>
                    </a:lnTo>
                    <a:lnTo>
                      <a:pt x="13976" y="9818"/>
                    </a:lnTo>
                    <a:lnTo>
                      <a:pt x="0" y="981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65" name="Shape 2839"/>
              <p:cNvSpPr/>
              <p:nvPr/>
            </p:nvSpPr>
            <p:spPr>
              <a:xfrm>
                <a:off x="9705095" y="3547398"/>
                <a:ext cx="17331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1782"/>
                    </a:moveTo>
                    <a:lnTo>
                      <a:pt x="10800" y="11782"/>
                    </a:lnTo>
                    <a:lnTo>
                      <a:pt x="10800" y="21600"/>
                    </a:lnTo>
                    <a:lnTo>
                      <a:pt x="0" y="21600"/>
                    </a:lnTo>
                    <a:lnTo>
                      <a:pt x="0" y="0"/>
                    </a:lnTo>
                    <a:lnTo>
                      <a:pt x="10800" y="0"/>
                    </a:lnTo>
                    <a:lnTo>
                      <a:pt x="10800" y="11782"/>
                    </a:lnTo>
                    <a:lnTo>
                      <a:pt x="21600" y="1178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66" name="Shape 2840"/>
              <p:cNvSpPr/>
              <p:nvPr/>
            </p:nvSpPr>
            <p:spPr>
              <a:xfrm>
                <a:off x="9846633" y="3605168"/>
                <a:ext cx="15888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11782"/>
                    </a:lnTo>
                    <a:lnTo>
                      <a:pt x="9818" y="11782"/>
                    </a:lnTo>
                    <a:lnTo>
                      <a:pt x="9818" y="21600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67" name="Shape 2841"/>
              <p:cNvSpPr/>
              <p:nvPr/>
            </p:nvSpPr>
            <p:spPr>
              <a:xfrm>
                <a:off x="9804749" y="3505514"/>
                <a:ext cx="15888" cy="173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11782" y="21600"/>
                    </a:lnTo>
                    <a:lnTo>
                      <a:pt x="11782" y="10800"/>
                    </a:lnTo>
                    <a:lnTo>
                      <a:pt x="21600" y="10800"/>
                    </a:lnTo>
                    <a:lnTo>
                      <a:pt x="11782" y="10800"/>
                    </a:lnTo>
                    <a:lnTo>
                      <a:pt x="1178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68" name="Shape 2842"/>
              <p:cNvSpPr/>
              <p:nvPr/>
            </p:nvSpPr>
            <p:spPr>
              <a:xfrm>
                <a:off x="9846633" y="3479517"/>
                <a:ext cx="15888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818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lnTo>
                      <a:pt x="9818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69" name="Shape 2843"/>
              <p:cNvSpPr/>
              <p:nvPr/>
            </p:nvSpPr>
            <p:spPr>
              <a:xfrm>
                <a:off x="9819192" y="3471573"/>
                <a:ext cx="11555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70" name="Shape 2844"/>
              <p:cNvSpPr/>
              <p:nvPr/>
            </p:nvSpPr>
            <p:spPr>
              <a:xfrm>
                <a:off x="9804749" y="3479517"/>
                <a:ext cx="15888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71" name="Shape 2845"/>
              <p:cNvSpPr/>
              <p:nvPr/>
            </p:nvSpPr>
            <p:spPr>
              <a:xfrm>
                <a:off x="9780196" y="3512735"/>
                <a:ext cx="15888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11782" y="21600"/>
                    </a:lnTo>
                    <a:lnTo>
                      <a:pt x="11782" y="0"/>
                    </a:lnTo>
                    <a:lnTo>
                      <a:pt x="0" y="0"/>
                    </a:lnTo>
                    <a:lnTo>
                      <a:pt x="0" y="21600"/>
                    </a:lnTo>
                    <a:lnTo>
                      <a:pt x="11782" y="21600"/>
                    </a:lnTo>
                    <a:lnTo>
                      <a:pt x="0" y="21600"/>
                    </a:lnTo>
                    <a:lnTo>
                      <a:pt x="0" y="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72" name="Shape 2846"/>
              <p:cNvSpPr/>
              <p:nvPr/>
            </p:nvSpPr>
            <p:spPr>
              <a:xfrm>
                <a:off x="9788863" y="3504069"/>
                <a:ext cx="15888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818" y="0"/>
                    </a:moveTo>
                    <a:lnTo>
                      <a:pt x="0" y="0"/>
                    </a:lnTo>
                    <a:lnTo>
                      <a:pt x="9818" y="21600"/>
                    </a:lnTo>
                    <a:lnTo>
                      <a:pt x="9818" y="0"/>
                    </a:lnTo>
                    <a:lnTo>
                      <a:pt x="21600" y="0"/>
                    </a:lnTo>
                    <a:lnTo>
                      <a:pt x="9818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73" name="Shape 2847"/>
              <p:cNvSpPr/>
              <p:nvPr/>
            </p:nvSpPr>
            <p:spPr>
              <a:xfrm>
                <a:off x="9836524" y="3578449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74" name="Shape 2848"/>
              <p:cNvSpPr/>
              <p:nvPr/>
            </p:nvSpPr>
            <p:spPr>
              <a:xfrm>
                <a:off x="9827857" y="3578449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75" name="Shape 2849"/>
              <p:cNvSpPr/>
              <p:nvPr/>
            </p:nvSpPr>
            <p:spPr>
              <a:xfrm>
                <a:off x="9804749" y="3553897"/>
                <a:ext cx="15888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782" y="0"/>
                    </a:lnTo>
                    <a:lnTo>
                      <a:pt x="0" y="0"/>
                    </a:lnTo>
                    <a:lnTo>
                      <a:pt x="11782" y="21600"/>
                    </a:ln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76" name="Shape 2850"/>
              <p:cNvSpPr/>
              <p:nvPr/>
            </p:nvSpPr>
            <p:spPr>
              <a:xfrm>
                <a:off x="9755644" y="3561840"/>
                <a:ext cx="15888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9818" y="0"/>
                    </a:lnTo>
                    <a:lnTo>
                      <a:pt x="9818" y="21600"/>
                    </a:lnTo>
                    <a:lnTo>
                      <a:pt x="0" y="0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77" name="Shape 2851"/>
              <p:cNvSpPr/>
              <p:nvPr/>
            </p:nvSpPr>
            <p:spPr>
              <a:xfrm>
                <a:off x="10118155" y="3273709"/>
                <a:ext cx="1733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10800" y="21600"/>
                    </a:lnTo>
                    <a:lnTo>
                      <a:pt x="10800" y="0"/>
                    </a:lnTo>
                    <a:lnTo>
                      <a:pt x="21600" y="0"/>
                    </a:lnTo>
                    <a:lnTo>
                      <a:pt x="21600" y="21600"/>
                    </a:lnTo>
                    <a:lnTo>
                      <a:pt x="21600" y="0"/>
                    </a:ln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78" name="Shape 2852"/>
              <p:cNvSpPr/>
              <p:nvPr/>
            </p:nvSpPr>
            <p:spPr>
              <a:xfrm>
                <a:off x="9936178" y="3218105"/>
                <a:ext cx="17332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0" y="0"/>
                    </a:lnTo>
                    <a:lnTo>
                      <a:pt x="0" y="9818"/>
                    </a:lnTo>
                    <a:lnTo>
                      <a:pt x="10800" y="9818"/>
                    </a:lnTo>
                    <a:lnTo>
                      <a:pt x="10800" y="21600"/>
                    </a:lnTo>
                    <a:lnTo>
                      <a:pt x="21600" y="21600"/>
                    </a:lnTo>
                    <a:lnTo>
                      <a:pt x="10800" y="21600"/>
                    </a:lnTo>
                    <a:lnTo>
                      <a:pt x="10800" y="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79" name="Shape 2853"/>
              <p:cNvSpPr/>
              <p:nvPr/>
            </p:nvSpPr>
            <p:spPr>
              <a:xfrm>
                <a:off x="10113100" y="3278042"/>
                <a:ext cx="11555" cy="11555"/>
              </a:xfrm>
              <a:prstGeom prst="ellipse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80" name="Shape 2854"/>
              <p:cNvSpPr/>
              <p:nvPr/>
            </p:nvSpPr>
            <p:spPr>
              <a:xfrm>
                <a:off x="10058940" y="3358198"/>
                <a:ext cx="11555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81" name="Shape 2855"/>
              <p:cNvSpPr/>
              <p:nvPr/>
            </p:nvSpPr>
            <p:spPr>
              <a:xfrm>
                <a:off x="10069050" y="3372641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21600"/>
                    </a:moveTo>
                    <a:lnTo>
                      <a:pt x="0" y="0"/>
                    </a:lnTo>
                    <a:lnTo>
                      <a:pt x="0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82" name="Shape 2856"/>
              <p:cNvSpPr/>
              <p:nvPr/>
            </p:nvSpPr>
            <p:spPr>
              <a:xfrm>
                <a:off x="10092158" y="3083789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83" name="Shape 2857"/>
              <p:cNvSpPr/>
              <p:nvPr/>
            </p:nvSpPr>
            <p:spPr>
              <a:xfrm>
                <a:off x="10042331" y="3160335"/>
                <a:ext cx="11555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21600" y="0"/>
                    </a:moveTo>
                    <a:lnTo>
                      <a:pt x="0" y="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84" name="Shape 2858"/>
              <p:cNvSpPr/>
              <p:nvPr/>
            </p:nvSpPr>
            <p:spPr>
              <a:xfrm>
                <a:off x="10011280" y="3190663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85" name="Shape 2859"/>
              <p:cNvSpPr/>
              <p:nvPr/>
            </p:nvSpPr>
            <p:spPr>
              <a:xfrm>
                <a:off x="9984561" y="3218105"/>
                <a:ext cx="11555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86" name="Shape 2860"/>
              <p:cNvSpPr/>
              <p:nvPr/>
            </p:nvSpPr>
            <p:spPr>
              <a:xfrm>
                <a:off x="9953509" y="3192108"/>
                <a:ext cx="15888" cy="173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782" y="21600"/>
                    </a:moveTo>
                    <a:lnTo>
                      <a:pt x="0" y="21600"/>
                    </a:lnTo>
                    <a:lnTo>
                      <a:pt x="11782" y="21600"/>
                    </a:lnTo>
                    <a:lnTo>
                      <a:pt x="0" y="10800"/>
                    </a:lnTo>
                    <a:lnTo>
                      <a:pt x="11782" y="10800"/>
                    </a:lnTo>
                    <a:lnTo>
                      <a:pt x="11782" y="0"/>
                    </a:lnTo>
                    <a:lnTo>
                      <a:pt x="21600" y="0"/>
                    </a:lnTo>
                    <a:lnTo>
                      <a:pt x="21600" y="21600"/>
                    </a:lnTo>
                    <a:lnTo>
                      <a:pt x="11782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87" name="Shape 2861"/>
              <p:cNvSpPr/>
              <p:nvPr/>
            </p:nvSpPr>
            <p:spPr>
              <a:xfrm>
                <a:off x="10207699" y="3257100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88" name="Shape 2862"/>
              <p:cNvSpPr/>
              <p:nvPr/>
            </p:nvSpPr>
            <p:spPr>
              <a:xfrm>
                <a:off x="9820637" y="3505514"/>
                <a:ext cx="17331" cy="173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10800" y="21600"/>
                    </a:lnTo>
                    <a:lnTo>
                      <a:pt x="10800" y="10800"/>
                    </a:lnTo>
                    <a:lnTo>
                      <a:pt x="10800" y="21600"/>
                    </a:lnTo>
                    <a:lnTo>
                      <a:pt x="21600" y="21600"/>
                    </a:lnTo>
                    <a:lnTo>
                      <a:pt x="21600" y="10800"/>
                    </a:lnTo>
                    <a:lnTo>
                      <a:pt x="10800" y="10800"/>
                    </a:lnTo>
                    <a:lnTo>
                      <a:pt x="108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89" name="Shape 2864"/>
              <p:cNvSpPr/>
              <p:nvPr/>
            </p:nvSpPr>
            <p:spPr>
              <a:xfrm>
                <a:off x="9034956" y="3941681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90" name="Shape 2865"/>
              <p:cNvSpPr/>
              <p:nvPr/>
            </p:nvSpPr>
            <p:spPr>
              <a:xfrm>
                <a:off x="9053732" y="3818919"/>
                <a:ext cx="15888" cy="245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782" y="0"/>
                    </a:moveTo>
                    <a:lnTo>
                      <a:pt x="11782" y="7624"/>
                    </a:lnTo>
                    <a:lnTo>
                      <a:pt x="0" y="7624"/>
                    </a:lnTo>
                    <a:lnTo>
                      <a:pt x="11782" y="15247"/>
                    </a:lnTo>
                    <a:lnTo>
                      <a:pt x="11782" y="21600"/>
                    </a:lnTo>
                    <a:lnTo>
                      <a:pt x="11782" y="7624"/>
                    </a:lnTo>
                    <a:lnTo>
                      <a:pt x="21600" y="7624"/>
                    </a:lnTo>
                    <a:lnTo>
                      <a:pt x="11782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91" name="Shape 2866"/>
              <p:cNvSpPr/>
              <p:nvPr/>
            </p:nvSpPr>
            <p:spPr>
              <a:xfrm>
                <a:off x="9052288" y="3794366"/>
                <a:ext cx="11555" cy="3321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5635"/>
                    </a:lnTo>
                    <a:lnTo>
                      <a:pt x="0" y="11270"/>
                    </a:lnTo>
                    <a:lnTo>
                      <a:pt x="0" y="21600"/>
                    </a:lnTo>
                    <a:lnTo>
                      <a:pt x="21600" y="15965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92" name="Shape 2867"/>
              <p:cNvSpPr/>
              <p:nvPr/>
            </p:nvSpPr>
            <p:spPr>
              <a:xfrm>
                <a:off x="9036401" y="3934460"/>
                <a:ext cx="17332" cy="173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lnTo>
                      <a:pt x="0" y="0"/>
                    </a:lnTo>
                    <a:lnTo>
                      <a:pt x="21600" y="0"/>
                    </a:lnTo>
                    <a:lnTo>
                      <a:pt x="21600" y="10800"/>
                    </a:lnTo>
                    <a:lnTo>
                      <a:pt x="10800" y="10800"/>
                    </a:lnTo>
                    <a:lnTo>
                      <a:pt x="10800" y="21600"/>
                    </a:lnTo>
                    <a:lnTo>
                      <a:pt x="10800" y="10800"/>
                    </a:lnTo>
                    <a:lnTo>
                      <a:pt x="0" y="108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93" name="Shape 2868"/>
              <p:cNvSpPr/>
              <p:nvPr/>
            </p:nvSpPr>
            <p:spPr>
              <a:xfrm>
                <a:off x="9606886" y="3473739"/>
                <a:ext cx="15888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9818"/>
                    </a:moveTo>
                    <a:lnTo>
                      <a:pt x="11782" y="21600"/>
                    </a:lnTo>
                    <a:lnTo>
                      <a:pt x="21600" y="21600"/>
                    </a:lnTo>
                    <a:lnTo>
                      <a:pt x="0" y="21600"/>
                    </a:lnTo>
                    <a:lnTo>
                      <a:pt x="0" y="9818"/>
                    </a:lnTo>
                    <a:lnTo>
                      <a:pt x="11782" y="9818"/>
                    </a:lnTo>
                    <a:lnTo>
                      <a:pt x="0" y="9818"/>
                    </a:lnTo>
                    <a:lnTo>
                      <a:pt x="11782" y="0"/>
                    </a:lnTo>
                    <a:lnTo>
                      <a:pt x="11782" y="9818"/>
                    </a:lnTo>
                    <a:lnTo>
                      <a:pt x="21600" y="981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94" name="Shape 2869"/>
              <p:cNvSpPr/>
              <p:nvPr/>
            </p:nvSpPr>
            <p:spPr>
              <a:xfrm>
                <a:off x="9549115" y="3654272"/>
                <a:ext cx="33219" cy="418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5965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4696" y="21600"/>
                    </a:lnTo>
                    <a:lnTo>
                      <a:pt x="4696" y="12662"/>
                    </a:lnTo>
                    <a:lnTo>
                      <a:pt x="0" y="12662"/>
                    </a:lnTo>
                    <a:lnTo>
                      <a:pt x="4696" y="8938"/>
                    </a:lnTo>
                    <a:lnTo>
                      <a:pt x="10330" y="8938"/>
                    </a:lnTo>
                    <a:lnTo>
                      <a:pt x="10330" y="4469"/>
                    </a:lnTo>
                    <a:lnTo>
                      <a:pt x="15965" y="4469"/>
                    </a:lnTo>
                    <a:lnTo>
                      <a:pt x="15965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95" name="Shape 2870"/>
              <p:cNvSpPr/>
              <p:nvPr/>
            </p:nvSpPr>
            <p:spPr>
              <a:xfrm>
                <a:off x="9482679" y="3696156"/>
                <a:ext cx="49106" cy="4044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3114"/>
                    </a:moveTo>
                    <a:lnTo>
                      <a:pt x="18424" y="13114"/>
                    </a:lnTo>
                    <a:lnTo>
                      <a:pt x="18424" y="17743"/>
                    </a:lnTo>
                    <a:lnTo>
                      <a:pt x="18424" y="13114"/>
                    </a:lnTo>
                    <a:lnTo>
                      <a:pt x="18424" y="17743"/>
                    </a:lnTo>
                    <a:lnTo>
                      <a:pt x="14612" y="17743"/>
                    </a:lnTo>
                    <a:lnTo>
                      <a:pt x="14612" y="21600"/>
                    </a:lnTo>
                    <a:lnTo>
                      <a:pt x="6988" y="21600"/>
                    </a:lnTo>
                    <a:lnTo>
                      <a:pt x="6988" y="17743"/>
                    </a:lnTo>
                    <a:lnTo>
                      <a:pt x="6988" y="21600"/>
                    </a:lnTo>
                    <a:lnTo>
                      <a:pt x="6988" y="17743"/>
                    </a:lnTo>
                    <a:lnTo>
                      <a:pt x="0" y="17743"/>
                    </a:lnTo>
                    <a:lnTo>
                      <a:pt x="0" y="13114"/>
                    </a:lnTo>
                    <a:lnTo>
                      <a:pt x="3812" y="13114"/>
                    </a:lnTo>
                    <a:lnTo>
                      <a:pt x="3812" y="8486"/>
                    </a:lnTo>
                    <a:lnTo>
                      <a:pt x="6988" y="8486"/>
                    </a:lnTo>
                    <a:lnTo>
                      <a:pt x="6988" y="3857"/>
                    </a:lnTo>
                    <a:lnTo>
                      <a:pt x="10800" y="3857"/>
                    </a:lnTo>
                    <a:lnTo>
                      <a:pt x="10800" y="0"/>
                    </a:lnTo>
                    <a:lnTo>
                      <a:pt x="14612" y="0"/>
                    </a:lnTo>
                    <a:lnTo>
                      <a:pt x="18424" y="3857"/>
                    </a:lnTo>
                    <a:lnTo>
                      <a:pt x="21600" y="3857"/>
                    </a:lnTo>
                    <a:lnTo>
                      <a:pt x="21600" y="1311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96" name="Shape 2871"/>
              <p:cNvSpPr/>
              <p:nvPr/>
            </p:nvSpPr>
            <p:spPr>
              <a:xfrm>
                <a:off x="9400356" y="3613834"/>
                <a:ext cx="33219" cy="3177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800"/>
                    </a:moveTo>
                    <a:lnTo>
                      <a:pt x="15965" y="10800"/>
                    </a:lnTo>
                    <a:lnTo>
                      <a:pt x="15965" y="4909"/>
                    </a:lnTo>
                    <a:lnTo>
                      <a:pt x="15965" y="10800"/>
                    </a:lnTo>
                    <a:lnTo>
                      <a:pt x="10330" y="16691"/>
                    </a:lnTo>
                    <a:lnTo>
                      <a:pt x="10330" y="21600"/>
                    </a:lnTo>
                    <a:lnTo>
                      <a:pt x="5635" y="21600"/>
                    </a:lnTo>
                    <a:lnTo>
                      <a:pt x="5635" y="16691"/>
                    </a:lnTo>
                    <a:lnTo>
                      <a:pt x="0" y="10800"/>
                    </a:lnTo>
                    <a:lnTo>
                      <a:pt x="0" y="4909"/>
                    </a:lnTo>
                    <a:lnTo>
                      <a:pt x="5635" y="4909"/>
                    </a:lnTo>
                    <a:lnTo>
                      <a:pt x="5635" y="0"/>
                    </a:lnTo>
                    <a:lnTo>
                      <a:pt x="10330" y="0"/>
                    </a:lnTo>
                    <a:lnTo>
                      <a:pt x="15965" y="4909"/>
                    </a:lnTo>
                    <a:lnTo>
                      <a:pt x="21600" y="4909"/>
                    </a:lnTo>
                    <a:lnTo>
                      <a:pt x="21600" y="108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97" name="Shape 2872"/>
              <p:cNvSpPr/>
              <p:nvPr/>
            </p:nvSpPr>
            <p:spPr>
              <a:xfrm>
                <a:off x="9076841" y="3759704"/>
                <a:ext cx="11555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98" name="Shape 2873"/>
              <p:cNvSpPr/>
              <p:nvPr/>
            </p:nvSpPr>
            <p:spPr>
              <a:xfrm>
                <a:off x="9474012" y="3619610"/>
                <a:ext cx="17332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21600" y="0"/>
                    </a:lnTo>
                    <a:lnTo>
                      <a:pt x="21600" y="21600"/>
                    </a:ln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599" name="Shape 2874"/>
              <p:cNvSpPr/>
              <p:nvPr/>
            </p:nvSpPr>
            <p:spPr>
              <a:xfrm>
                <a:off x="9482679" y="3580615"/>
                <a:ext cx="15888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9818"/>
                    </a:moveTo>
                    <a:lnTo>
                      <a:pt x="0" y="0"/>
                    </a:lnTo>
                    <a:lnTo>
                      <a:pt x="0" y="9818"/>
                    </a:lnTo>
                    <a:lnTo>
                      <a:pt x="21600" y="9818"/>
                    </a:lnTo>
                    <a:lnTo>
                      <a:pt x="21600" y="21600"/>
                    </a:lnTo>
                    <a:lnTo>
                      <a:pt x="11782" y="9818"/>
                    </a:lnTo>
                    <a:lnTo>
                      <a:pt x="0" y="981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00" name="Shape 2875"/>
              <p:cNvSpPr/>
              <p:nvPr/>
            </p:nvSpPr>
            <p:spPr>
              <a:xfrm>
                <a:off x="9449461" y="3580615"/>
                <a:ext cx="33219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15965" y="0"/>
                    </a:lnTo>
                    <a:lnTo>
                      <a:pt x="15965" y="9818"/>
                    </a:lnTo>
                    <a:lnTo>
                      <a:pt x="11270" y="9818"/>
                    </a:lnTo>
                    <a:lnTo>
                      <a:pt x="11270" y="0"/>
                    </a:lnTo>
                    <a:lnTo>
                      <a:pt x="5635" y="0"/>
                    </a:lnTo>
                    <a:lnTo>
                      <a:pt x="5635" y="21600"/>
                    </a:lnTo>
                    <a:lnTo>
                      <a:pt x="0" y="9818"/>
                    </a:lnTo>
                    <a:lnTo>
                      <a:pt x="5635" y="9818"/>
                    </a:lnTo>
                    <a:lnTo>
                      <a:pt x="5635" y="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01" name="Shape 2876"/>
              <p:cNvSpPr/>
              <p:nvPr/>
            </p:nvSpPr>
            <p:spPr>
              <a:xfrm>
                <a:off x="9622771" y="3603724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02" name="Shape 2880"/>
              <p:cNvSpPr/>
              <p:nvPr/>
            </p:nvSpPr>
            <p:spPr>
              <a:xfrm>
                <a:off x="9770087" y="3143003"/>
                <a:ext cx="11555" cy="173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10800"/>
                    </a:lnTo>
                    <a:lnTo>
                      <a:pt x="21600" y="10800"/>
                    </a:lnTo>
                    <a:lnTo>
                      <a:pt x="21600" y="21600"/>
                    </a:lnTo>
                    <a:lnTo>
                      <a:pt x="0" y="108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03" name="Shape 2881"/>
              <p:cNvSpPr/>
              <p:nvPr/>
            </p:nvSpPr>
            <p:spPr>
              <a:xfrm>
                <a:off x="9713760" y="3332201"/>
                <a:ext cx="17332" cy="173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0800" y="10800"/>
                    </a:lnTo>
                    <a:lnTo>
                      <a:pt x="21600" y="10800"/>
                    </a:lnTo>
                    <a:lnTo>
                      <a:pt x="21600" y="21600"/>
                    </a:lnTo>
                    <a:lnTo>
                      <a:pt x="10800" y="10800"/>
                    </a:lnTo>
                    <a:lnTo>
                      <a:pt x="0" y="108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04" name="Shape 2882"/>
              <p:cNvSpPr/>
              <p:nvPr/>
            </p:nvSpPr>
            <p:spPr>
              <a:xfrm>
                <a:off x="9738313" y="3330757"/>
                <a:ext cx="24554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5247" y="0"/>
                    </a:lnTo>
                    <a:lnTo>
                      <a:pt x="21600" y="21600"/>
                    </a:ln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05" name="Shape 2888"/>
              <p:cNvSpPr/>
              <p:nvPr/>
            </p:nvSpPr>
            <p:spPr>
              <a:xfrm>
                <a:off x="8591568" y="3531510"/>
                <a:ext cx="33219" cy="3177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5965" y="10800"/>
                    </a:moveTo>
                    <a:lnTo>
                      <a:pt x="15965" y="4909"/>
                    </a:lnTo>
                    <a:lnTo>
                      <a:pt x="21600" y="4909"/>
                    </a:lnTo>
                    <a:lnTo>
                      <a:pt x="15965" y="4909"/>
                    </a:lnTo>
                    <a:lnTo>
                      <a:pt x="21600" y="4909"/>
                    </a:lnTo>
                    <a:lnTo>
                      <a:pt x="21600" y="10800"/>
                    </a:lnTo>
                    <a:lnTo>
                      <a:pt x="15965" y="10800"/>
                    </a:lnTo>
                    <a:lnTo>
                      <a:pt x="21600" y="10800"/>
                    </a:lnTo>
                    <a:lnTo>
                      <a:pt x="21600" y="0"/>
                    </a:lnTo>
                    <a:lnTo>
                      <a:pt x="0" y="0"/>
                    </a:lnTo>
                    <a:lnTo>
                      <a:pt x="4696" y="4909"/>
                    </a:lnTo>
                    <a:lnTo>
                      <a:pt x="10330" y="4909"/>
                    </a:lnTo>
                    <a:lnTo>
                      <a:pt x="10330" y="21600"/>
                    </a:lnTo>
                    <a:lnTo>
                      <a:pt x="21600" y="21600"/>
                    </a:lnTo>
                    <a:lnTo>
                      <a:pt x="21600" y="10800"/>
                    </a:lnTo>
                    <a:lnTo>
                      <a:pt x="15965" y="108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06" name="Shape 2889"/>
              <p:cNvSpPr/>
              <p:nvPr/>
            </p:nvSpPr>
            <p:spPr>
              <a:xfrm>
                <a:off x="8399480" y="3712043"/>
                <a:ext cx="11555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21600" y="0"/>
                    </a:moveTo>
                    <a:lnTo>
                      <a:pt x="0" y="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07" name="Shape 2890"/>
              <p:cNvSpPr/>
              <p:nvPr/>
            </p:nvSpPr>
            <p:spPr>
              <a:xfrm>
                <a:off x="8531631" y="3809530"/>
                <a:ext cx="11555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08" name="Shape 2891"/>
              <p:cNvSpPr/>
              <p:nvPr/>
            </p:nvSpPr>
            <p:spPr>
              <a:xfrm>
                <a:off x="8944691" y="3933016"/>
                <a:ext cx="11555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lnTo>
                      <a:pt x="21600" y="21600"/>
                    </a:lnTo>
                    <a:lnTo>
                      <a:pt x="0" y="21600"/>
                    </a:lnTo>
                    <a:lnTo>
                      <a:pt x="0" y="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09" name="Shape 2892"/>
              <p:cNvSpPr/>
              <p:nvPr/>
            </p:nvSpPr>
            <p:spPr>
              <a:xfrm>
                <a:off x="8722996" y="3836250"/>
                <a:ext cx="17332" cy="3321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0" y="0"/>
                    </a:lnTo>
                    <a:lnTo>
                      <a:pt x="0" y="4696"/>
                    </a:lnTo>
                    <a:lnTo>
                      <a:pt x="10800" y="4696"/>
                    </a:lnTo>
                    <a:lnTo>
                      <a:pt x="10800" y="21600"/>
                    </a:lnTo>
                    <a:lnTo>
                      <a:pt x="21600" y="21600"/>
                    </a:lnTo>
                    <a:lnTo>
                      <a:pt x="10800" y="15965"/>
                    </a:lnTo>
                    <a:lnTo>
                      <a:pt x="21600" y="15965"/>
                    </a:lnTo>
                    <a:lnTo>
                      <a:pt x="10800" y="15965"/>
                    </a:lnTo>
                    <a:lnTo>
                      <a:pt x="21600" y="15965"/>
                    </a:lnTo>
                    <a:lnTo>
                      <a:pt x="21600" y="10330"/>
                    </a:lnTo>
                    <a:lnTo>
                      <a:pt x="10800" y="10330"/>
                    </a:lnTo>
                    <a:lnTo>
                      <a:pt x="108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10" name="Shape 2893"/>
              <p:cNvSpPr/>
              <p:nvPr/>
            </p:nvSpPr>
            <p:spPr>
              <a:xfrm>
                <a:off x="8499135" y="3850692"/>
                <a:ext cx="11555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11" name="Shape 2894"/>
              <p:cNvSpPr/>
              <p:nvPr/>
            </p:nvSpPr>
            <p:spPr>
              <a:xfrm>
                <a:off x="8624786" y="3859358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12" name="Shape 2895"/>
              <p:cNvSpPr/>
              <p:nvPr/>
            </p:nvSpPr>
            <p:spPr>
              <a:xfrm>
                <a:off x="8581458" y="3817474"/>
                <a:ext cx="11555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13" name="Shape 2896"/>
              <p:cNvSpPr/>
              <p:nvPr/>
            </p:nvSpPr>
            <p:spPr>
              <a:xfrm>
                <a:off x="8564850" y="3811697"/>
                <a:ext cx="11555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14" name="Shape 2897"/>
              <p:cNvSpPr/>
              <p:nvPr/>
            </p:nvSpPr>
            <p:spPr>
              <a:xfrm>
                <a:off x="8558350" y="3801588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15" name="Shape 2898"/>
              <p:cNvSpPr/>
              <p:nvPr/>
            </p:nvSpPr>
            <p:spPr>
              <a:xfrm>
                <a:off x="8393704" y="3784979"/>
                <a:ext cx="24554" cy="11555"/>
              </a:xfrm>
              <a:prstGeom prst="rect">
                <a:avLst/>
              </a:pr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16" name="Shape 2899"/>
              <p:cNvSpPr/>
              <p:nvPr/>
            </p:nvSpPr>
            <p:spPr>
              <a:xfrm>
                <a:off x="8327268" y="3701933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17" name="Shape 2941"/>
              <p:cNvSpPr/>
              <p:nvPr/>
            </p:nvSpPr>
            <p:spPr>
              <a:xfrm>
                <a:off x="8756214" y="3729375"/>
                <a:ext cx="57771" cy="982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940" y="0"/>
                    </a:moveTo>
                    <a:lnTo>
                      <a:pt x="12420" y="0"/>
                    </a:lnTo>
                    <a:lnTo>
                      <a:pt x="12420" y="3494"/>
                    </a:lnTo>
                    <a:lnTo>
                      <a:pt x="15660" y="5400"/>
                    </a:lnTo>
                    <a:lnTo>
                      <a:pt x="15660" y="10800"/>
                    </a:lnTo>
                    <a:lnTo>
                      <a:pt x="18360" y="10800"/>
                    </a:lnTo>
                    <a:lnTo>
                      <a:pt x="18360" y="14294"/>
                    </a:lnTo>
                    <a:lnTo>
                      <a:pt x="21600" y="14294"/>
                    </a:lnTo>
                    <a:lnTo>
                      <a:pt x="21600" y="19694"/>
                    </a:lnTo>
                    <a:lnTo>
                      <a:pt x="18360" y="19694"/>
                    </a:lnTo>
                    <a:lnTo>
                      <a:pt x="18360" y="21600"/>
                    </a:lnTo>
                    <a:lnTo>
                      <a:pt x="18360" y="19694"/>
                    </a:lnTo>
                    <a:lnTo>
                      <a:pt x="15660" y="19694"/>
                    </a:lnTo>
                    <a:lnTo>
                      <a:pt x="18360" y="21600"/>
                    </a:lnTo>
                    <a:lnTo>
                      <a:pt x="12420" y="21600"/>
                    </a:lnTo>
                    <a:lnTo>
                      <a:pt x="12420" y="19694"/>
                    </a:lnTo>
                    <a:lnTo>
                      <a:pt x="9180" y="19694"/>
                    </a:lnTo>
                    <a:lnTo>
                      <a:pt x="5940" y="18106"/>
                    </a:lnTo>
                    <a:lnTo>
                      <a:pt x="5940" y="16200"/>
                    </a:lnTo>
                    <a:lnTo>
                      <a:pt x="9180" y="16200"/>
                    </a:lnTo>
                    <a:lnTo>
                      <a:pt x="9180" y="14294"/>
                    </a:lnTo>
                    <a:lnTo>
                      <a:pt x="5940" y="14294"/>
                    </a:lnTo>
                    <a:lnTo>
                      <a:pt x="5940" y="12706"/>
                    </a:lnTo>
                    <a:lnTo>
                      <a:pt x="3240" y="12706"/>
                    </a:lnTo>
                    <a:lnTo>
                      <a:pt x="3240" y="10800"/>
                    </a:lnTo>
                    <a:lnTo>
                      <a:pt x="3240" y="12706"/>
                    </a:lnTo>
                    <a:lnTo>
                      <a:pt x="0" y="12706"/>
                    </a:lnTo>
                    <a:lnTo>
                      <a:pt x="0" y="1588"/>
                    </a:lnTo>
                    <a:lnTo>
                      <a:pt x="3240" y="3494"/>
                    </a:lnTo>
                    <a:lnTo>
                      <a:pt x="3240" y="5400"/>
                    </a:lnTo>
                    <a:lnTo>
                      <a:pt x="3240" y="0"/>
                    </a:lnTo>
                    <a:lnTo>
                      <a:pt x="5940" y="1588"/>
                    </a:lnTo>
                    <a:lnTo>
                      <a:pt x="594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18" name="Shape 2942"/>
              <p:cNvSpPr/>
              <p:nvPr/>
            </p:nvSpPr>
            <p:spPr>
              <a:xfrm>
                <a:off x="8712887" y="3678825"/>
                <a:ext cx="11555" cy="173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1600" y="10800"/>
                    </a:lnTo>
                    <a:lnTo>
                      <a:pt x="21600" y="21600"/>
                    </a:lnTo>
                    <a:lnTo>
                      <a:pt x="21600" y="10800"/>
                    </a:lnTo>
                    <a:lnTo>
                      <a:pt x="0" y="10800"/>
                    </a:lnTo>
                    <a:lnTo>
                      <a:pt x="21600" y="21600"/>
                    </a:ln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19" name="Shape 2943"/>
              <p:cNvSpPr/>
              <p:nvPr/>
            </p:nvSpPr>
            <p:spPr>
              <a:xfrm>
                <a:off x="8327268" y="3645607"/>
                <a:ext cx="90990" cy="751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600" y="0"/>
                    </a:moveTo>
                    <a:lnTo>
                      <a:pt x="15771" y="0"/>
                    </a:lnTo>
                    <a:lnTo>
                      <a:pt x="17486" y="2492"/>
                    </a:lnTo>
                    <a:lnTo>
                      <a:pt x="17486" y="7477"/>
                    </a:lnTo>
                    <a:lnTo>
                      <a:pt x="19543" y="7477"/>
                    </a:lnTo>
                    <a:lnTo>
                      <a:pt x="19543" y="12046"/>
                    </a:lnTo>
                    <a:lnTo>
                      <a:pt x="21600" y="12046"/>
                    </a:lnTo>
                    <a:lnTo>
                      <a:pt x="21600" y="16615"/>
                    </a:lnTo>
                    <a:lnTo>
                      <a:pt x="17486" y="16615"/>
                    </a:lnTo>
                    <a:lnTo>
                      <a:pt x="15771" y="19108"/>
                    </a:lnTo>
                    <a:lnTo>
                      <a:pt x="13714" y="21600"/>
                    </a:lnTo>
                    <a:lnTo>
                      <a:pt x="2057" y="21600"/>
                    </a:lnTo>
                    <a:lnTo>
                      <a:pt x="2057" y="19108"/>
                    </a:lnTo>
                    <a:lnTo>
                      <a:pt x="2057" y="21600"/>
                    </a:lnTo>
                    <a:lnTo>
                      <a:pt x="2057" y="19108"/>
                    </a:lnTo>
                    <a:lnTo>
                      <a:pt x="0" y="16615"/>
                    </a:lnTo>
                    <a:lnTo>
                      <a:pt x="0" y="12046"/>
                    </a:lnTo>
                    <a:lnTo>
                      <a:pt x="2057" y="12046"/>
                    </a:lnTo>
                    <a:lnTo>
                      <a:pt x="2057" y="7477"/>
                    </a:lnTo>
                    <a:lnTo>
                      <a:pt x="3771" y="7477"/>
                    </a:lnTo>
                    <a:lnTo>
                      <a:pt x="3771" y="4985"/>
                    </a:lnTo>
                    <a:lnTo>
                      <a:pt x="5829" y="2492"/>
                    </a:lnTo>
                    <a:lnTo>
                      <a:pt x="7886" y="2492"/>
                    </a:lnTo>
                    <a:lnTo>
                      <a:pt x="7886" y="0"/>
                    </a:lnTo>
                    <a:lnTo>
                      <a:pt x="9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20" name="Shape 2944"/>
              <p:cNvSpPr/>
              <p:nvPr/>
            </p:nvSpPr>
            <p:spPr>
              <a:xfrm>
                <a:off x="6303855" y="3951791"/>
                <a:ext cx="17332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21" name="Shape 2945"/>
              <p:cNvSpPr/>
              <p:nvPr/>
            </p:nvSpPr>
            <p:spPr>
              <a:xfrm>
                <a:off x="8591568" y="3349532"/>
                <a:ext cx="238305" cy="3379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665" y="12646"/>
                    </a:moveTo>
                    <a:lnTo>
                      <a:pt x="3665" y="12092"/>
                    </a:lnTo>
                    <a:lnTo>
                      <a:pt x="3665" y="12646"/>
                    </a:lnTo>
                    <a:lnTo>
                      <a:pt x="3665" y="12092"/>
                    </a:lnTo>
                    <a:lnTo>
                      <a:pt x="4451" y="12092"/>
                    </a:lnTo>
                    <a:lnTo>
                      <a:pt x="4451" y="11631"/>
                    </a:lnTo>
                    <a:lnTo>
                      <a:pt x="5236" y="11631"/>
                    </a:lnTo>
                    <a:lnTo>
                      <a:pt x="5236" y="11077"/>
                    </a:lnTo>
                    <a:lnTo>
                      <a:pt x="4451" y="11077"/>
                    </a:lnTo>
                    <a:lnTo>
                      <a:pt x="4451" y="11631"/>
                    </a:lnTo>
                    <a:lnTo>
                      <a:pt x="3665" y="11631"/>
                    </a:lnTo>
                    <a:lnTo>
                      <a:pt x="3665" y="11077"/>
                    </a:lnTo>
                    <a:lnTo>
                      <a:pt x="3665" y="11631"/>
                    </a:lnTo>
                    <a:lnTo>
                      <a:pt x="3665" y="11077"/>
                    </a:lnTo>
                    <a:lnTo>
                      <a:pt x="3011" y="11077"/>
                    </a:lnTo>
                    <a:lnTo>
                      <a:pt x="3665" y="11077"/>
                    </a:lnTo>
                    <a:lnTo>
                      <a:pt x="3011" y="11077"/>
                    </a:lnTo>
                    <a:lnTo>
                      <a:pt x="3011" y="11631"/>
                    </a:lnTo>
                    <a:lnTo>
                      <a:pt x="3011" y="11077"/>
                    </a:lnTo>
                    <a:lnTo>
                      <a:pt x="3011" y="11631"/>
                    </a:lnTo>
                    <a:lnTo>
                      <a:pt x="3011" y="11077"/>
                    </a:lnTo>
                    <a:lnTo>
                      <a:pt x="3011" y="11631"/>
                    </a:lnTo>
                    <a:lnTo>
                      <a:pt x="3011" y="11077"/>
                    </a:lnTo>
                    <a:lnTo>
                      <a:pt x="2225" y="11077"/>
                    </a:lnTo>
                    <a:lnTo>
                      <a:pt x="3011" y="11077"/>
                    </a:lnTo>
                    <a:lnTo>
                      <a:pt x="2225" y="11077"/>
                    </a:lnTo>
                    <a:lnTo>
                      <a:pt x="2225" y="10523"/>
                    </a:lnTo>
                    <a:lnTo>
                      <a:pt x="3011" y="10523"/>
                    </a:lnTo>
                    <a:lnTo>
                      <a:pt x="3011" y="9969"/>
                    </a:lnTo>
                    <a:lnTo>
                      <a:pt x="2225" y="9969"/>
                    </a:lnTo>
                    <a:lnTo>
                      <a:pt x="2225" y="10523"/>
                    </a:lnTo>
                    <a:lnTo>
                      <a:pt x="1440" y="10523"/>
                    </a:lnTo>
                    <a:lnTo>
                      <a:pt x="1440" y="9969"/>
                    </a:lnTo>
                    <a:lnTo>
                      <a:pt x="2225" y="9969"/>
                    </a:lnTo>
                    <a:lnTo>
                      <a:pt x="2225" y="9508"/>
                    </a:lnTo>
                    <a:lnTo>
                      <a:pt x="1440" y="9508"/>
                    </a:lnTo>
                    <a:lnTo>
                      <a:pt x="1440" y="10523"/>
                    </a:lnTo>
                    <a:lnTo>
                      <a:pt x="655" y="10523"/>
                    </a:lnTo>
                    <a:lnTo>
                      <a:pt x="655" y="9969"/>
                    </a:lnTo>
                    <a:lnTo>
                      <a:pt x="0" y="9969"/>
                    </a:lnTo>
                    <a:lnTo>
                      <a:pt x="0" y="7938"/>
                    </a:lnTo>
                    <a:lnTo>
                      <a:pt x="655" y="7385"/>
                    </a:lnTo>
                    <a:lnTo>
                      <a:pt x="655" y="6831"/>
                    </a:lnTo>
                    <a:lnTo>
                      <a:pt x="1440" y="6277"/>
                    </a:lnTo>
                    <a:lnTo>
                      <a:pt x="2225" y="5815"/>
                    </a:lnTo>
                    <a:lnTo>
                      <a:pt x="3665" y="5815"/>
                    </a:lnTo>
                    <a:lnTo>
                      <a:pt x="3665" y="6277"/>
                    </a:lnTo>
                    <a:lnTo>
                      <a:pt x="4451" y="6277"/>
                    </a:lnTo>
                    <a:lnTo>
                      <a:pt x="4451" y="6831"/>
                    </a:lnTo>
                    <a:lnTo>
                      <a:pt x="5236" y="6277"/>
                    </a:lnTo>
                    <a:lnTo>
                      <a:pt x="5236" y="5815"/>
                    </a:lnTo>
                    <a:lnTo>
                      <a:pt x="5891" y="5815"/>
                    </a:lnTo>
                    <a:lnTo>
                      <a:pt x="5891" y="5262"/>
                    </a:lnTo>
                    <a:lnTo>
                      <a:pt x="5891" y="5815"/>
                    </a:lnTo>
                    <a:lnTo>
                      <a:pt x="5891" y="5262"/>
                    </a:lnTo>
                    <a:lnTo>
                      <a:pt x="6676" y="5815"/>
                    </a:lnTo>
                    <a:lnTo>
                      <a:pt x="6676" y="5262"/>
                    </a:lnTo>
                    <a:lnTo>
                      <a:pt x="7462" y="5262"/>
                    </a:lnTo>
                    <a:lnTo>
                      <a:pt x="6676" y="5262"/>
                    </a:lnTo>
                    <a:lnTo>
                      <a:pt x="7462" y="4708"/>
                    </a:lnTo>
                    <a:lnTo>
                      <a:pt x="7462" y="4246"/>
                    </a:lnTo>
                    <a:lnTo>
                      <a:pt x="8902" y="4246"/>
                    </a:lnTo>
                    <a:lnTo>
                      <a:pt x="8902" y="3692"/>
                    </a:lnTo>
                    <a:lnTo>
                      <a:pt x="8247" y="3692"/>
                    </a:lnTo>
                    <a:lnTo>
                      <a:pt x="8247" y="4246"/>
                    </a:lnTo>
                    <a:lnTo>
                      <a:pt x="8247" y="3138"/>
                    </a:lnTo>
                    <a:lnTo>
                      <a:pt x="8902" y="3692"/>
                    </a:lnTo>
                    <a:lnTo>
                      <a:pt x="9687" y="3692"/>
                    </a:lnTo>
                    <a:lnTo>
                      <a:pt x="9687" y="3138"/>
                    </a:lnTo>
                    <a:lnTo>
                      <a:pt x="8247" y="3138"/>
                    </a:lnTo>
                    <a:lnTo>
                      <a:pt x="8247" y="2123"/>
                    </a:lnTo>
                    <a:lnTo>
                      <a:pt x="8902" y="2123"/>
                    </a:lnTo>
                    <a:lnTo>
                      <a:pt x="8902" y="1569"/>
                    </a:lnTo>
                    <a:lnTo>
                      <a:pt x="9687" y="2123"/>
                    </a:lnTo>
                    <a:lnTo>
                      <a:pt x="9687" y="1569"/>
                    </a:lnTo>
                    <a:lnTo>
                      <a:pt x="10473" y="1569"/>
                    </a:lnTo>
                    <a:lnTo>
                      <a:pt x="10473" y="2123"/>
                    </a:lnTo>
                    <a:lnTo>
                      <a:pt x="11127" y="2123"/>
                    </a:lnTo>
                    <a:lnTo>
                      <a:pt x="11127" y="2585"/>
                    </a:lnTo>
                    <a:lnTo>
                      <a:pt x="11127" y="2123"/>
                    </a:lnTo>
                    <a:lnTo>
                      <a:pt x="11913" y="2123"/>
                    </a:lnTo>
                    <a:lnTo>
                      <a:pt x="11127" y="2123"/>
                    </a:lnTo>
                    <a:lnTo>
                      <a:pt x="11127" y="1569"/>
                    </a:lnTo>
                    <a:lnTo>
                      <a:pt x="11913" y="1569"/>
                    </a:lnTo>
                    <a:lnTo>
                      <a:pt x="11913" y="554"/>
                    </a:lnTo>
                    <a:lnTo>
                      <a:pt x="12698" y="554"/>
                    </a:lnTo>
                    <a:lnTo>
                      <a:pt x="12698" y="0"/>
                    </a:lnTo>
                    <a:lnTo>
                      <a:pt x="13484" y="0"/>
                    </a:lnTo>
                    <a:lnTo>
                      <a:pt x="13484" y="554"/>
                    </a:lnTo>
                    <a:lnTo>
                      <a:pt x="13484" y="0"/>
                    </a:lnTo>
                    <a:lnTo>
                      <a:pt x="14924" y="0"/>
                    </a:lnTo>
                    <a:lnTo>
                      <a:pt x="14924" y="554"/>
                    </a:lnTo>
                    <a:lnTo>
                      <a:pt x="17935" y="554"/>
                    </a:lnTo>
                    <a:lnTo>
                      <a:pt x="17935" y="0"/>
                    </a:lnTo>
                    <a:lnTo>
                      <a:pt x="17935" y="554"/>
                    </a:lnTo>
                    <a:lnTo>
                      <a:pt x="18720" y="554"/>
                    </a:lnTo>
                    <a:lnTo>
                      <a:pt x="18720" y="1015"/>
                    </a:lnTo>
                    <a:lnTo>
                      <a:pt x="19375" y="1569"/>
                    </a:lnTo>
                    <a:lnTo>
                      <a:pt x="20160" y="1569"/>
                    </a:lnTo>
                    <a:lnTo>
                      <a:pt x="20160" y="2123"/>
                    </a:lnTo>
                    <a:lnTo>
                      <a:pt x="20945" y="2123"/>
                    </a:lnTo>
                    <a:lnTo>
                      <a:pt x="20945" y="2585"/>
                    </a:lnTo>
                    <a:lnTo>
                      <a:pt x="21600" y="2585"/>
                    </a:lnTo>
                    <a:lnTo>
                      <a:pt x="21600" y="4246"/>
                    </a:lnTo>
                    <a:lnTo>
                      <a:pt x="20945" y="4246"/>
                    </a:lnTo>
                    <a:lnTo>
                      <a:pt x="20945" y="3692"/>
                    </a:lnTo>
                    <a:lnTo>
                      <a:pt x="20160" y="3692"/>
                    </a:lnTo>
                    <a:lnTo>
                      <a:pt x="20160" y="4246"/>
                    </a:lnTo>
                    <a:lnTo>
                      <a:pt x="20945" y="4246"/>
                    </a:lnTo>
                    <a:lnTo>
                      <a:pt x="20160" y="4708"/>
                    </a:lnTo>
                    <a:lnTo>
                      <a:pt x="20160" y="4246"/>
                    </a:lnTo>
                    <a:lnTo>
                      <a:pt x="18720" y="4246"/>
                    </a:lnTo>
                    <a:lnTo>
                      <a:pt x="18720" y="4708"/>
                    </a:lnTo>
                    <a:lnTo>
                      <a:pt x="19375" y="4708"/>
                    </a:lnTo>
                    <a:lnTo>
                      <a:pt x="19375" y="5815"/>
                    </a:lnTo>
                    <a:lnTo>
                      <a:pt x="17935" y="5815"/>
                    </a:lnTo>
                    <a:lnTo>
                      <a:pt x="17935" y="5262"/>
                    </a:lnTo>
                    <a:lnTo>
                      <a:pt x="17149" y="5262"/>
                    </a:lnTo>
                    <a:lnTo>
                      <a:pt x="17149" y="5815"/>
                    </a:lnTo>
                    <a:lnTo>
                      <a:pt x="17935" y="5815"/>
                    </a:lnTo>
                    <a:lnTo>
                      <a:pt x="17935" y="6277"/>
                    </a:lnTo>
                    <a:lnTo>
                      <a:pt x="17149" y="6277"/>
                    </a:lnTo>
                    <a:lnTo>
                      <a:pt x="17149" y="5815"/>
                    </a:lnTo>
                    <a:lnTo>
                      <a:pt x="17149" y="6277"/>
                    </a:lnTo>
                    <a:lnTo>
                      <a:pt x="16364" y="6277"/>
                    </a:lnTo>
                    <a:lnTo>
                      <a:pt x="16364" y="6831"/>
                    </a:lnTo>
                    <a:lnTo>
                      <a:pt x="15709" y="6831"/>
                    </a:lnTo>
                    <a:lnTo>
                      <a:pt x="15709" y="6277"/>
                    </a:lnTo>
                    <a:lnTo>
                      <a:pt x="15709" y="7385"/>
                    </a:lnTo>
                    <a:lnTo>
                      <a:pt x="14924" y="7385"/>
                    </a:lnTo>
                    <a:lnTo>
                      <a:pt x="14924" y="6831"/>
                    </a:lnTo>
                    <a:lnTo>
                      <a:pt x="14138" y="6831"/>
                    </a:lnTo>
                    <a:lnTo>
                      <a:pt x="14924" y="6831"/>
                    </a:lnTo>
                    <a:lnTo>
                      <a:pt x="14924" y="7385"/>
                    </a:lnTo>
                    <a:lnTo>
                      <a:pt x="15709" y="7385"/>
                    </a:lnTo>
                    <a:lnTo>
                      <a:pt x="14924" y="7385"/>
                    </a:lnTo>
                    <a:lnTo>
                      <a:pt x="14924" y="8400"/>
                    </a:lnTo>
                    <a:lnTo>
                      <a:pt x="14138" y="8400"/>
                    </a:lnTo>
                    <a:lnTo>
                      <a:pt x="14924" y="8400"/>
                    </a:lnTo>
                    <a:lnTo>
                      <a:pt x="14924" y="8954"/>
                    </a:lnTo>
                    <a:lnTo>
                      <a:pt x="14138" y="8954"/>
                    </a:lnTo>
                    <a:lnTo>
                      <a:pt x="14138" y="9508"/>
                    </a:lnTo>
                    <a:lnTo>
                      <a:pt x="13484" y="9508"/>
                    </a:lnTo>
                    <a:lnTo>
                      <a:pt x="13484" y="10523"/>
                    </a:lnTo>
                    <a:lnTo>
                      <a:pt x="12698" y="10523"/>
                    </a:lnTo>
                    <a:lnTo>
                      <a:pt x="12698" y="11077"/>
                    </a:lnTo>
                    <a:lnTo>
                      <a:pt x="13484" y="11077"/>
                    </a:lnTo>
                    <a:lnTo>
                      <a:pt x="12698" y="11077"/>
                    </a:lnTo>
                    <a:lnTo>
                      <a:pt x="12698" y="13200"/>
                    </a:lnTo>
                    <a:lnTo>
                      <a:pt x="11913" y="13200"/>
                    </a:lnTo>
                    <a:lnTo>
                      <a:pt x="11913" y="17354"/>
                    </a:lnTo>
                    <a:lnTo>
                      <a:pt x="12698" y="17354"/>
                    </a:lnTo>
                    <a:lnTo>
                      <a:pt x="12698" y="19477"/>
                    </a:lnTo>
                    <a:lnTo>
                      <a:pt x="13484" y="19477"/>
                    </a:lnTo>
                    <a:lnTo>
                      <a:pt x="13484" y="20031"/>
                    </a:lnTo>
                    <a:lnTo>
                      <a:pt x="14138" y="20031"/>
                    </a:lnTo>
                    <a:lnTo>
                      <a:pt x="14138" y="20585"/>
                    </a:lnTo>
                    <a:lnTo>
                      <a:pt x="13484" y="20585"/>
                    </a:lnTo>
                    <a:lnTo>
                      <a:pt x="13484" y="21046"/>
                    </a:lnTo>
                    <a:lnTo>
                      <a:pt x="14138" y="21046"/>
                    </a:lnTo>
                    <a:lnTo>
                      <a:pt x="13484" y="21046"/>
                    </a:lnTo>
                    <a:lnTo>
                      <a:pt x="13484" y="21600"/>
                    </a:lnTo>
                    <a:lnTo>
                      <a:pt x="12698" y="21600"/>
                    </a:lnTo>
                    <a:lnTo>
                      <a:pt x="13484" y="21600"/>
                    </a:lnTo>
                    <a:lnTo>
                      <a:pt x="12698" y="21600"/>
                    </a:lnTo>
                    <a:lnTo>
                      <a:pt x="12698" y="21046"/>
                    </a:lnTo>
                    <a:lnTo>
                      <a:pt x="11913" y="21046"/>
                    </a:lnTo>
                    <a:lnTo>
                      <a:pt x="11913" y="20585"/>
                    </a:lnTo>
                    <a:lnTo>
                      <a:pt x="11913" y="21046"/>
                    </a:lnTo>
                    <a:lnTo>
                      <a:pt x="11913" y="20585"/>
                    </a:lnTo>
                    <a:lnTo>
                      <a:pt x="11127" y="20585"/>
                    </a:lnTo>
                    <a:lnTo>
                      <a:pt x="11127" y="20031"/>
                    </a:lnTo>
                    <a:lnTo>
                      <a:pt x="11127" y="20585"/>
                    </a:lnTo>
                    <a:lnTo>
                      <a:pt x="11913" y="21046"/>
                    </a:lnTo>
                    <a:lnTo>
                      <a:pt x="12698" y="21046"/>
                    </a:lnTo>
                    <a:lnTo>
                      <a:pt x="12698" y="21600"/>
                    </a:lnTo>
                    <a:lnTo>
                      <a:pt x="11913" y="21600"/>
                    </a:lnTo>
                    <a:lnTo>
                      <a:pt x="11913" y="21046"/>
                    </a:lnTo>
                    <a:lnTo>
                      <a:pt x="11127" y="21046"/>
                    </a:lnTo>
                    <a:lnTo>
                      <a:pt x="11127" y="20585"/>
                    </a:lnTo>
                    <a:lnTo>
                      <a:pt x="10473" y="20585"/>
                    </a:lnTo>
                    <a:lnTo>
                      <a:pt x="11127" y="20585"/>
                    </a:lnTo>
                    <a:lnTo>
                      <a:pt x="10473" y="20585"/>
                    </a:lnTo>
                    <a:lnTo>
                      <a:pt x="10473" y="20031"/>
                    </a:lnTo>
                    <a:lnTo>
                      <a:pt x="11127" y="20031"/>
                    </a:lnTo>
                    <a:lnTo>
                      <a:pt x="10473" y="20031"/>
                    </a:lnTo>
                    <a:lnTo>
                      <a:pt x="11127" y="20031"/>
                    </a:lnTo>
                    <a:lnTo>
                      <a:pt x="11127" y="19477"/>
                    </a:lnTo>
                    <a:lnTo>
                      <a:pt x="10473" y="19477"/>
                    </a:lnTo>
                    <a:lnTo>
                      <a:pt x="10473" y="20031"/>
                    </a:lnTo>
                    <a:lnTo>
                      <a:pt x="10473" y="19477"/>
                    </a:lnTo>
                    <a:lnTo>
                      <a:pt x="9687" y="19477"/>
                    </a:lnTo>
                    <a:lnTo>
                      <a:pt x="9687" y="20031"/>
                    </a:lnTo>
                    <a:lnTo>
                      <a:pt x="9687" y="19477"/>
                    </a:lnTo>
                    <a:lnTo>
                      <a:pt x="9687" y="20585"/>
                    </a:lnTo>
                    <a:lnTo>
                      <a:pt x="10473" y="20031"/>
                    </a:lnTo>
                    <a:lnTo>
                      <a:pt x="9687" y="20031"/>
                    </a:lnTo>
                    <a:lnTo>
                      <a:pt x="10473" y="20031"/>
                    </a:lnTo>
                    <a:lnTo>
                      <a:pt x="9687" y="20031"/>
                    </a:lnTo>
                    <a:lnTo>
                      <a:pt x="10473" y="20031"/>
                    </a:lnTo>
                    <a:lnTo>
                      <a:pt x="10473" y="20585"/>
                    </a:lnTo>
                    <a:lnTo>
                      <a:pt x="9687" y="20585"/>
                    </a:lnTo>
                    <a:lnTo>
                      <a:pt x="9687" y="20031"/>
                    </a:lnTo>
                    <a:lnTo>
                      <a:pt x="8902" y="20031"/>
                    </a:lnTo>
                    <a:lnTo>
                      <a:pt x="8902" y="20585"/>
                    </a:lnTo>
                    <a:lnTo>
                      <a:pt x="8902" y="19477"/>
                    </a:lnTo>
                    <a:lnTo>
                      <a:pt x="8247" y="19477"/>
                    </a:lnTo>
                    <a:lnTo>
                      <a:pt x="8247" y="20031"/>
                    </a:lnTo>
                    <a:lnTo>
                      <a:pt x="8902" y="20031"/>
                    </a:lnTo>
                    <a:lnTo>
                      <a:pt x="8247" y="20031"/>
                    </a:lnTo>
                    <a:lnTo>
                      <a:pt x="8247" y="20585"/>
                    </a:lnTo>
                    <a:lnTo>
                      <a:pt x="8902" y="20585"/>
                    </a:lnTo>
                    <a:lnTo>
                      <a:pt x="8247" y="20585"/>
                    </a:lnTo>
                    <a:lnTo>
                      <a:pt x="8247" y="20031"/>
                    </a:lnTo>
                    <a:lnTo>
                      <a:pt x="7462" y="20031"/>
                    </a:lnTo>
                    <a:lnTo>
                      <a:pt x="7462" y="19477"/>
                    </a:lnTo>
                    <a:lnTo>
                      <a:pt x="8247" y="19477"/>
                    </a:lnTo>
                    <a:lnTo>
                      <a:pt x="7462" y="19477"/>
                    </a:lnTo>
                    <a:lnTo>
                      <a:pt x="7462" y="18923"/>
                    </a:lnTo>
                    <a:lnTo>
                      <a:pt x="7462" y="19477"/>
                    </a:lnTo>
                    <a:lnTo>
                      <a:pt x="8247" y="19477"/>
                    </a:lnTo>
                    <a:lnTo>
                      <a:pt x="8247" y="20031"/>
                    </a:lnTo>
                    <a:lnTo>
                      <a:pt x="8247" y="18923"/>
                    </a:lnTo>
                    <a:lnTo>
                      <a:pt x="7462" y="18923"/>
                    </a:lnTo>
                    <a:lnTo>
                      <a:pt x="7462" y="18462"/>
                    </a:lnTo>
                    <a:lnTo>
                      <a:pt x="7462" y="18923"/>
                    </a:lnTo>
                    <a:lnTo>
                      <a:pt x="6676" y="18923"/>
                    </a:lnTo>
                    <a:lnTo>
                      <a:pt x="6676" y="17908"/>
                    </a:lnTo>
                    <a:lnTo>
                      <a:pt x="5891" y="17908"/>
                    </a:lnTo>
                    <a:lnTo>
                      <a:pt x="6676" y="18462"/>
                    </a:lnTo>
                    <a:lnTo>
                      <a:pt x="6676" y="18923"/>
                    </a:lnTo>
                    <a:lnTo>
                      <a:pt x="7462" y="18923"/>
                    </a:lnTo>
                    <a:lnTo>
                      <a:pt x="6676" y="18923"/>
                    </a:lnTo>
                    <a:lnTo>
                      <a:pt x="6676" y="19477"/>
                    </a:lnTo>
                    <a:lnTo>
                      <a:pt x="5891" y="19477"/>
                    </a:lnTo>
                    <a:lnTo>
                      <a:pt x="6676" y="19477"/>
                    </a:lnTo>
                    <a:lnTo>
                      <a:pt x="5891" y="19477"/>
                    </a:lnTo>
                    <a:lnTo>
                      <a:pt x="5891" y="18923"/>
                    </a:lnTo>
                    <a:lnTo>
                      <a:pt x="5236" y="18923"/>
                    </a:lnTo>
                    <a:lnTo>
                      <a:pt x="5236" y="17354"/>
                    </a:lnTo>
                    <a:lnTo>
                      <a:pt x="4451" y="17354"/>
                    </a:lnTo>
                    <a:lnTo>
                      <a:pt x="4451" y="17908"/>
                    </a:lnTo>
                    <a:lnTo>
                      <a:pt x="5236" y="17908"/>
                    </a:lnTo>
                    <a:lnTo>
                      <a:pt x="4451" y="17908"/>
                    </a:lnTo>
                    <a:lnTo>
                      <a:pt x="5236" y="17908"/>
                    </a:lnTo>
                    <a:lnTo>
                      <a:pt x="5236" y="18462"/>
                    </a:lnTo>
                    <a:lnTo>
                      <a:pt x="4451" y="18462"/>
                    </a:lnTo>
                    <a:lnTo>
                      <a:pt x="4451" y="17354"/>
                    </a:lnTo>
                    <a:lnTo>
                      <a:pt x="3665" y="17354"/>
                    </a:lnTo>
                    <a:lnTo>
                      <a:pt x="3665" y="16892"/>
                    </a:lnTo>
                    <a:lnTo>
                      <a:pt x="3665" y="17354"/>
                    </a:lnTo>
                    <a:lnTo>
                      <a:pt x="3011" y="17354"/>
                    </a:lnTo>
                    <a:lnTo>
                      <a:pt x="3011" y="16338"/>
                    </a:lnTo>
                    <a:lnTo>
                      <a:pt x="2225" y="16338"/>
                    </a:lnTo>
                    <a:lnTo>
                      <a:pt x="2225" y="15785"/>
                    </a:lnTo>
                    <a:lnTo>
                      <a:pt x="2225" y="16338"/>
                    </a:lnTo>
                    <a:lnTo>
                      <a:pt x="2225" y="15785"/>
                    </a:lnTo>
                    <a:lnTo>
                      <a:pt x="1440" y="15785"/>
                    </a:lnTo>
                    <a:lnTo>
                      <a:pt x="1440" y="15231"/>
                    </a:lnTo>
                    <a:lnTo>
                      <a:pt x="1440" y="15785"/>
                    </a:lnTo>
                    <a:lnTo>
                      <a:pt x="2225" y="15785"/>
                    </a:lnTo>
                    <a:lnTo>
                      <a:pt x="3011" y="16338"/>
                    </a:lnTo>
                    <a:lnTo>
                      <a:pt x="3011" y="15785"/>
                    </a:lnTo>
                    <a:lnTo>
                      <a:pt x="3665" y="15231"/>
                    </a:lnTo>
                    <a:lnTo>
                      <a:pt x="3011" y="15231"/>
                    </a:lnTo>
                    <a:lnTo>
                      <a:pt x="3011" y="14215"/>
                    </a:lnTo>
                    <a:lnTo>
                      <a:pt x="3665" y="14215"/>
                    </a:lnTo>
                    <a:lnTo>
                      <a:pt x="3665" y="14769"/>
                    </a:lnTo>
                    <a:lnTo>
                      <a:pt x="3665" y="14215"/>
                    </a:lnTo>
                    <a:lnTo>
                      <a:pt x="3665" y="14769"/>
                    </a:lnTo>
                    <a:lnTo>
                      <a:pt x="4451" y="14769"/>
                    </a:lnTo>
                    <a:lnTo>
                      <a:pt x="4451" y="15231"/>
                    </a:lnTo>
                    <a:lnTo>
                      <a:pt x="4451" y="14769"/>
                    </a:lnTo>
                    <a:lnTo>
                      <a:pt x="5236" y="14769"/>
                    </a:lnTo>
                    <a:lnTo>
                      <a:pt x="4451" y="14769"/>
                    </a:lnTo>
                    <a:lnTo>
                      <a:pt x="5236" y="14769"/>
                    </a:lnTo>
                    <a:lnTo>
                      <a:pt x="5236" y="15231"/>
                    </a:lnTo>
                    <a:lnTo>
                      <a:pt x="5891" y="14769"/>
                    </a:lnTo>
                    <a:lnTo>
                      <a:pt x="5236" y="14769"/>
                    </a:lnTo>
                    <a:lnTo>
                      <a:pt x="5236" y="14215"/>
                    </a:lnTo>
                    <a:lnTo>
                      <a:pt x="5891" y="14769"/>
                    </a:lnTo>
                    <a:lnTo>
                      <a:pt x="5891" y="14215"/>
                    </a:lnTo>
                    <a:lnTo>
                      <a:pt x="5236" y="14215"/>
                    </a:lnTo>
                    <a:lnTo>
                      <a:pt x="5891" y="14215"/>
                    </a:lnTo>
                    <a:lnTo>
                      <a:pt x="4451" y="14215"/>
                    </a:lnTo>
                    <a:lnTo>
                      <a:pt x="5236" y="13662"/>
                    </a:lnTo>
                    <a:lnTo>
                      <a:pt x="4451" y="13662"/>
                    </a:lnTo>
                    <a:lnTo>
                      <a:pt x="4451" y="14215"/>
                    </a:lnTo>
                    <a:lnTo>
                      <a:pt x="4451" y="13662"/>
                    </a:lnTo>
                    <a:lnTo>
                      <a:pt x="3665" y="13662"/>
                    </a:lnTo>
                    <a:lnTo>
                      <a:pt x="3665" y="13200"/>
                    </a:lnTo>
                    <a:lnTo>
                      <a:pt x="4451" y="13200"/>
                    </a:lnTo>
                    <a:lnTo>
                      <a:pt x="5236" y="12646"/>
                    </a:lnTo>
                    <a:lnTo>
                      <a:pt x="6676" y="12646"/>
                    </a:lnTo>
                    <a:lnTo>
                      <a:pt x="6676" y="12092"/>
                    </a:lnTo>
                    <a:lnTo>
                      <a:pt x="5891" y="12092"/>
                    </a:lnTo>
                    <a:lnTo>
                      <a:pt x="5891" y="12646"/>
                    </a:lnTo>
                    <a:lnTo>
                      <a:pt x="4451" y="12646"/>
                    </a:lnTo>
                    <a:lnTo>
                      <a:pt x="4451" y="13200"/>
                    </a:lnTo>
                    <a:lnTo>
                      <a:pt x="3665" y="1264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22" name="Shape 2946"/>
              <p:cNvSpPr/>
              <p:nvPr/>
            </p:nvSpPr>
            <p:spPr>
              <a:xfrm>
                <a:off x="8764879" y="3109784"/>
                <a:ext cx="593594" cy="2888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604" y="1296"/>
                    </a:moveTo>
                    <a:lnTo>
                      <a:pt x="18920" y="1296"/>
                    </a:lnTo>
                    <a:lnTo>
                      <a:pt x="19235" y="648"/>
                    </a:lnTo>
                    <a:lnTo>
                      <a:pt x="19813" y="648"/>
                    </a:lnTo>
                    <a:lnTo>
                      <a:pt x="19813" y="0"/>
                    </a:lnTo>
                    <a:lnTo>
                      <a:pt x="20128" y="648"/>
                    </a:lnTo>
                    <a:lnTo>
                      <a:pt x="20391" y="648"/>
                    </a:lnTo>
                    <a:lnTo>
                      <a:pt x="20391" y="0"/>
                    </a:lnTo>
                    <a:lnTo>
                      <a:pt x="21022" y="0"/>
                    </a:lnTo>
                    <a:lnTo>
                      <a:pt x="21022" y="648"/>
                    </a:lnTo>
                    <a:lnTo>
                      <a:pt x="21337" y="648"/>
                    </a:lnTo>
                    <a:lnTo>
                      <a:pt x="21337" y="1296"/>
                    </a:lnTo>
                    <a:lnTo>
                      <a:pt x="21600" y="1296"/>
                    </a:lnTo>
                    <a:lnTo>
                      <a:pt x="21600" y="3780"/>
                    </a:lnTo>
                    <a:lnTo>
                      <a:pt x="21337" y="3780"/>
                    </a:lnTo>
                    <a:lnTo>
                      <a:pt x="21337" y="4968"/>
                    </a:lnTo>
                    <a:lnTo>
                      <a:pt x="21022" y="4968"/>
                    </a:lnTo>
                    <a:lnTo>
                      <a:pt x="21022" y="5616"/>
                    </a:lnTo>
                    <a:lnTo>
                      <a:pt x="20707" y="5616"/>
                    </a:lnTo>
                    <a:lnTo>
                      <a:pt x="20707" y="6156"/>
                    </a:lnTo>
                    <a:lnTo>
                      <a:pt x="20391" y="6156"/>
                    </a:lnTo>
                    <a:lnTo>
                      <a:pt x="20391" y="6804"/>
                    </a:lnTo>
                    <a:lnTo>
                      <a:pt x="19498" y="6804"/>
                    </a:lnTo>
                    <a:lnTo>
                      <a:pt x="19498" y="7452"/>
                    </a:lnTo>
                    <a:lnTo>
                      <a:pt x="18604" y="7452"/>
                    </a:lnTo>
                    <a:lnTo>
                      <a:pt x="18604" y="8100"/>
                    </a:lnTo>
                    <a:lnTo>
                      <a:pt x="18604" y="7452"/>
                    </a:lnTo>
                    <a:lnTo>
                      <a:pt x="18604" y="8100"/>
                    </a:lnTo>
                    <a:lnTo>
                      <a:pt x="18289" y="8100"/>
                    </a:lnTo>
                    <a:lnTo>
                      <a:pt x="18289" y="7452"/>
                    </a:lnTo>
                    <a:lnTo>
                      <a:pt x="18289" y="8100"/>
                    </a:lnTo>
                    <a:lnTo>
                      <a:pt x="16818" y="8100"/>
                    </a:lnTo>
                    <a:lnTo>
                      <a:pt x="16502" y="8640"/>
                    </a:lnTo>
                    <a:lnTo>
                      <a:pt x="14715" y="8640"/>
                    </a:lnTo>
                    <a:lnTo>
                      <a:pt x="14400" y="9288"/>
                    </a:lnTo>
                    <a:lnTo>
                      <a:pt x="14400" y="8640"/>
                    </a:lnTo>
                    <a:lnTo>
                      <a:pt x="14715" y="8640"/>
                    </a:lnTo>
                    <a:lnTo>
                      <a:pt x="14715" y="8100"/>
                    </a:lnTo>
                    <a:lnTo>
                      <a:pt x="14400" y="8100"/>
                    </a:lnTo>
                    <a:lnTo>
                      <a:pt x="14400" y="8640"/>
                    </a:lnTo>
                    <a:lnTo>
                      <a:pt x="14085" y="8640"/>
                    </a:lnTo>
                    <a:lnTo>
                      <a:pt x="14085" y="9288"/>
                    </a:lnTo>
                    <a:lnTo>
                      <a:pt x="13822" y="9288"/>
                    </a:lnTo>
                    <a:lnTo>
                      <a:pt x="13822" y="8640"/>
                    </a:lnTo>
                    <a:lnTo>
                      <a:pt x="13507" y="8640"/>
                    </a:lnTo>
                    <a:lnTo>
                      <a:pt x="13507" y="9288"/>
                    </a:lnTo>
                    <a:lnTo>
                      <a:pt x="11982" y="9288"/>
                    </a:lnTo>
                    <a:lnTo>
                      <a:pt x="11982" y="9936"/>
                    </a:lnTo>
                    <a:lnTo>
                      <a:pt x="11982" y="9288"/>
                    </a:lnTo>
                    <a:lnTo>
                      <a:pt x="11982" y="9936"/>
                    </a:lnTo>
                    <a:lnTo>
                      <a:pt x="11720" y="9936"/>
                    </a:lnTo>
                    <a:lnTo>
                      <a:pt x="11720" y="10476"/>
                    </a:lnTo>
                    <a:lnTo>
                      <a:pt x="11404" y="10476"/>
                    </a:lnTo>
                    <a:lnTo>
                      <a:pt x="11404" y="9936"/>
                    </a:lnTo>
                    <a:lnTo>
                      <a:pt x="11089" y="9936"/>
                    </a:lnTo>
                    <a:lnTo>
                      <a:pt x="11089" y="10476"/>
                    </a:lnTo>
                    <a:lnTo>
                      <a:pt x="10511" y="10476"/>
                    </a:lnTo>
                    <a:lnTo>
                      <a:pt x="10511" y="11124"/>
                    </a:lnTo>
                    <a:lnTo>
                      <a:pt x="10196" y="11772"/>
                    </a:lnTo>
                    <a:lnTo>
                      <a:pt x="10196" y="10476"/>
                    </a:lnTo>
                    <a:lnTo>
                      <a:pt x="9880" y="10476"/>
                    </a:lnTo>
                    <a:lnTo>
                      <a:pt x="10196" y="11124"/>
                    </a:lnTo>
                    <a:lnTo>
                      <a:pt x="9618" y="11124"/>
                    </a:lnTo>
                    <a:lnTo>
                      <a:pt x="9618" y="11772"/>
                    </a:lnTo>
                    <a:lnTo>
                      <a:pt x="10196" y="11772"/>
                    </a:lnTo>
                    <a:lnTo>
                      <a:pt x="9880" y="12420"/>
                    </a:lnTo>
                    <a:lnTo>
                      <a:pt x="9880" y="12960"/>
                    </a:lnTo>
                    <a:lnTo>
                      <a:pt x="9880" y="12420"/>
                    </a:lnTo>
                    <a:lnTo>
                      <a:pt x="9302" y="12420"/>
                    </a:lnTo>
                    <a:lnTo>
                      <a:pt x="9302" y="12960"/>
                    </a:lnTo>
                    <a:lnTo>
                      <a:pt x="9618" y="12960"/>
                    </a:lnTo>
                    <a:lnTo>
                      <a:pt x="9302" y="12960"/>
                    </a:lnTo>
                    <a:lnTo>
                      <a:pt x="9302" y="13608"/>
                    </a:lnTo>
                    <a:lnTo>
                      <a:pt x="8987" y="12960"/>
                    </a:lnTo>
                    <a:lnTo>
                      <a:pt x="8724" y="12960"/>
                    </a:lnTo>
                    <a:lnTo>
                      <a:pt x="8724" y="12420"/>
                    </a:lnTo>
                    <a:lnTo>
                      <a:pt x="8724" y="14256"/>
                    </a:lnTo>
                    <a:lnTo>
                      <a:pt x="8409" y="14256"/>
                    </a:lnTo>
                    <a:lnTo>
                      <a:pt x="8409" y="13608"/>
                    </a:lnTo>
                    <a:lnTo>
                      <a:pt x="8093" y="12960"/>
                    </a:lnTo>
                    <a:lnTo>
                      <a:pt x="8093" y="12420"/>
                    </a:lnTo>
                    <a:lnTo>
                      <a:pt x="8093" y="12960"/>
                    </a:lnTo>
                    <a:lnTo>
                      <a:pt x="7778" y="12960"/>
                    </a:lnTo>
                    <a:lnTo>
                      <a:pt x="7778" y="14256"/>
                    </a:lnTo>
                    <a:lnTo>
                      <a:pt x="7515" y="14256"/>
                    </a:lnTo>
                    <a:lnTo>
                      <a:pt x="7515" y="14796"/>
                    </a:lnTo>
                    <a:lnTo>
                      <a:pt x="7515" y="14256"/>
                    </a:lnTo>
                    <a:lnTo>
                      <a:pt x="7200" y="14256"/>
                    </a:lnTo>
                    <a:lnTo>
                      <a:pt x="7200" y="13608"/>
                    </a:lnTo>
                    <a:lnTo>
                      <a:pt x="6885" y="13608"/>
                    </a:lnTo>
                    <a:lnTo>
                      <a:pt x="6885" y="12960"/>
                    </a:lnTo>
                    <a:lnTo>
                      <a:pt x="6885" y="16092"/>
                    </a:lnTo>
                    <a:lnTo>
                      <a:pt x="6622" y="16092"/>
                    </a:lnTo>
                    <a:lnTo>
                      <a:pt x="6885" y="16092"/>
                    </a:lnTo>
                    <a:lnTo>
                      <a:pt x="6307" y="16092"/>
                    </a:lnTo>
                    <a:lnTo>
                      <a:pt x="6307" y="15444"/>
                    </a:lnTo>
                    <a:lnTo>
                      <a:pt x="6307" y="16632"/>
                    </a:lnTo>
                    <a:lnTo>
                      <a:pt x="5991" y="16632"/>
                    </a:lnTo>
                    <a:lnTo>
                      <a:pt x="5991" y="16092"/>
                    </a:lnTo>
                    <a:lnTo>
                      <a:pt x="5991" y="16632"/>
                    </a:lnTo>
                    <a:lnTo>
                      <a:pt x="5676" y="16632"/>
                    </a:lnTo>
                    <a:lnTo>
                      <a:pt x="5991" y="16632"/>
                    </a:lnTo>
                    <a:lnTo>
                      <a:pt x="5991" y="17280"/>
                    </a:lnTo>
                    <a:lnTo>
                      <a:pt x="5413" y="17280"/>
                    </a:lnTo>
                    <a:lnTo>
                      <a:pt x="5413" y="14796"/>
                    </a:lnTo>
                    <a:lnTo>
                      <a:pt x="5098" y="14796"/>
                    </a:lnTo>
                    <a:lnTo>
                      <a:pt x="5413" y="15444"/>
                    </a:lnTo>
                    <a:lnTo>
                      <a:pt x="5098" y="15444"/>
                    </a:lnTo>
                    <a:lnTo>
                      <a:pt x="5098" y="16092"/>
                    </a:lnTo>
                    <a:lnTo>
                      <a:pt x="5098" y="15444"/>
                    </a:lnTo>
                    <a:lnTo>
                      <a:pt x="4782" y="15444"/>
                    </a:lnTo>
                    <a:lnTo>
                      <a:pt x="4782" y="16092"/>
                    </a:lnTo>
                    <a:lnTo>
                      <a:pt x="5098" y="16092"/>
                    </a:lnTo>
                    <a:lnTo>
                      <a:pt x="5098" y="17280"/>
                    </a:lnTo>
                    <a:lnTo>
                      <a:pt x="5413" y="17280"/>
                    </a:lnTo>
                    <a:lnTo>
                      <a:pt x="5413" y="17928"/>
                    </a:lnTo>
                    <a:lnTo>
                      <a:pt x="5098" y="17928"/>
                    </a:lnTo>
                    <a:lnTo>
                      <a:pt x="5098" y="18576"/>
                    </a:lnTo>
                    <a:lnTo>
                      <a:pt x="4782" y="18576"/>
                    </a:lnTo>
                    <a:lnTo>
                      <a:pt x="4782" y="19116"/>
                    </a:lnTo>
                    <a:lnTo>
                      <a:pt x="4782" y="17928"/>
                    </a:lnTo>
                    <a:lnTo>
                      <a:pt x="4467" y="17928"/>
                    </a:lnTo>
                    <a:lnTo>
                      <a:pt x="4467" y="17280"/>
                    </a:lnTo>
                    <a:lnTo>
                      <a:pt x="4204" y="17280"/>
                    </a:lnTo>
                    <a:lnTo>
                      <a:pt x="4204" y="16632"/>
                    </a:lnTo>
                    <a:lnTo>
                      <a:pt x="3889" y="16632"/>
                    </a:lnTo>
                    <a:lnTo>
                      <a:pt x="3889" y="17280"/>
                    </a:lnTo>
                    <a:lnTo>
                      <a:pt x="4204" y="17280"/>
                    </a:lnTo>
                    <a:lnTo>
                      <a:pt x="4204" y="17928"/>
                    </a:lnTo>
                    <a:lnTo>
                      <a:pt x="4467" y="17928"/>
                    </a:lnTo>
                    <a:lnTo>
                      <a:pt x="4467" y="19764"/>
                    </a:lnTo>
                    <a:lnTo>
                      <a:pt x="3889" y="19764"/>
                    </a:lnTo>
                    <a:lnTo>
                      <a:pt x="3889" y="19116"/>
                    </a:lnTo>
                    <a:lnTo>
                      <a:pt x="3574" y="19116"/>
                    </a:lnTo>
                    <a:lnTo>
                      <a:pt x="3574" y="18576"/>
                    </a:lnTo>
                    <a:lnTo>
                      <a:pt x="3574" y="19764"/>
                    </a:lnTo>
                    <a:lnTo>
                      <a:pt x="3889" y="19764"/>
                    </a:lnTo>
                    <a:lnTo>
                      <a:pt x="3889" y="20412"/>
                    </a:lnTo>
                    <a:lnTo>
                      <a:pt x="3574" y="20412"/>
                    </a:lnTo>
                    <a:lnTo>
                      <a:pt x="3574" y="20952"/>
                    </a:lnTo>
                    <a:lnTo>
                      <a:pt x="3311" y="20952"/>
                    </a:lnTo>
                    <a:lnTo>
                      <a:pt x="3311" y="21600"/>
                    </a:lnTo>
                    <a:lnTo>
                      <a:pt x="2996" y="21600"/>
                    </a:lnTo>
                    <a:lnTo>
                      <a:pt x="2996" y="20952"/>
                    </a:lnTo>
                    <a:lnTo>
                      <a:pt x="2996" y="21600"/>
                    </a:lnTo>
                    <a:lnTo>
                      <a:pt x="2365" y="21600"/>
                    </a:lnTo>
                    <a:lnTo>
                      <a:pt x="2365" y="20952"/>
                    </a:lnTo>
                    <a:lnTo>
                      <a:pt x="2102" y="20952"/>
                    </a:lnTo>
                    <a:lnTo>
                      <a:pt x="2102" y="19764"/>
                    </a:lnTo>
                    <a:lnTo>
                      <a:pt x="2365" y="19764"/>
                    </a:lnTo>
                    <a:lnTo>
                      <a:pt x="2102" y="19116"/>
                    </a:lnTo>
                    <a:lnTo>
                      <a:pt x="2102" y="20412"/>
                    </a:lnTo>
                    <a:lnTo>
                      <a:pt x="1787" y="20412"/>
                    </a:lnTo>
                    <a:lnTo>
                      <a:pt x="1787" y="19764"/>
                    </a:lnTo>
                    <a:lnTo>
                      <a:pt x="1472" y="19764"/>
                    </a:lnTo>
                    <a:lnTo>
                      <a:pt x="1472" y="18576"/>
                    </a:lnTo>
                    <a:lnTo>
                      <a:pt x="1209" y="18576"/>
                    </a:lnTo>
                    <a:lnTo>
                      <a:pt x="1209" y="17928"/>
                    </a:lnTo>
                    <a:lnTo>
                      <a:pt x="263" y="17928"/>
                    </a:lnTo>
                    <a:lnTo>
                      <a:pt x="263" y="18576"/>
                    </a:lnTo>
                    <a:lnTo>
                      <a:pt x="0" y="18576"/>
                    </a:lnTo>
                    <a:lnTo>
                      <a:pt x="0" y="17928"/>
                    </a:lnTo>
                    <a:lnTo>
                      <a:pt x="263" y="17928"/>
                    </a:lnTo>
                    <a:lnTo>
                      <a:pt x="263" y="17280"/>
                    </a:lnTo>
                    <a:lnTo>
                      <a:pt x="578" y="17280"/>
                    </a:lnTo>
                    <a:lnTo>
                      <a:pt x="263" y="17280"/>
                    </a:lnTo>
                    <a:lnTo>
                      <a:pt x="263" y="16632"/>
                    </a:lnTo>
                    <a:lnTo>
                      <a:pt x="1209" y="16632"/>
                    </a:lnTo>
                    <a:lnTo>
                      <a:pt x="1209" y="16092"/>
                    </a:lnTo>
                    <a:lnTo>
                      <a:pt x="1472" y="16092"/>
                    </a:lnTo>
                    <a:lnTo>
                      <a:pt x="1472" y="16632"/>
                    </a:lnTo>
                    <a:lnTo>
                      <a:pt x="2102" y="16632"/>
                    </a:lnTo>
                    <a:lnTo>
                      <a:pt x="2102" y="16092"/>
                    </a:lnTo>
                    <a:lnTo>
                      <a:pt x="1787" y="16632"/>
                    </a:lnTo>
                    <a:lnTo>
                      <a:pt x="1787" y="16092"/>
                    </a:lnTo>
                    <a:lnTo>
                      <a:pt x="578" y="16092"/>
                    </a:lnTo>
                    <a:lnTo>
                      <a:pt x="263" y="15444"/>
                    </a:lnTo>
                    <a:lnTo>
                      <a:pt x="263" y="14256"/>
                    </a:lnTo>
                    <a:lnTo>
                      <a:pt x="893" y="14256"/>
                    </a:lnTo>
                    <a:lnTo>
                      <a:pt x="1209" y="13608"/>
                    </a:lnTo>
                    <a:lnTo>
                      <a:pt x="1787" y="13608"/>
                    </a:lnTo>
                    <a:lnTo>
                      <a:pt x="1787" y="14256"/>
                    </a:lnTo>
                    <a:lnTo>
                      <a:pt x="1787" y="13608"/>
                    </a:lnTo>
                    <a:lnTo>
                      <a:pt x="2102" y="13608"/>
                    </a:lnTo>
                    <a:lnTo>
                      <a:pt x="1787" y="13608"/>
                    </a:lnTo>
                    <a:lnTo>
                      <a:pt x="1787" y="12960"/>
                    </a:lnTo>
                    <a:lnTo>
                      <a:pt x="2365" y="12960"/>
                    </a:lnTo>
                    <a:lnTo>
                      <a:pt x="2365" y="12420"/>
                    </a:lnTo>
                    <a:lnTo>
                      <a:pt x="2680" y="12420"/>
                    </a:lnTo>
                    <a:lnTo>
                      <a:pt x="2680" y="12960"/>
                    </a:lnTo>
                    <a:lnTo>
                      <a:pt x="2996" y="12960"/>
                    </a:lnTo>
                    <a:lnTo>
                      <a:pt x="2996" y="13608"/>
                    </a:lnTo>
                    <a:lnTo>
                      <a:pt x="3311" y="13608"/>
                    </a:lnTo>
                    <a:lnTo>
                      <a:pt x="3311" y="14796"/>
                    </a:lnTo>
                    <a:lnTo>
                      <a:pt x="3574" y="14796"/>
                    </a:lnTo>
                    <a:lnTo>
                      <a:pt x="3311" y="14256"/>
                    </a:lnTo>
                    <a:lnTo>
                      <a:pt x="3311" y="12960"/>
                    </a:lnTo>
                    <a:lnTo>
                      <a:pt x="2996" y="12960"/>
                    </a:lnTo>
                    <a:lnTo>
                      <a:pt x="2996" y="12420"/>
                    </a:lnTo>
                    <a:lnTo>
                      <a:pt x="2680" y="12420"/>
                    </a:lnTo>
                    <a:lnTo>
                      <a:pt x="2680" y="11772"/>
                    </a:lnTo>
                    <a:lnTo>
                      <a:pt x="2996" y="11772"/>
                    </a:lnTo>
                    <a:lnTo>
                      <a:pt x="2996" y="12420"/>
                    </a:lnTo>
                    <a:lnTo>
                      <a:pt x="2996" y="11772"/>
                    </a:lnTo>
                    <a:lnTo>
                      <a:pt x="2996" y="12420"/>
                    </a:lnTo>
                    <a:lnTo>
                      <a:pt x="3574" y="12420"/>
                    </a:lnTo>
                    <a:lnTo>
                      <a:pt x="3574" y="11772"/>
                    </a:lnTo>
                    <a:lnTo>
                      <a:pt x="3574" y="12420"/>
                    </a:lnTo>
                    <a:lnTo>
                      <a:pt x="3574" y="11772"/>
                    </a:lnTo>
                    <a:lnTo>
                      <a:pt x="3311" y="11772"/>
                    </a:lnTo>
                    <a:lnTo>
                      <a:pt x="3311" y="11124"/>
                    </a:lnTo>
                    <a:lnTo>
                      <a:pt x="4204" y="11124"/>
                    </a:lnTo>
                    <a:lnTo>
                      <a:pt x="4467" y="11772"/>
                    </a:lnTo>
                    <a:lnTo>
                      <a:pt x="4467" y="11124"/>
                    </a:lnTo>
                    <a:lnTo>
                      <a:pt x="4204" y="11124"/>
                    </a:lnTo>
                    <a:lnTo>
                      <a:pt x="4204" y="10476"/>
                    </a:lnTo>
                    <a:lnTo>
                      <a:pt x="3889" y="10476"/>
                    </a:lnTo>
                    <a:lnTo>
                      <a:pt x="3889" y="9288"/>
                    </a:lnTo>
                    <a:lnTo>
                      <a:pt x="4467" y="9288"/>
                    </a:lnTo>
                    <a:lnTo>
                      <a:pt x="4467" y="9936"/>
                    </a:lnTo>
                    <a:lnTo>
                      <a:pt x="5098" y="9936"/>
                    </a:lnTo>
                    <a:lnTo>
                      <a:pt x="5413" y="10476"/>
                    </a:lnTo>
                    <a:lnTo>
                      <a:pt x="5676" y="10476"/>
                    </a:lnTo>
                    <a:lnTo>
                      <a:pt x="5413" y="10476"/>
                    </a:lnTo>
                    <a:lnTo>
                      <a:pt x="5413" y="9288"/>
                    </a:lnTo>
                    <a:lnTo>
                      <a:pt x="5098" y="9288"/>
                    </a:lnTo>
                    <a:lnTo>
                      <a:pt x="5413" y="9288"/>
                    </a:lnTo>
                    <a:lnTo>
                      <a:pt x="5098" y="9288"/>
                    </a:lnTo>
                    <a:lnTo>
                      <a:pt x="5098" y="8640"/>
                    </a:lnTo>
                    <a:lnTo>
                      <a:pt x="4782" y="8640"/>
                    </a:lnTo>
                    <a:lnTo>
                      <a:pt x="4782" y="8100"/>
                    </a:lnTo>
                    <a:lnTo>
                      <a:pt x="5413" y="8100"/>
                    </a:lnTo>
                    <a:lnTo>
                      <a:pt x="5413" y="7452"/>
                    </a:lnTo>
                    <a:lnTo>
                      <a:pt x="5676" y="7452"/>
                    </a:lnTo>
                    <a:lnTo>
                      <a:pt x="5413" y="7452"/>
                    </a:lnTo>
                    <a:lnTo>
                      <a:pt x="5413" y="6804"/>
                    </a:lnTo>
                    <a:lnTo>
                      <a:pt x="5098" y="7452"/>
                    </a:lnTo>
                    <a:lnTo>
                      <a:pt x="5098" y="6804"/>
                    </a:lnTo>
                    <a:lnTo>
                      <a:pt x="5413" y="6156"/>
                    </a:lnTo>
                    <a:lnTo>
                      <a:pt x="5098" y="6156"/>
                    </a:lnTo>
                    <a:lnTo>
                      <a:pt x="5098" y="5616"/>
                    </a:lnTo>
                    <a:lnTo>
                      <a:pt x="5676" y="5616"/>
                    </a:lnTo>
                    <a:lnTo>
                      <a:pt x="5676" y="6156"/>
                    </a:lnTo>
                    <a:lnTo>
                      <a:pt x="5991" y="5616"/>
                    </a:lnTo>
                    <a:lnTo>
                      <a:pt x="5991" y="6156"/>
                    </a:lnTo>
                    <a:lnTo>
                      <a:pt x="5676" y="6156"/>
                    </a:lnTo>
                    <a:lnTo>
                      <a:pt x="5676" y="6804"/>
                    </a:lnTo>
                    <a:lnTo>
                      <a:pt x="6307" y="6804"/>
                    </a:lnTo>
                    <a:lnTo>
                      <a:pt x="6307" y="6156"/>
                    </a:lnTo>
                    <a:lnTo>
                      <a:pt x="6622" y="6156"/>
                    </a:lnTo>
                    <a:lnTo>
                      <a:pt x="6622" y="4968"/>
                    </a:lnTo>
                    <a:lnTo>
                      <a:pt x="7200" y="4968"/>
                    </a:lnTo>
                    <a:lnTo>
                      <a:pt x="7200" y="5616"/>
                    </a:lnTo>
                    <a:lnTo>
                      <a:pt x="7515" y="5616"/>
                    </a:lnTo>
                    <a:lnTo>
                      <a:pt x="7515" y="6156"/>
                    </a:lnTo>
                    <a:lnTo>
                      <a:pt x="7778" y="6156"/>
                    </a:lnTo>
                    <a:lnTo>
                      <a:pt x="7778" y="4320"/>
                    </a:lnTo>
                    <a:lnTo>
                      <a:pt x="8409" y="4320"/>
                    </a:lnTo>
                    <a:lnTo>
                      <a:pt x="8409" y="3780"/>
                    </a:lnTo>
                    <a:lnTo>
                      <a:pt x="9302" y="3780"/>
                    </a:lnTo>
                    <a:lnTo>
                      <a:pt x="9302" y="3132"/>
                    </a:lnTo>
                    <a:lnTo>
                      <a:pt x="10196" y="3132"/>
                    </a:lnTo>
                    <a:lnTo>
                      <a:pt x="10196" y="2484"/>
                    </a:lnTo>
                    <a:lnTo>
                      <a:pt x="10511" y="2484"/>
                    </a:lnTo>
                    <a:lnTo>
                      <a:pt x="10511" y="3132"/>
                    </a:lnTo>
                    <a:lnTo>
                      <a:pt x="11404" y="3132"/>
                    </a:lnTo>
                    <a:lnTo>
                      <a:pt x="11404" y="2484"/>
                    </a:lnTo>
                    <a:lnTo>
                      <a:pt x="11720" y="1836"/>
                    </a:lnTo>
                    <a:lnTo>
                      <a:pt x="11982" y="1836"/>
                    </a:lnTo>
                    <a:lnTo>
                      <a:pt x="11982" y="2484"/>
                    </a:lnTo>
                    <a:lnTo>
                      <a:pt x="12298" y="2484"/>
                    </a:lnTo>
                    <a:lnTo>
                      <a:pt x="11982" y="2484"/>
                    </a:lnTo>
                    <a:lnTo>
                      <a:pt x="11720" y="3132"/>
                    </a:lnTo>
                    <a:lnTo>
                      <a:pt x="12613" y="3132"/>
                    </a:lnTo>
                    <a:lnTo>
                      <a:pt x="12613" y="2484"/>
                    </a:lnTo>
                    <a:lnTo>
                      <a:pt x="12298" y="2484"/>
                    </a:lnTo>
                    <a:lnTo>
                      <a:pt x="12298" y="1836"/>
                    </a:lnTo>
                    <a:lnTo>
                      <a:pt x="12613" y="1836"/>
                    </a:lnTo>
                    <a:lnTo>
                      <a:pt x="12613" y="1296"/>
                    </a:lnTo>
                    <a:lnTo>
                      <a:pt x="13191" y="1296"/>
                    </a:lnTo>
                    <a:lnTo>
                      <a:pt x="13191" y="1836"/>
                    </a:lnTo>
                    <a:lnTo>
                      <a:pt x="13507" y="1296"/>
                    </a:lnTo>
                    <a:lnTo>
                      <a:pt x="13507" y="1836"/>
                    </a:lnTo>
                    <a:lnTo>
                      <a:pt x="13822" y="1836"/>
                    </a:lnTo>
                    <a:lnTo>
                      <a:pt x="13822" y="2484"/>
                    </a:lnTo>
                    <a:lnTo>
                      <a:pt x="14085" y="2484"/>
                    </a:lnTo>
                    <a:lnTo>
                      <a:pt x="14085" y="3132"/>
                    </a:lnTo>
                    <a:lnTo>
                      <a:pt x="14715" y="3132"/>
                    </a:lnTo>
                    <a:lnTo>
                      <a:pt x="14715" y="3780"/>
                    </a:lnTo>
                    <a:lnTo>
                      <a:pt x="15031" y="3132"/>
                    </a:lnTo>
                    <a:lnTo>
                      <a:pt x="15924" y="3132"/>
                    </a:lnTo>
                    <a:lnTo>
                      <a:pt x="15924" y="3780"/>
                    </a:lnTo>
                    <a:lnTo>
                      <a:pt x="16187" y="3780"/>
                    </a:lnTo>
                    <a:lnTo>
                      <a:pt x="16187" y="3132"/>
                    </a:lnTo>
                    <a:lnTo>
                      <a:pt x="16502" y="3132"/>
                    </a:lnTo>
                    <a:lnTo>
                      <a:pt x="16502" y="3780"/>
                    </a:lnTo>
                    <a:lnTo>
                      <a:pt x="16818" y="3780"/>
                    </a:lnTo>
                    <a:lnTo>
                      <a:pt x="16818" y="3132"/>
                    </a:lnTo>
                    <a:lnTo>
                      <a:pt x="16502" y="3132"/>
                    </a:lnTo>
                    <a:lnTo>
                      <a:pt x="16818" y="3132"/>
                    </a:lnTo>
                    <a:lnTo>
                      <a:pt x="16818" y="2484"/>
                    </a:lnTo>
                    <a:lnTo>
                      <a:pt x="17133" y="2484"/>
                    </a:lnTo>
                    <a:lnTo>
                      <a:pt x="17133" y="3132"/>
                    </a:lnTo>
                    <a:lnTo>
                      <a:pt x="17396" y="3132"/>
                    </a:lnTo>
                    <a:lnTo>
                      <a:pt x="17396" y="2484"/>
                    </a:lnTo>
                    <a:lnTo>
                      <a:pt x="18026" y="2484"/>
                    </a:lnTo>
                    <a:lnTo>
                      <a:pt x="18026" y="3132"/>
                    </a:lnTo>
                    <a:lnTo>
                      <a:pt x="18289" y="3132"/>
                    </a:lnTo>
                    <a:lnTo>
                      <a:pt x="18289" y="1296"/>
                    </a:lnTo>
                    <a:lnTo>
                      <a:pt x="18604" y="129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23" name="Shape 2947"/>
              <p:cNvSpPr/>
              <p:nvPr/>
            </p:nvSpPr>
            <p:spPr>
              <a:xfrm>
                <a:off x="11662072" y="2911921"/>
                <a:ext cx="157426" cy="8232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8716"/>
                    </a:moveTo>
                    <a:lnTo>
                      <a:pt x="0" y="13263"/>
                    </a:lnTo>
                    <a:lnTo>
                      <a:pt x="1189" y="13263"/>
                    </a:lnTo>
                    <a:lnTo>
                      <a:pt x="1189" y="17432"/>
                    </a:lnTo>
                    <a:lnTo>
                      <a:pt x="2378" y="17432"/>
                    </a:lnTo>
                    <a:lnTo>
                      <a:pt x="2378" y="21600"/>
                    </a:lnTo>
                    <a:lnTo>
                      <a:pt x="4558" y="21600"/>
                    </a:lnTo>
                    <a:lnTo>
                      <a:pt x="5747" y="19705"/>
                    </a:lnTo>
                    <a:lnTo>
                      <a:pt x="5747" y="21600"/>
                    </a:lnTo>
                    <a:lnTo>
                      <a:pt x="10305" y="21600"/>
                    </a:lnTo>
                    <a:lnTo>
                      <a:pt x="10305" y="19705"/>
                    </a:lnTo>
                    <a:lnTo>
                      <a:pt x="11295" y="21600"/>
                    </a:lnTo>
                    <a:lnTo>
                      <a:pt x="14664" y="21600"/>
                    </a:lnTo>
                    <a:lnTo>
                      <a:pt x="15853" y="19705"/>
                    </a:lnTo>
                    <a:lnTo>
                      <a:pt x="18231" y="19705"/>
                    </a:lnTo>
                    <a:lnTo>
                      <a:pt x="18231" y="17432"/>
                    </a:lnTo>
                    <a:lnTo>
                      <a:pt x="19222" y="17432"/>
                    </a:lnTo>
                    <a:lnTo>
                      <a:pt x="19222" y="13263"/>
                    </a:lnTo>
                    <a:lnTo>
                      <a:pt x="20411" y="13263"/>
                    </a:lnTo>
                    <a:lnTo>
                      <a:pt x="20411" y="10989"/>
                    </a:lnTo>
                    <a:lnTo>
                      <a:pt x="21600" y="8716"/>
                    </a:lnTo>
                    <a:lnTo>
                      <a:pt x="21600" y="4547"/>
                    </a:lnTo>
                    <a:lnTo>
                      <a:pt x="20411" y="4547"/>
                    </a:lnTo>
                    <a:lnTo>
                      <a:pt x="20411" y="0"/>
                    </a:lnTo>
                    <a:lnTo>
                      <a:pt x="19222" y="0"/>
                    </a:lnTo>
                    <a:lnTo>
                      <a:pt x="19222" y="2274"/>
                    </a:lnTo>
                    <a:lnTo>
                      <a:pt x="17042" y="2274"/>
                    </a:lnTo>
                    <a:lnTo>
                      <a:pt x="17042" y="0"/>
                    </a:lnTo>
                    <a:lnTo>
                      <a:pt x="15853" y="2274"/>
                    </a:lnTo>
                    <a:lnTo>
                      <a:pt x="14664" y="2274"/>
                    </a:lnTo>
                    <a:lnTo>
                      <a:pt x="14664" y="4547"/>
                    </a:lnTo>
                    <a:lnTo>
                      <a:pt x="12484" y="4547"/>
                    </a:lnTo>
                    <a:lnTo>
                      <a:pt x="12484" y="8716"/>
                    </a:lnTo>
                    <a:lnTo>
                      <a:pt x="10305" y="8716"/>
                    </a:lnTo>
                    <a:lnTo>
                      <a:pt x="10305" y="6442"/>
                    </a:lnTo>
                    <a:lnTo>
                      <a:pt x="9116" y="6442"/>
                    </a:lnTo>
                    <a:lnTo>
                      <a:pt x="9116" y="4547"/>
                    </a:lnTo>
                    <a:lnTo>
                      <a:pt x="7927" y="4547"/>
                    </a:lnTo>
                    <a:lnTo>
                      <a:pt x="7927" y="6442"/>
                    </a:lnTo>
                    <a:lnTo>
                      <a:pt x="5747" y="6442"/>
                    </a:lnTo>
                    <a:lnTo>
                      <a:pt x="5747" y="8716"/>
                    </a:lnTo>
                    <a:lnTo>
                      <a:pt x="4558" y="8716"/>
                    </a:lnTo>
                    <a:lnTo>
                      <a:pt x="4558" y="10989"/>
                    </a:lnTo>
                    <a:lnTo>
                      <a:pt x="5747" y="10989"/>
                    </a:lnTo>
                    <a:lnTo>
                      <a:pt x="4558" y="10989"/>
                    </a:lnTo>
                    <a:lnTo>
                      <a:pt x="5747" y="10989"/>
                    </a:lnTo>
                    <a:lnTo>
                      <a:pt x="5747" y="13263"/>
                    </a:lnTo>
                    <a:lnTo>
                      <a:pt x="2378" y="13263"/>
                    </a:lnTo>
                    <a:lnTo>
                      <a:pt x="2378" y="10989"/>
                    </a:lnTo>
                    <a:lnTo>
                      <a:pt x="1189" y="10989"/>
                    </a:lnTo>
                    <a:lnTo>
                      <a:pt x="1189" y="8716"/>
                    </a:lnTo>
                    <a:lnTo>
                      <a:pt x="0" y="8716"/>
                    </a:lnTo>
                    <a:lnTo>
                      <a:pt x="0" y="10989"/>
                    </a:lnTo>
                    <a:lnTo>
                      <a:pt x="0" y="871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24" name="Shape 2948"/>
              <p:cNvSpPr/>
              <p:nvPr/>
            </p:nvSpPr>
            <p:spPr>
              <a:xfrm>
                <a:off x="11397773" y="2969692"/>
                <a:ext cx="248414" cy="19786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35" y="16239"/>
                    </a:moveTo>
                    <a:lnTo>
                      <a:pt x="1507" y="16239"/>
                    </a:lnTo>
                    <a:lnTo>
                      <a:pt x="1507" y="17185"/>
                    </a:lnTo>
                    <a:lnTo>
                      <a:pt x="2135" y="17185"/>
                    </a:lnTo>
                    <a:lnTo>
                      <a:pt x="2135" y="17974"/>
                    </a:lnTo>
                    <a:lnTo>
                      <a:pt x="2888" y="17974"/>
                    </a:lnTo>
                    <a:lnTo>
                      <a:pt x="2888" y="18920"/>
                    </a:lnTo>
                    <a:lnTo>
                      <a:pt x="3642" y="18920"/>
                    </a:lnTo>
                    <a:lnTo>
                      <a:pt x="3642" y="19866"/>
                    </a:lnTo>
                    <a:lnTo>
                      <a:pt x="5777" y="19866"/>
                    </a:lnTo>
                    <a:lnTo>
                      <a:pt x="5777" y="20812"/>
                    </a:lnTo>
                    <a:lnTo>
                      <a:pt x="6530" y="20812"/>
                    </a:lnTo>
                    <a:lnTo>
                      <a:pt x="7158" y="21600"/>
                    </a:lnTo>
                    <a:lnTo>
                      <a:pt x="10800" y="21600"/>
                    </a:lnTo>
                    <a:lnTo>
                      <a:pt x="10800" y="17974"/>
                    </a:lnTo>
                    <a:lnTo>
                      <a:pt x="10047" y="17974"/>
                    </a:lnTo>
                    <a:lnTo>
                      <a:pt x="10047" y="17185"/>
                    </a:lnTo>
                    <a:lnTo>
                      <a:pt x="10800" y="17185"/>
                    </a:lnTo>
                    <a:lnTo>
                      <a:pt x="10800" y="16239"/>
                    </a:lnTo>
                    <a:lnTo>
                      <a:pt x="10800" y="17185"/>
                    </a:lnTo>
                    <a:lnTo>
                      <a:pt x="11553" y="17185"/>
                    </a:lnTo>
                    <a:lnTo>
                      <a:pt x="11553" y="17974"/>
                    </a:lnTo>
                    <a:lnTo>
                      <a:pt x="12181" y="17974"/>
                    </a:lnTo>
                    <a:lnTo>
                      <a:pt x="12181" y="17185"/>
                    </a:lnTo>
                    <a:lnTo>
                      <a:pt x="12935" y="17185"/>
                    </a:lnTo>
                    <a:lnTo>
                      <a:pt x="12935" y="16239"/>
                    </a:lnTo>
                    <a:lnTo>
                      <a:pt x="13688" y="15293"/>
                    </a:lnTo>
                    <a:lnTo>
                      <a:pt x="14442" y="15293"/>
                    </a:lnTo>
                    <a:lnTo>
                      <a:pt x="14442" y="14505"/>
                    </a:lnTo>
                    <a:lnTo>
                      <a:pt x="15070" y="14505"/>
                    </a:lnTo>
                    <a:lnTo>
                      <a:pt x="15070" y="12613"/>
                    </a:lnTo>
                    <a:lnTo>
                      <a:pt x="15823" y="12613"/>
                    </a:lnTo>
                    <a:lnTo>
                      <a:pt x="15823" y="11667"/>
                    </a:lnTo>
                    <a:lnTo>
                      <a:pt x="16577" y="11667"/>
                    </a:lnTo>
                    <a:lnTo>
                      <a:pt x="16577" y="12613"/>
                    </a:lnTo>
                    <a:lnTo>
                      <a:pt x="15823" y="12613"/>
                    </a:lnTo>
                    <a:lnTo>
                      <a:pt x="15823" y="13559"/>
                    </a:lnTo>
                    <a:lnTo>
                      <a:pt x="17958" y="13559"/>
                    </a:lnTo>
                    <a:lnTo>
                      <a:pt x="17958" y="11667"/>
                    </a:lnTo>
                    <a:lnTo>
                      <a:pt x="18712" y="12613"/>
                    </a:lnTo>
                    <a:lnTo>
                      <a:pt x="18712" y="11667"/>
                    </a:lnTo>
                    <a:lnTo>
                      <a:pt x="19465" y="11667"/>
                    </a:lnTo>
                    <a:lnTo>
                      <a:pt x="19465" y="10879"/>
                    </a:lnTo>
                    <a:lnTo>
                      <a:pt x="20093" y="10879"/>
                    </a:lnTo>
                    <a:lnTo>
                      <a:pt x="20093" y="9933"/>
                    </a:lnTo>
                    <a:lnTo>
                      <a:pt x="19465" y="9933"/>
                    </a:lnTo>
                    <a:lnTo>
                      <a:pt x="19465" y="8987"/>
                    </a:lnTo>
                    <a:lnTo>
                      <a:pt x="19465" y="9933"/>
                    </a:lnTo>
                    <a:lnTo>
                      <a:pt x="16577" y="9933"/>
                    </a:lnTo>
                    <a:lnTo>
                      <a:pt x="15823" y="8987"/>
                    </a:lnTo>
                    <a:lnTo>
                      <a:pt x="15070" y="8987"/>
                    </a:lnTo>
                    <a:lnTo>
                      <a:pt x="15070" y="8199"/>
                    </a:lnTo>
                    <a:lnTo>
                      <a:pt x="13688" y="8199"/>
                    </a:lnTo>
                    <a:lnTo>
                      <a:pt x="13688" y="6307"/>
                    </a:lnTo>
                    <a:lnTo>
                      <a:pt x="12935" y="6307"/>
                    </a:lnTo>
                    <a:lnTo>
                      <a:pt x="12935" y="5518"/>
                    </a:lnTo>
                    <a:lnTo>
                      <a:pt x="12181" y="5518"/>
                    </a:lnTo>
                    <a:lnTo>
                      <a:pt x="12935" y="5518"/>
                    </a:lnTo>
                    <a:lnTo>
                      <a:pt x="12935" y="4572"/>
                    </a:lnTo>
                    <a:lnTo>
                      <a:pt x="12181" y="4572"/>
                    </a:lnTo>
                    <a:lnTo>
                      <a:pt x="12935" y="4572"/>
                    </a:lnTo>
                    <a:lnTo>
                      <a:pt x="12935" y="3626"/>
                    </a:lnTo>
                    <a:lnTo>
                      <a:pt x="13688" y="2680"/>
                    </a:lnTo>
                    <a:lnTo>
                      <a:pt x="15070" y="2680"/>
                    </a:lnTo>
                    <a:lnTo>
                      <a:pt x="15070" y="4572"/>
                    </a:lnTo>
                    <a:lnTo>
                      <a:pt x="14442" y="5518"/>
                    </a:lnTo>
                    <a:lnTo>
                      <a:pt x="14442" y="6307"/>
                    </a:lnTo>
                    <a:lnTo>
                      <a:pt x="15070" y="6307"/>
                    </a:lnTo>
                    <a:lnTo>
                      <a:pt x="15070" y="7253"/>
                    </a:lnTo>
                    <a:lnTo>
                      <a:pt x="15823" y="7253"/>
                    </a:lnTo>
                    <a:lnTo>
                      <a:pt x="15823" y="8199"/>
                    </a:lnTo>
                    <a:lnTo>
                      <a:pt x="16577" y="8199"/>
                    </a:lnTo>
                    <a:lnTo>
                      <a:pt x="16577" y="8987"/>
                    </a:lnTo>
                    <a:lnTo>
                      <a:pt x="19465" y="8987"/>
                    </a:lnTo>
                    <a:lnTo>
                      <a:pt x="19465" y="8199"/>
                    </a:lnTo>
                    <a:lnTo>
                      <a:pt x="20847" y="8199"/>
                    </a:lnTo>
                    <a:lnTo>
                      <a:pt x="20847" y="6307"/>
                    </a:lnTo>
                    <a:lnTo>
                      <a:pt x="21600" y="6307"/>
                    </a:lnTo>
                    <a:lnTo>
                      <a:pt x="21600" y="5518"/>
                    </a:lnTo>
                    <a:lnTo>
                      <a:pt x="20847" y="5518"/>
                    </a:lnTo>
                    <a:lnTo>
                      <a:pt x="20847" y="3626"/>
                    </a:lnTo>
                    <a:lnTo>
                      <a:pt x="20093" y="3626"/>
                    </a:lnTo>
                    <a:lnTo>
                      <a:pt x="20093" y="946"/>
                    </a:lnTo>
                    <a:lnTo>
                      <a:pt x="20847" y="946"/>
                    </a:lnTo>
                    <a:lnTo>
                      <a:pt x="20847" y="0"/>
                    </a:lnTo>
                    <a:lnTo>
                      <a:pt x="14442" y="0"/>
                    </a:lnTo>
                    <a:lnTo>
                      <a:pt x="14442" y="946"/>
                    </a:lnTo>
                    <a:lnTo>
                      <a:pt x="13688" y="946"/>
                    </a:lnTo>
                    <a:lnTo>
                      <a:pt x="13688" y="1892"/>
                    </a:lnTo>
                    <a:lnTo>
                      <a:pt x="12181" y="1892"/>
                    </a:lnTo>
                    <a:lnTo>
                      <a:pt x="11553" y="946"/>
                    </a:lnTo>
                    <a:lnTo>
                      <a:pt x="10047" y="946"/>
                    </a:lnTo>
                    <a:lnTo>
                      <a:pt x="9419" y="0"/>
                    </a:lnTo>
                    <a:lnTo>
                      <a:pt x="8665" y="0"/>
                    </a:lnTo>
                    <a:lnTo>
                      <a:pt x="8665" y="946"/>
                    </a:lnTo>
                    <a:lnTo>
                      <a:pt x="9419" y="946"/>
                    </a:lnTo>
                    <a:lnTo>
                      <a:pt x="9419" y="1892"/>
                    </a:lnTo>
                    <a:lnTo>
                      <a:pt x="7912" y="1892"/>
                    </a:lnTo>
                    <a:lnTo>
                      <a:pt x="7912" y="3626"/>
                    </a:lnTo>
                    <a:lnTo>
                      <a:pt x="8665" y="3626"/>
                    </a:lnTo>
                    <a:lnTo>
                      <a:pt x="8665" y="5518"/>
                    </a:lnTo>
                    <a:lnTo>
                      <a:pt x="9419" y="5518"/>
                    </a:lnTo>
                    <a:lnTo>
                      <a:pt x="9419" y="6307"/>
                    </a:lnTo>
                    <a:lnTo>
                      <a:pt x="10047" y="6307"/>
                    </a:lnTo>
                    <a:lnTo>
                      <a:pt x="10047" y="7253"/>
                    </a:lnTo>
                    <a:lnTo>
                      <a:pt x="8665" y="7253"/>
                    </a:lnTo>
                    <a:lnTo>
                      <a:pt x="8665" y="8199"/>
                    </a:lnTo>
                    <a:lnTo>
                      <a:pt x="8665" y="6307"/>
                    </a:lnTo>
                    <a:lnTo>
                      <a:pt x="5777" y="6307"/>
                    </a:lnTo>
                    <a:lnTo>
                      <a:pt x="5777" y="5518"/>
                    </a:lnTo>
                    <a:lnTo>
                      <a:pt x="5023" y="5518"/>
                    </a:lnTo>
                    <a:lnTo>
                      <a:pt x="4270" y="4572"/>
                    </a:lnTo>
                    <a:lnTo>
                      <a:pt x="2888" y="4572"/>
                    </a:lnTo>
                    <a:lnTo>
                      <a:pt x="2888" y="3626"/>
                    </a:lnTo>
                    <a:lnTo>
                      <a:pt x="2135" y="3626"/>
                    </a:lnTo>
                    <a:lnTo>
                      <a:pt x="1507" y="4572"/>
                    </a:lnTo>
                    <a:lnTo>
                      <a:pt x="1507" y="6307"/>
                    </a:lnTo>
                    <a:lnTo>
                      <a:pt x="2135" y="6307"/>
                    </a:lnTo>
                    <a:lnTo>
                      <a:pt x="1507" y="6307"/>
                    </a:lnTo>
                    <a:lnTo>
                      <a:pt x="1507" y="5518"/>
                    </a:lnTo>
                    <a:lnTo>
                      <a:pt x="753" y="5518"/>
                    </a:lnTo>
                    <a:lnTo>
                      <a:pt x="753" y="6307"/>
                    </a:lnTo>
                    <a:lnTo>
                      <a:pt x="1507" y="6307"/>
                    </a:lnTo>
                    <a:lnTo>
                      <a:pt x="1507" y="7253"/>
                    </a:lnTo>
                    <a:lnTo>
                      <a:pt x="753" y="8199"/>
                    </a:lnTo>
                    <a:lnTo>
                      <a:pt x="0" y="8199"/>
                    </a:lnTo>
                    <a:lnTo>
                      <a:pt x="0" y="9933"/>
                    </a:lnTo>
                    <a:lnTo>
                      <a:pt x="753" y="9933"/>
                    </a:lnTo>
                    <a:lnTo>
                      <a:pt x="753" y="10879"/>
                    </a:lnTo>
                    <a:lnTo>
                      <a:pt x="1507" y="10879"/>
                    </a:lnTo>
                    <a:lnTo>
                      <a:pt x="753" y="10879"/>
                    </a:lnTo>
                    <a:lnTo>
                      <a:pt x="753" y="11667"/>
                    </a:lnTo>
                    <a:lnTo>
                      <a:pt x="0" y="11667"/>
                    </a:lnTo>
                    <a:lnTo>
                      <a:pt x="0" y="12613"/>
                    </a:lnTo>
                    <a:lnTo>
                      <a:pt x="753" y="12613"/>
                    </a:lnTo>
                    <a:lnTo>
                      <a:pt x="753" y="13559"/>
                    </a:lnTo>
                    <a:lnTo>
                      <a:pt x="1507" y="13559"/>
                    </a:lnTo>
                    <a:lnTo>
                      <a:pt x="1507" y="14505"/>
                    </a:lnTo>
                    <a:lnTo>
                      <a:pt x="2135" y="15293"/>
                    </a:lnTo>
                    <a:lnTo>
                      <a:pt x="2135" y="16239"/>
                    </a:lnTo>
                    <a:lnTo>
                      <a:pt x="2135" y="15293"/>
                    </a:lnTo>
                    <a:lnTo>
                      <a:pt x="2888" y="15293"/>
                    </a:lnTo>
                    <a:lnTo>
                      <a:pt x="2888" y="17185"/>
                    </a:lnTo>
                    <a:lnTo>
                      <a:pt x="2135" y="17185"/>
                    </a:lnTo>
                    <a:lnTo>
                      <a:pt x="2135" y="1623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25" name="Shape 2949"/>
              <p:cNvSpPr/>
              <p:nvPr/>
            </p:nvSpPr>
            <p:spPr>
              <a:xfrm>
                <a:off x="11571084" y="3176221"/>
                <a:ext cx="41885" cy="418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662" y="21600"/>
                    </a:moveTo>
                    <a:lnTo>
                      <a:pt x="8938" y="21600"/>
                    </a:lnTo>
                    <a:lnTo>
                      <a:pt x="8938" y="17131"/>
                    </a:lnTo>
                    <a:lnTo>
                      <a:pt x="4469" y="17131"/>
                    </a:lnTo>
                    <a:lnTo>
                      <a:pt x="4469" y="12662"/>
                    </a:lnTo>
                    <a:lnTo>
                      <a:pt x="0" y="12662"/>
                    </a:lnTo>
                    <a:lnTo>
                      <a:pt x="0" y="4469"/>
                    </a:lnTo>
                    <a:lnTo>
                      <a:pt x="4469" y="4469"/>
                    </a:lnTo>
                    <a:lnTo>
                      <a:pt x="8938" y="0"/>
                    </a:lnTo>
                    <a:lnTo>
                      <a:pt x="17131" y="0"/>
                    </a:lnTo>
                    <a:lnTo>
                      <a:pt x="17131" y="8193"/>
                    </a:lnTo>
                    <a:lnTo>
                      <a:pt x="21600" y="8193"/>
                    </a:lnTo>
                    <a:lnTo>
                      <a:pt x="21600" y="12662"/>
                    </a:lnTo>
                    <a:lnTo>
                      <a:pt x="17131" y="17131"/>
                    </a:lnTo>
                    <a:lnTo>
                      <a:pt x="17131" y="21600"/>
                    </a:lnTo>
                    <a:lnTo>
                      <a:pt x="12662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26" name="Shape 2950"/>
              <p:cNvSpPr/>
              <p:nvPr/>
            </p:nvSpPr>
            <p:spPr>
              <a:xfrm>
                <a:off x="11604302" y="3192108"/>
                <a:ext cx="124208" cy="996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014" y="3757"/>
                    </a:moveTo>
                    <a:lnTo>
                      <a:pt x="4270" y="3757"/>
                    </a:lnTo>
                    <a:lnTo>
                      <a:pt x="4270" y="1878"/>
                    </a:lnTo>
                    <a:lnTo>
                      <a:pt x="5777" y="1878"/>
                    </a:lnTo>
                    <a:lnTo>
                      <a:pt x="5777" y="0"/>
                    </a:lnTo>
                    <a:lnTo>
                      <a:pt x="13060" y="0"/>
                    </a:lnTo>
                    <a:lnTo>
                      <a:pt x="13060" y="1878"/>
                    </a:lnTo>
                    <a:lnTo>
                      <a:pt x="17330" y="1878"/>
                    </a:lnTo>
                    <a:lnTo>
                      <a:pt x="17330" y="3757"/>
                    </a:lnTo>
                    <a:lnTo>
                      <a:pt x="20093" y="3757"/>
                    </a:lnTo>
                    <a:lnTo>
                      <a:pt x="20093" y="7200"/>
                    </a:lnTo>
                    <a:lnTo>
                      <a:pt x="21600" y="9078"/>
                    </a:lnTo>
                    <a:lnTo>
                      <a:pt x="21600" y="10957"/>
                    </a:lnTo>
                    <a:lnTo>
                      <a:pt x="18586" y="10957"/>
                    </a:lnTo>
                    <a:lnTo>
                      <a:pt x="18586" y="12522"/>
                    </a:lnTo>
                    <a:lnTo>
                      <a:pt x="15823" y="12522"/>
                    </a:lnTo>
                    <a:lnTo>
                      <a:pt x="15823" y="14400"/>
                    </a:lnTo>
                    <a:lnTo>
                      <a:pt x="8540" y="14400"/>
                    </a:lnTo>
                    <a:lnTo>
                      <a:pt x="7284" y="16278"/>
                    </a:lnTo>
                    <a:lnTo>
                      <a:pt x="7284" y="14400"/>
                    </a:lnTo>
                    <a:lnTo>
                      <a:pt x="7284" y="16278"/>
                    </a:lnTo>
                    <a:lnTo>
                      <a:pt x="4270" y="16278"/>
                    </a:lnTo>
                    <a:lnTo>
                      <a:pt x="4270" y="18157"/>
                    </a:lnTo>
                    <a:lnTo>
                      <a:pt x="3014" y="18157"/>
                    </a:lnTo>
                    <a:lnTo>
                      <a:pt x="3014" y="19722"/>
                    </a:lnTo>
                    <a:lnTo>
                      <a:pt x="1507" y="19722"/>
                    </a:lnTo>
                    <a:lnTo>
                      <a:pt x="1507" y="21600"/>
                    </a:lnTo>
                    <a:lnTo>
                      <a:pt x="1507" y="19722"/>
                    </a:lnTo>
                    <a:lnTo>
                      <a:pt x="0" y="19722"/>
                    </a:lnTo>
                    <a:lnTo>
                      <a:pt x="0" y="18157"/>
                    </a:lnTo>
                    <a:lnTo>
                      <a:pt x="3014" y="18157"/>
                    </a:lnTo>
                    <a:lnTo>
                      <a:pt x="3014" y="14400"/>
                    </a:lnTo>
                    <a:lnTo>
                      <a:pt x="4270" y="14400"/>
                    </a:lnTo>
                    <a:lnTo>
                      <a:pt x="4270" y="10957"/>
                    </a:lnTo>
                    <a:lnTo>
                      <a:pt x="3014" y="10957"/>
                    </a:lnTo>
                    <a:lnTo>
                      <a:pt x="3014" y="3757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27" name="Shape 2951"/>
              <p:cNvSpPr/>
              <p:nvPr/>
            </p:nvSpPr>
            <p:spPr>
              <a:xfrm>
                <a:off x="6716914" y="5732568"/>
                <a:ext cx="132873" cy="982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191" y="7306"/>
                    </a:moveTo>
                    <a:lnTo>
                      <a:pt x="17374" y="7306"/>
                    </a:lnTo>
                    <a:lnTo>
                      <a:pt x="17374" y="5400"/>
                    </a:lnTo>
                    <a:lnTo>
                      <a:pt x="16200" y="5400"/>
                    </a:lnTo>
                    <a:lnTo>
                      <a:pt x="16200" y="7306"/>
                    </a:lnTo>
                    <a:lnTo>
                      <a:pt x="14791" y="7306"/>
                    </a:lnTo>
                    <a:lnTo>
                      <a:pt x="14791" y="8894"/>
                    </a:lnTo>
                    <a:lnTo>
                      <a:pt x="16200" y="8894"/>
                    </a:lnTo>
                    <a:lnTo>
                      <a:pt x="13383" y="12706"/>
                    </a:lnTo>
                    <a:lnTo>
                      <a:pt x="14791" y="12706"/>
                    </a:lnTo>
                    <a:lnTo>
                      <a:pt x="14791" y="14612"/>
                    </a:lnTo>
                    <a:lnTo>
                      <a:pt x="16200" y="14612"/>
                    </a:lnTo>
                    <a:lnTo>
                      <a:pt x="16200" y="20012"/>
                    </a:lnTo>
                    <a:lnTo>
                      <a:pt x="14791" y="20012"/>
                    </a:lnTo>
                    <a:lnTo>
                      <a:pt x="14791" y="21600"/>
                    </a:lnTo>
                    <a:lnTo>
                      <a:pt x="14791" y="20012"/>
                    </a:lnTo>
                    <a:lnTo>
                      <a:pt x="13383" y="21600"/>
                    </a:lnTo>
                    <a:lnTo>
                      <a:pt x="13383" y="20012"/>
                    </a:lnTo>
                    <a:lnTo>
                      <a:pt x="12209" y="20012"/>
                    </a:lnTo>
                    <a:lnTo>
                      <a:pt x="12209" y="18106"/>
                    </a:lnTo>
                    <a:lnTo>
                      <a:pt x="12209" y="20012"/>
                    </a:lnTo>
                    <a:lnTo>
                      <a:pt x="10800" y="20012"/>
                    </a:lnTo>
                    <a:lnTo>
                      <a:pt x="10800" y="21600"/>
                    </a:lnTo>
                    <a:lnTo>
                      <a:pt x="10800" y="20012"/>
                    </a:lnTo>
                    <a:lnTo>
                      <a:pt x="9391" y="20012"/>
                    </a:lnTo>
                    <a:lnTo>
                      <a:pt x="9391" y="21600"/>
                    </a:lnTo>
                    <a:lnTo>
                      <a:pt x="9391" y="20012"/>
                    </a:lnTo>
                    <a:lnTo>
                      <a:pt x="7983" y="20012"/>
                    </a:lnTo>
                    <a:lnTo>
                      <a:pt x="7983" y="18106"/>
                    </a:lnTo>
                    <a:lnTo>
                      <a:pt x="6809" y="20012"/>
                    </a:lnTo>
                    <a:lnTo>
                      <a:pt x="3991" y="20012"/>
                    </a:lnTo>
                    <a:lnTo>
                      <a:pt x="3991" y="18106"/>
                    </a:lnTo>
                    <a:lnTo>
                      <a:pt x="2817" y="18106"/>
                    </a:lnTo>
                    <a:lnTo>
                      <a:pt x="1409" y="16200"/>
                    </a:lnTo>
                    <a:lnTo>
                      <a:pt x="1409" y="14612"/>
                    </a:lnTo>
                    <a:lnTo>
                      <a:pt x="2817" y="14612"/>
                    </a:lnTo>
                    <a:lnTo>
                      <a:pt x="2817" y="12706"/>
                    </a:lnTo>
                    <a:lnTo>
                      <a:pt x="1409" y="12706"/>
                    </a:lnTo>
                    <a:lnTo>
                      <a:pt x="1409" y="8894"/>
                    </a:lnTo>
                    <a:lnTo>
                      <a:pt x="0" y="8894"/>
                    </a:lnTo>
                    <a:lnTo>
                      <a:pt x="0" y="7306"/>
                    </a:lnTo>
                    <a:lnTo>
                      <a:pt x="1409" y="7306"/>
                    </a:lnTo>
                    <a:lnTo>
                      <a:pt x="1409" y="8894"/>
                    </a:lnTo>
                    <a:lnTo>
                      <a:pt x="2817" y="8894"/>
                    </a:lnTo>
                    <a:lnTo>
                      <a:pt x="2817" y="7306"/>
                    </a:lnTo>
                    <a:lnTo>
                      <a:pt x="5400" y="7306"/>
                    </a:lnTo>
                    <a:lnTo>
                      <a:pt x="5400" y="5400"/>
                    </a:lnTo>
                    <a:lnTo>
                      <a:pt x="7983" y="5400"/>
                    </a:lnTo>
                    <a:lnTo>
                      <a:pt x="7983" y="7306"/>
                    </a:lnTo>
                    <a:lnTo>
                      <a:pt x="9391" y="7306"/>
                    </a:lnTo>
                    <a:lnTo>
                      <a:pt x="7983" y="7306"/>
                    </a:lnTo>
                    <a:lnTo>
                      <a:pt x="9391" y="7306"/>
                    </a:lnTo>
                    <a:lnTo>
                      <a:pt x="9391" y="5400"/>
                    </a:lnTo>
                    <a:lnTo>
                      <a:pt x="12209" y="5400"/>
                    </a:lnTo>
                    <a:lnTo>
                      <a:pt x="12209" y="7306"/>
                    </a:lnTo>
                    <a:lnTo>
                      <a:pt x="10800" y="7306"/>
                    </a:lnTo>
                    <a:lnTo>
                      <a:pt x="14791" y="7306"/>
                    </a:lnTo>
                    <a:lnTo>
                      <a:pt x="14791" y="5400"/>
                    </a:lnTo>
                    <a:lnTo>
                      <a:pt x="16200" y="5400"/>
                    </a:lnTo>
                    <a:lnTo>
                      <a:pt x="16200" y="3494"/>
                    </a:lnTo>
                    <a:lnTo>
                      <a:pt x="14791" y="3494"/>
                    </a:lnTo>
                    <a:lnTo>
                      <a:pt x="14791" y="1906"/>
                    </a:lnTo>
                    <a:lnTo>
                      <a:pt x="16200" y="0"/>
                    </a:lnTo>
                    <a:lnTo>
                      <a:pt x="17374" y="0"/>
                    </a:lnTo>
                    <a:lnTo>
                      <a:pt x="17374" y="1906"/>
                    </a:lnTo>
                    <a:lnTo>
                      <a:pt x="18783" y="1906"/>
                    </a:lnTo>
                    <a:lnTo>
                      <a:pt x="20191" y="3494"/>
                    </a:lnTo>
                    <a:lnTo>
                      <a:pt x="21600" y="3494"/>
                    </a:lnTo>
                    <a:lnTo>
                      <a:pt x="20191" y="5400"/>
                    </a:lnTo>
                    <a:lnTo>
                      <a:pt x="20191" y="730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28" name="Shape 2952"/>
              <p:cNvSpPr/>
              <p:nvPr/>
            </p:nvSpPr>
            <p:spPr>
              <a:xfrm>
                <a:off x="9449461" y="5839443"/>
                <a:ext cx="363955" cy="35529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771" y="527"/>
                    </a:moveTo>
                    <a:lnTo>
                      <a:pt x="12257" y="527"/>
                    </a:lnTo>
                    <a:lnTo>
                      <a:pt x="12257" y="0"/>
                    </a:lnTo>
                    <a:lnTo>
                      <a:pt x="12257" y="527"/>
                    </a:lnTo>
                    <a:lnTo>
                      <a:pt x="11743" y="0"/>
                    </a:lnTo>
                    <a:lnTo>
                      <a:pt x="11743" y="527"/>
                    </a:lnTo>
                    <a:lnTo>
                      <a:pt x="11314" y="0"/>
                    </a:lnTo>
                    <a:lnTo>
                      <a:pt x="11314" y="1054"/>
                    </a:lnTo>
                    <a:lnTo>
                      <a:pt x="10800" y="1054"/>
                    </a:lnTo>
                    <a:lnTo>
                      <a:pt x="10800" y="527"/>
                    </a:lnTo>
                    <a:lnTo>
                      <a:pt x="10800" y="2020"/>
                    </a:lnTo>
                    <a:lnTo>
                      <a:pt x="11314" y="2020"/>
                    </a:lnTo>
                    <a:lnTo>
                      <a:pt x="10800" y="2985"/>
                    </a:lnTo>
                    <a:lnTo>
                      <a:pt x="11314" y="2985"/>
                    </a:lnTo>
                    <a:lnTo>
                      <a:pt x="10800" y="2985"/>
                    </a:lnTo>
                    <a:lnTo>
                      <a:pt x="10800" y="3512"/>
                    </a:lnTo>
                    <a:lnTo>
                      <a:pt x="10800" y="2985"/>
                    </a:lnTo>
                    <a:lnTo>
                      <a:pt x="10286" y="2985"/>
                    </a:lnTo>
                    <a:lnTo>
                      <a:pt x="10286" y="3512"/>
                    </a:lnTo>
                    <a:lnTo>
                      <a:pt x="10286" y="2985"/>
                    </a:lnTo>
                    <a:lnTo>
                      <a:pt x="9857" y="2985"/>
                    </a:lnTo>
                    <a:lnTo>
                      <a:pt x="9857" y="3512"/>
                    </a:lnTo>
                    <a:lnTo>
                      <a:pt x="8829" y="3512"/>
                    </a:lnTo>
                    <a:lnTo>
                      <a:pt x="8829" y="2985"/>
                    </a:lnTo>
                    <a:lnTo>
                      <a:pt x="7886" y="2985"/>
                    </a:lnTo>
                    <a:lnTo>
                      <a:pt x="7371" y="3512"/>
                    </a:lnTo>
                    <a:lnTo>
                      <a:pt x="7886" y="3512"/>
                    </a:lnTo>
                    <a:lnTo>
                      <a:pt x="6857" y="5005"/>
                    </a:lnTo>
                    <a:lnTo>
                      <a:pt x="6343" y="5005"/>
                    </a:lnTo>
                    <a:lnTo>
                      <a:pt x="6343" y="5532"/>
                    </a:lnTo>
                    <a:lnTo>
                      <a:pt x="5914" y="5532"/>
                    </a:lnTo>
                    <a:lnTo>
                      <a:pt x="5914" y="6059"/>
                    </a:lnTo>
                    <a:lnTo>
                      <a:pt x="6343" y="6059"/>
                    </a:lnTo>
                    <a:lnTo>
                      <a:pt x="5400" y="6059"/>
                    </a:lnTo>
                    <a:lnTo>
                      <a:pt x="4886" y="6498"/>
                    </a:lnTo>
                    <a:lnTo>
                      <a:pt x="4886" y="6059"/>
                    </a:lnTo>
                    <a:lnTo>
                      <a:pt x="3943" y="6059"/>
                    </a:lnTo>
                    <a:lnTo>
                      <a:pt x="3943" y="6498"/>
                    </a:lnTo>
                    <a:lnTo>
                      <a:pt x="2914" y="6498"/>
                    </a:lnTo>
                    <a:lnTo>
                      <a:pt x="2914" y="7024"/>
                    </a:lnTo>
                    <a:lnTo>
                      <a:pt x="2486" y="7024"/>
                    </a:lnTo>
                    <a:lnTo>
                      <a:pt x="1971" y="7551"/>
                    </a:lnTo>
                    <a:lnTo>
                      <a:pt x="1971" y="7024"/>
                    </a:lnTo>
                    <a:lnTo>
                      <a:pt x="1457" y="7024"/>
                    </a:lnTo>
                    <a:lnTo>
                      <a:pt x="1457" y="7551"/>
                    </a:lnTo>
                    <a:lnTo>
                      <a:pt x="1457" y="7024"/>
                    </a:lnTo>
                    <a:lnTo>
                      <a:pt x="1457" y="7551"/>
                    </a:lnTo>
                    <a:lnTo>
                      <a:pt x="1029" y="7551"/>
                    </a:lnTo>
                    <a:lnTo>
                      <a:pt x="1029" y="7990"/>
                    </a:lnTo>
                    <a:lnTo>
                      <a:pt x="514" y="7990"/>
                    </a:lnTo>
                    <a:lnTo>
                      <a:pt x="1029" y="7990"/>
                    </a:lnTo>
                    <a:lnTo>
                      <a:pt x="514" y="7990"/>
                    </a:lnTo>
                    <a:lnTo>
                      <a:pt x="0" y="8517"/>
                    </a:lnTo>
                    <a:lnTo>
                      <a:pt x="1029" y="8517"/>
                    </a:lnTo>
                    <a:lnTo>
                      <a:pt x="1457" y="9044"/>
                    </a:lnTo>
                    <a:lnTo>
                      <a:pt x="1971" y="9044"/>
                    </a:lnTo>
                    <a:lnTo>
                      <a:pt x="1971" y="9571"/>
                    </a:lnTo>
                    <a:lnTo>
                      <a:pt x="2486" y="9571"/>
                    </a:lnTo>
                    <a:lnTo>
                      <a:pt x="2486" y="10010"/>
                    </a:lnTo>
                    <a:lnTo>
                      <a:pt x="1971" y="10537"/>
                    </a:lnTo>
                    <a:lnTo>
                      <a:pt x="1029" y="10537"/>
                    </a:lnTo>
                    <a:lnTo>
                      <a:pt x="1029" y="11063"/>
                    </a:lnTo>
                    <a:lnTo>
                      <a:pt x="1029" y="10537"/>
                    </a:lnTo>
                    <a:lnTo>
                      <a:pt x="514" y="11063"/>
                    </a:lnTo>
                    <a:lnTo>
                      <a:pt x="1029" y="11063"/>
                    </a:lnTo>
                    <a:lnTo>
                      <a:pt x="1029" y="13522"/>
                    </a:lnTo>
                    <a:lnTo>
                      <a:pt x="1971" y="13522"/>
                    </a:lnTo>
                    <a:lnTo>
                      <a:pt x="1971" y="14049"/>
                    </a:lnTo>
                    <a:lnTo>
                      <a:pt x="2486" y="14049"/>
                    </a:lnTo>
                    <a:lnTo>
                      <a:pt x="2486" y="14576"/>
                    </a:lnTo>
                    <a:lnTo>
                      <a:pt x="3429" y="14576"/>
                    </a:lnTo>
                    <a:lnTo>
                      <a:pt x="3429" y="16068"/>
                    </a:lnTo>
                    <a:lnTo>
                      <a:pt x="3943" y="16068"/>
                    </a:lnTo>
                    <a:lnTo>
                      <a:pt x="3943" y="17561"/>
                    </a:lnTo>
                    <a:lnTo>
                      <a:pt x="4886" y="17561"/>
                    </a:lnTo>
                    <a:lnTo>
                      <a:pt x="4886" y="18088"/>
                    </a:lnTo>
                    <a:lnTo>
                      <a:pt x="5400" y="18088"/>
                    </a:lnTo>
                    <a:lnTo>
                      <a:pt x="5400" y="17561"/>
                    </a:lnTo>
                    <a:lnTo>
                      <a:pt x="5400" y="18088"/>
                    </a:lnTo>
                    <a:lnTo>
                      <a:pt x="6857" y="18088"/>
                    </a:lnTo>
                    <a:lnTo>
                      <a:pt x="6857" y="18527"/>
                    </a:lnTo>
                    <a:lnTo>
                      <a:pt x="7371" y="18527"/>
                    </a:lnTo>
                    <a:lnTo>
                      <a:pt x="7371" y="19054"/>
                    </a:lnTo>
                    <a:lnTo>
                      <a:pt x="7886" y="18527"/>
                    </a:lnTo>
                    <a:lnTo>
                      <a:pt x="7886" y="18088"/>
                    </a:lnTo>
                    <a:lnTo>
                      <a:pt x="8829" y="18088"/>
                    </a:lnTo>
                    <a:lnTo>
                      <a:pt x="8829" y="17561"/>
                    </a:lnTo>
                    <a:lnTo>
                      <a:pt x="9343" y="17561"/>
                    </a:lnTo>
                    <a:lnTo>
                      <a:pt x="9343" y="17034"/>
                    </a:lnTo>
                    <a:lnTo>
                      <a:pt x="8829" y="17034"/>
                    </a:lnTo>
                    <a:lnTo>
                      <a:pt x="9857" y="17034"/>
                    </a:lnTo>
                    <a:lnTo>
                      <a:pt x="9857" y="17561"/>
                    </a:lnTo>
                    <a:lnTo>
                      <a:pt x="9343" y="17561"/>
                    </a:lnTo>
                    <a:lnTo>
                      <a:pt x="9343" y="18527"/>
                    </a:lnTo>
                    <a:lnTo>
                      <a:pt x="9857" y="18527"/>
                    </a:lnTo>
                    <a:lnTo>
                      <a:pt x="9857" y="19054"/>
                    </a:lnTo>
                    <a:lnTo>
                      <a:pt x="10286" y="19054"/>
                    </a:lnTo>
                    <a:lnTo>
                      <a:pt x="10286" y="20546"/>
                    </a:lnTo>
                    <a:lnTo>
                      <a:pt x="11314" y="20546"/>
                    </a:lnTo>
                    <a:lnTo>
                      <a:pt x="11314" y="21073"/>
                    </a:lnTo>
                    <a:lnTo>
                      <a:pt x="11743" y="21600"/>
                    </a:lnTo>
                    <a:lnTo>
                      <a:pt x="12257" y="21600"/>
                    </a:lnTo>
                    <a:lnTo>
                      <a:pt x="12257" y="21073"/>
                    </a:lnTo>
                    <a:lnTo>
                      <a:pt x="12257" y="21600"/>
                    </a:lnTo>
                    <a:lnTo>
                      <a:pt x="12771" y="21073"/>
                    </a:lnTo>
                    <a:lnTo>
                      <a:pt x="14229" y="21073"/>
                    </a:lnTo>
                    <a:lnTo>
                      <a:pt x="14743" y="20546"/>
                    </a:lnTo>
                    <a:lnTo>
                      <a:pt x="14743" y="19580"/>
                    </a:lnTo>
                    <a:lnTo>
                      <a:pt x="16714" y="19580"/>
                    </a:lnTo>
                    <a:lnTo>
                      <a:pt x="17143" y="20107"/>
                    </a:lnTo>
                    <a:lnTo>
                      <a:pt x="17657" y="20107"/>
                    </a:lnTo>
                    <a:lnTo>
                      <a:pt x="17657" y="19580"/>
                    </a:lnTo>
                    <a:lnTo>
                      <a:pt x="18600" y="19580"/>
                    </a:lnTo>
                    <a:lnTo>
                      <a:pt x="18600" y="19054"/>
                    </a:lnTo>
                    <a:lnTo>
                      <a:pt x="19629" y="19054"/>
                    </a:lnTo>
                    <a:lnTo>
                      <a:pt x="20143" y="18527"/>
                    </a:lnTo>
                    <a:lnTo>
                      <a:pt x="20571" y="18527"/>
                    </a:lnTo>
                    <a:lnTo>
                      <a:pt x="20571" y="17561"/>
                    </a:lnTo>
                    <a:lnTo>
                      <a:pt x="20143" y="17034"/>
                    </a:lnTo>
                    <a:lnTo>
                      <a:pt x="20571" y="17034"/>
                    </a:lnTo>
                    <a:lnTo>
                      <a:pt x="20143" y="17034"/>
                    </a:lnTo>
                    <a:lnTo>
                      <a:pt x="20143" y="16595"/>
                    </a:lnTo>
                    <a:lnTo>
                      <a:pt x="20571" y="16595"/>
                    </a:lnTo>
                    <a:lnTo>
                      <a:pt x="20571" y="16068"/>
                    </a:lnTo>
                    <a:lnTo>
                      <a:pt x="20143" y="16068"/>
                    </a:lnTo>
                    <a:lnTo>
                      <a:pt x="20143" y="15541"/>
                    </a:lnTo>
                    <a:lnTo>
                      <a:pt x="19629" y="15541"/>
                    </a:lnTo>
                    <a:lnTo>
                      <a:pt x="19629" y="14576"/>
                    </a:lnTo>
                    <a:lnTo>
                      <a:pt x="20143" y="14576"/>
                    </a:lnTo>
                    <a:lnTo>
                      <a:pt x="20143" y="14049"/>
                    </a:lnTo>
                    <a:lnTo>
                      <a:pt x="20571" y="14049"/>
                    </a:lnTo>
                    <a:lnTo>
                      <a:pt x="20571" y="14576"/>
                    </a:lnTo>
                    <a:lnTo>
                      <a:pt x="21600" y="14576"/>
                    </a:lnTo>
                    <a:lnTo>
                      <a:pt x="21600" y="13522"/>
                    </a:lnTo>
                    <a:lnTo>
                      <a:pt x="20571" y="13522"/>
                    </a:lnTo>
                    <a:lnTo>
                      <a:pt x="20571" y="12556"/>
                    </a:lnTo>
                    <a:lnTo>
                      <a:pt x="20143" y="12556"/>
                    </a:lnTo>
                    <a:lnTo>
                      <a:pt x="20143" y="11502"/>
                    </a:lnTo>
                    <a:lnTo>
                      <a:pt x="19629" y="11502"/>
                    </a:lnTo>
                    <a:lnTo>
                      <a:pt x="19114" y="11063"/>
                    </a:lnTo>
                    <a:lnTo>
                      <a:pt x="19114" y="10537"/>
                    </a:lnTo>
                    <a:lnTo>
                      <a:pt x="18600" y="10537"/>
                    </a:lnTo>
                    <a:lnTo>
                      <a:pt x="18600" y="7990"/>
                    </a:lnTo>
                    <a:lnTo>
                      <a:pt x="18171" y="7551"/>
                    </a:lnTo>
                    <a:lnTo>
                      <a:pt x="18171" y="7024"/>
                    </a:lnTo>
                    <a:lnTo>
                      <a:pt x="17657" y="7024"/>
                    </a:lnTo>
                    <a:lnTo>
                      <a:pt x="17657" y="7990"/>
                    </a:lnTo>
                    <a:lnTo>
                      <a:pt x="17143" y="7990"/>
                    </a:lnTo>
                    <a:lnTo>
                      <a:pt x="17143" y="8517"/>
                    </a:lnTo>
                    <a:lnTo>
                      <a:pt x="16200" y="8517"/>
                    </a:lnTo>
                    <a:lnTo>
                      <a:pt x="15686" y="7990"/>
                    </a:lnTo>
                    <a:lnTo>
                      <a:pt x="15686" y="7551"/>
                    </a:lnTo>
                    <a:lnTo>
                      <a:pt x="14743" y="7551"/>
                    </a:lnTo>
                    <a:lnTo>
                      <a:pt x="14743" y="7024"/>
                    </a:lnTo>
                    <a:lnTo>
                      <a:pt x="15171" y="6498"/>
                    </a:lnTo>
                    <a:lnTo>
                      <a:pt x="15171" y="6059"/>
                    </a:lnTo>
                    <a:lnTo>
                      <a:pt x="15686" y="6059"/>
                    </a:lnTo>
                    <a:lnTo>
                      <a:pt x="15171" y="6059"/>
                    </a:lnTo>
                    <a:lnTo>
                      <a:pt x="15171" y="5532"/>
                    </a:lnTo>
                    <a:lnTo>
                      <a:pt x="14743" y="5532"/>
                    </a:lnTo>
                    <a:lnTo>
                      <a:pt x="15171" y="5005"/>
                    </a:lnTo>
                    <a:lnTo>
                      <a:pt x="15171" y="4566"/>
                    </a:lnTo>
                    <a:lnTo>
                      <a:pt x="15686" y="4566"/>
                    </a:lnTo>
                    <a:lnTo>
                      <a:pt x="15686" y="4039"/>
                    </a:lnTo>
                    <a:lnTo>
                      <a:pt x="16200" y="4039"/>
                    </a:lnTo>
                    <a:lnTo>
                      <a:pt x="16714" y="3512"/>
                    </a:lnTo>
                    <a:lnTo>
                      <a:pt x="16714" y="2985"/>
                    </a:lnTo>
                    <a:lnTo>
                      <a:pt x="17143" y="2546"/>
                    </a:lnTo>
                    <a:lnTo>
                      <a:pt x="17143" y="2020"/>
                    </a:lnTo>
                    <a:lnTo>
                      <a:pt x="16200" y="2020"/>
                    </a:lnTo>
                    <a:lnTo>
                      <a:pt x="16200" y="1493"/>
                    </a:lnTo>
                    <a:lnTo>
                      <a:pt x="15686" y="1493"/>
                    </a:lnTo>
                    <a:lnTo>
                      <a:pt x="15686" y="1054"/>
                    </a:lnTo>
                    <a:lnTo>
                      <a:pt x="15171" y="1054"/>
                    </a:lnTo>
                    <a:lnTo>
                      <a:pt x="15171" y="1493"/>
                    </a:lnTo>
                    <a:lnTo>
                      <a:pt x="13714" y="1493"/>
                    </a:lnTo>
                    <a:lnTo>
                      <a:pt x="13714" y="1054"/>
                    </a:lnTo>
                    <a:lnTo>
                      <a:pt x="13286" y="1054"/>
                    </a:lnTo>
                    <a:lnTo>
                      <a:pt x="13286" y="527"/>
                    </a:lnTo>
                    <a:lnTo>
                      <a:pt x="12771" y="527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29" name="Shape 2953"/>
              <p:cNvSpPr/>
              <p:nvPr/>
            </p:nvSpPr>
            <p:spPr>
              <a:xfrm>
                <a:off x="7807333" y="4981552"/>
                <a:ext cx="395729" cy="5199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94" y="7920"/>
                    </a:moveTo>
                    <a:lnTo>
                      <a:pt x="394" y="8580"/>
                    </a:lnTo>
                    <a:lnTo>
                      <a:pt x="0" y="8580"/>
                    </a:lnTo>
                    <a:lnTo>
                      <a:pt x="0" y="9300"/>
                    </a:lnTo>
                    <a:lnTo>
                      <a:pt x="394" y="9600"/>
                    </a:lnTo>
                    <a:lnTo>
                      <a:pt x="394" y="10980"/>
                    </a:lnTo>
                    <a:lnTo>
                      <a:pt x="867" y="11340"/>
                    </a:lnTo>
                    <a:lnTo>
                      <a:pt x="1340" y="11340"/>
                    </a:lnTo>
                    <a:lnTo>
                      <a:pt x="1813" y="11640"/>
                    </a:lnTo>
                    <a:lnTo>
                      <a:pt x="1340" y="12000"/>
                    </a:lnTo>
                    <a:lnTo>
                      <a:pt x="1813" y="12000"/>
                    </a:lnTo>
                    <a:lnTo>
                      <a:pt x="1340" y="12000"/>
                    </a:lnTo>
                    <a:lnTo>
                      <a:pt x="1340" y="12360"/>
                    </a:lnTo>
                    <a:lnTo>
                      <a:pt x="2207" y="12360"/>
                    </a:lnTo>
                    <a:lnTo>
                      <a:pt x="2207" y="14040"/>
                    </a:lnTo>
                    <a:lnTo>
                      <a:pt x="1813" y="14040"/>
                    </a:lnTo>
                    <a:lnTo>
                      <a:pt x="2207" y="14400"/>
                    </a:lnTo>
                    <a:lnTo>
                      <a:pt x="2207" y="14040"/>
                    </a:lnTo>
                    <a:lnTo>
                      <a:pt x="2207" y="14400"/>
                    </a:lnTo>
                    <a:lnTo>
                      <a:pt x="2207" y="14040"/>
                    </a:lnTo>
                    <a:lnTo>
                      <a:pt x="2680" y="14040"/>
                    </a:lnTo>
                    <a:lnTo>
                      <a:pt x="2680" y="15120"/>
                    </a:lnTo>
                    <a:lnTo>
                      <a:pt x="2207" y="15120"/>
                    </a:lnTo>
                    <a:lnTo>
                      <a:pt x="2207" y="14760"/>
                    </a:lnTo>
                    <a:lnTo>
                      <a:pt x="2207" y="15120"/>
                    </a:lnTo>
                    <a:lnTo>
                      <a:pt x="2680" y="15120"/>
                    </a:lnTo>
                    <a:lnTo>
                      <a:pt x="2680" y="15420"/>
                    </a:lnTo>
                    <a:lnTo>
                      <a:pt x="2207" y="15420"/>
                    </a:lnTo>
                    <a:lnTo>
                      <a:pt x="2680" y="15420"/>
                    </a:lnTo>
                    <a:lnTo>
                      <a:pt x="2680" y="15780"/>
                    </a:lnTo>
                    <a:lnTo>
                      <a:pt x="2207" y="15780"/>
                    </a:lnTo>
                    <a:lnTo>
                      <a:pt x="2680" y="15780"/>
                    </a:lnTo>
                    <a:lnTo>
                      <a:pt x="2207" y="15780"/>
                    </a:lnTo>
                    <a:lnTo>
                      <a:pt x="2207" y="16440"/>
                    </a:lnTo>
                    <a:lnTo>
                      <a:pt x="3153" y="16440"/>
                    </a:lnTo>
                    <a:lnTo>
                      <a:pt x="3153" y="16800"/>
                    </a:lnTo>
                    <a:lnTo>
                      <a:pt x="3153" y="16440"/>
                    </a:lnTo>
                    <a:lnTo>
                      <a:pt x="3547" y="16140"/>
                    </a:lnTo>
                    <a:lnTo>
                      <a:pt x="4020" y="16140"/>
                    </a:lnTo>
                    <a:lnTo>
                      <a:pt x="4493" y="15780"/>
                    </a:lnTo>
                    <a:lnTo>
                      <a:pt x="4493" y="16140"/>
                    </a:lnTo>
                    <a:lnTo>
                      <a:pt x="4966" y="16440"/>
                    </a:lnTo>
                    <a:lnTo>
                      <a:pt x="5361" y="16440"/>
                    </a:lnTo>
                    <a:lnTo>
                      <a:pt x="4966" y="16440"/>
                    </a:lnTo>
                    <a:lnTo>
                      <a:pt x="4966" y="16800"/>
                    </a:lnTo>
                    <a:lnTo>
                      <a:pt x="5361" y="16800"/>
                    </a:lnTo>
                    <a:lnTo>
                      <a:pt x="4966" y="16800"/>
                    </a:lnTo>
                    <a:lnTo>
                      <a:pt x="4966" y="17160"/>
                    </a:lnTo>
                    <a:lnTo>
                      <a:pt x="4493" y="17520"/>
                    </a:lnTo>
                    <a:lnTo>
                      <a:pt x="4020" y="17520"/>
                    </a:lnTo>
                    <a:lnTo>
                      <a:pt x="3547" y="17820"/>
                    </a:lnTo>
                    <a:lnTo>
                      <a:pt x="4020" y="18180"/>
                    </a:lnTo>
                    <a:lnTo>
                      <a:pt x="4020" y="17820"/>
                    </a:lnTo>
                    <a:lnTo>
                      <a:pt x="4493" y="17820"/>
                    </a:lnTo>
                    <a:lnTo>
                      <a:pt x="4493" y="18180"/>
                    </a:lnTo>
                    <a:lnTo>
                      <a:pt x="4966" y="18180"/>
                    </a:lnTo>
                    <a:lnTo>
                      <a:pt x="4493" y="18540"/>
                    </a:lnTo>
                    <a:lnTo>
                      <a:pt x="4966" y="18540"/>
                    </a:lnTo>
                    <a:lnTo>
                      <a:pt x="4493" y="18840"/>
                    </a:lnTo>
                    <a:lnTo>
                      <a:pt x="4966" y="19200"/>
                    </a:lnTo>
                    <a:lnTo>
                      <a:pt x="4493" y="19200"/>
                    </a:lnTo>
                    <a:lnTo>
                      <a:pt x="4020" y="19560"/>
                    </a:lnTo>
                    <a:lnTo>
                      <a:pt x="4493" y="19560"/>
                    </a:lnTo>
                    <a:lnTo>
                      <a:pt x="4493" y="19920"/>
                    </a:lnTo>
                    <a:lnTo>
                      <a:pt x="4020" y="19920"/>
                    </a:lnTo>
                    <a:lnTo>
                      <a:pt x="4020" y="20580"/>
                    </a:lnTo>
                    <a:lnTo>
                      <a:pt x="4493" y="20580"/>
                    </a:lnTo>
                    <a:lnTo>
                      <a:pt x="4493" y="19920"/>
                    </a:lnTo>
                    <a:lnTo>
                      <a:pt x="4966" y="20220"/>
                    </a:lnTo>
                    <a:lnTo>
                      <a:pt x="4966" y="20580"/>
                    </a:lnTo>
                    <a:lnTo>
                      <a:pt x="5361" y="20580"/>
                    </a:lnTo>
                    <a:lnTo>
                      <a:pt x="4966" y="20580"/>
                    </a:lnTo>
                    <a:lnTo>
                      <a:pt x="4966" y="20940"/>
                    </a:lnTo>
                    <a:lnTo>
                      <a:pt x="6307" y="20940"/>
                    </a:lnTo>
                    <a:lnTo>
                      <a:pt x="6307" y="20580"/>
                    </a:lnTo>
                    <a:lnTo>
                      <a:pt x="6701" y="20940"/>
                    </a:lnTo>
                    <a:lnTo>
                      <a:pt x="7174" y="20940"/>
                    </a:lnTo>
                    <a:lnTo>
                      <a:pt x="7174" y="20580"/>
                    </a:lnTo>
                    <a:lnTo>
                      <a:pt x="8120" y="20580"/>
                    </a:lnTo>
                    <a:lnTo>
                      <a:pt x="8120" y="20940"/>
                    </a:lnTo>
                    <a:lnTo>
                      <a:pt x="8514" y="20940"/>
                    </a:lnTo>
                    <a:lnTo>
                      <a:pt x="8514" y="21600"/>
                    </a:lnTo>
                    <a:lnTo>
                      <a:pt x="8987" y="21600"/>
                    </a:lnTo>
                    <a:lnTo>
                      <a:pt x="8987" y="21240"/>
                    </a:lnTo>
                    <a:lnTo>
                      <a:pt x="8987" y="21600"/>
                    </a:lnTo>
                    <a:lnTo>
                      <a:pt x="8987" y="21240"/>
                    </a:lnTo>
                    <a:lnTo>
                      <a:pt x="9460" y="21240"/>
                    </a:lnTo>
                    <a:lnTo>
                      <a:pt x="9854" y="21600"/>
                    </a:lnTo>
                    <a:lnTo>
                      <a:pt x="10327" y="21600"/>
                    </a:lnTo>
                    <a:lnTo>
                      <a:pt x="10327" y="21240"/>
                    </a:lnTo>
                    <a:lnTo>
                      <a:pt x="10800" y="20940"/>
                    </a:lnTo>
                    <a:lnTo>
                      <a:pt x="10800" y="20220"/>
                    </a:lnTo>
                    <a:lnTo>
                      <a:pt x="11273" y="20220"/>
                    </a:lnTo>
                    <a:lnTo>
                      <a:pt x="11273" y="19920"/>
                    </a:lnTo>
                    <a:lnTo>
                      <a:pt x="11667" y="19920"/>
                    </a:lnTo>
                    <a:lnTo>
                      <a:pt x="11667" y="20220"/>
                    </a:lnTo>
                    <a:lnTo>
                      <a:pt x="12140" y="20220"/>
                    </a:lnTo>
                    <a:lnTo>
                      <a:pt x="12140" y="19200"/>
                    </a:lnTo>
                    <a:lnTo>
                      <a:pt x="12613" y="18840"/>
                    </a:lnTo>
                    <a:lnTo>
                      <a:pt x="12140" y="18840"/>
                    </a:lnTo>
                    <a:lnTo>
                      <a:pt x="12613" y="18840"/>
                    </a:lnTo>
                    <a:lnTo>
                      <a:pt x="12140" y="18540"/>
                    </a:lnTo>
                    <a:lnTo>
                      <a:pt x="12613" y="18540"/>
                    </a:lnTo>
                    <a:lnTo>
                      <a:pt x="12613" y="17820"/>
                    </a:lnTo>
                    <a:lnTo>
                      <a:pt x="13007" y="17820"/>
                    </a:lnTo>
                    <a:lnTo>
                      <a:pt x="13007" y="17520"/>
                    </a:lnTo>
                    <a:lnTo>
                      <a:pt x="13480" y="17520"/>
                    </a:lnTo>
                    <a:lnTo>
                      <a:pt x="13480" y="17160"/>
                    </a:lnTo>
                    <a:lnTo>
                      <a:pt x="13953" y="17520"/>
                    </a:lnTo>
                    <a:lnTo>
                      <a:pt x="13953" y="16440"/>
                    </a:lnTo>
                    <a:lnTo>
                      <a:pt x="14820" y="15420"/>
                    </a:lnTo>
                    <a:lnTo>
                      <a:pt x="14426" y="15120"/>
                    </a:lnTo>
                    <a:lnTo>
                      <a:pt x="14820" y="15120"/>
                    </a:lnTo>
                    <a:lnTo>
                      <a:pt x="14820" y="14760"/>
                    </a:lnTo>
                    <a:lnTo>
                      <a:pt x="15293" y="14760"/>
                    </a:lnTo>
                    <a:lnTo>
                      <a:pt x="15293" y="14040"/>
                    </a:lnTo>
                    <a:lnTo>
                      <a:pt x="15766" y="14040"/>
                    </a:lnTo>
                    <a:lnTo>
                      <a:pt x="15766" y="13740"/>
                    </a:lnTo>
                    <a:lnTo>
                      <a:pt x="15766" y="14040"/>
                    </a:lnTo>
                    <a:lnTo>
                      <a:pt x="16634" y="14040"/>
                    </a:lnTo>
                    <a:lnTo>
                      <a:pt x="16634" y="13740"/>
                    </a:lnTo>
                    <a:lnTo>
                      <a:pt x="17107" y="13740"/>
                    </a:lnTo>
                    <a:lnTo>
                      <a:pt x="17107" y="13380"/>
                    </a:lnTo>
                    <a:lnTo>
                      <a:pt x="17974" y="13380"/>
                    </a:lnTo>
                    <a:lnTo>
                      <a:pt x="17974" y="13740"/>
                    </a:lnTo>
                    <a:lnTo>
                      <a:pt x="18447" y="14040"/>
                    </a:lnTo>
                    <a:lnTo>
                      <a:pt x="18447" y="13740"/>
                    </a:lnTo>
                    <a:lnTo>
                      <a:pt x="18920" y="13740"/>
                    </a:lnTo>
                    <a:lnTo>
                      <a:pt x="18920" y="12720"/>
                    </a:lnTo>
                    <a:lnTo>
                      <a:pt x="19314" y="12720"/>
                    </a:lnTo>
                    <a:lnTo>
                      <a:pt x="18920" y="12720"/>
                    </a:lnTo>
                    <a:lnTo>
                      <a:pt x="18920" y="12360"/>
                    </a:lnTo>
                    <a:lnTo>
                      <a:pt x="19787" y="12360"/>
                    </a:lnTo>
                    <a:lnTo>
                      <a:pt x="20260" y="12000"/>
                    </a:lnTo>
                    <a:lnTo>
                      <a:pt x="20260" y="11640"/>
                    </a:lnTo>
                    <a:lnTo>
                      <a:pt x="20733" y="11340"/>
                    </a:lnTo>
                    <a:lnTo>
                      <a:pt x="20260" y="11340"/>
                    </a:lnTo>
                    <a:lnTo>
                      <a:pt x="20260" y="10980"/>
                    </a:lnTo>
                    <a:lnTo>
                      <a:pt x="19314" y="10980"/>
                    </a:lnTo>
                    <a:lnTo>
                      <a:pt x="19314" y="11340"/>
                    </a:lnTo>
                    <a:lnTo>
                      <a:pt x="18447" y="11340"/>
                    </a:lnTo>
                    <a:lnTo>
                      <a:pt x="18447" y="11640"/>
                    </a:lnTo>
                    <a:lnTo>
                      <a:pt x="17974" y="11640"/>
                    </a:lnTo>
                    <a:lnTo>
                      <a:pt x="17580" y="11340"/>
                    </a:lnTo>
                    <a:lnTo>
                      <a:pt x="16161" y="11340"/>
                    </a:lnTo>
                    <a:lnTo>
                      <a:pt x="16161" y="11640"/>
                    </a:lnTo>
                    <a:lnTo>
                      <a:pt x="15766" y="11640"/>
                    </a:lnTo>
                    <a:lnTo>
                      <a:pt x="15293" y="10980"/>
                    </a:lnTo>
                    <a:lnTo>
                      <a:pt x="14426" y="10980"/>
                    </a:lnTo>
                    <a:lnTo>
                      <a:pt x="14426" y="11340"/>
                    </a:lnTo>
                    <a:lnTo>
                      <a:pt x="13953" y="11340"/>
                    </a:lnTo>
                    <a:lnTo>
                      <a:pt x="13953" y="10980"/>
                    </a:lnTo>
                    <a:lnTo>
                      <a:pt x="13480" y="10980"/>
                    </a:lnTo>
                    <a:lnTo>
                      <a:pt x="13480" y="9600"/>
                    </a:lnTo>
                    <a:lnTo>
                      <a:pt x="13007" y="9600"/>
                    </a:lnTo>
                    <a:lnTo>
                      <a:pt x="13480" y="9600"/>
                    </a:lnTo>
                    <a:lnTo>
                      <a:pt x="13007" y="9600"/>
                    </a:lnTo>
                    <a:lnTo>
                      <a:pt x="13007" y="9300"/>
                    </a:lnTo>
                    <a:lnTo>
                      <a:pt x="12613" y="9300"/>
                    </a:lnTo>
                    <a:lnTo>
                      <a:pt x="12613" y="8580"/>
                    </a:lnTo>
                    <a:lnTo>
                      <a:pt x="13007" y="8580"/>
                    </a:lnTo>
                    <a:lnTo>
                      <a:pt x="13007" y="7560"/>
                    </a:lnTo>
                    <a:lnTo>
                      <a:pt x="13480" y="7560"/>
                    </a:lnTo>
                    <a:lnTo>
                      <a:pt x="13480" y="7200"/>
                    </a:lnTo>
                    <a:lnTo>
                      <a:pt x="14820" y="7200"/>
                    </a:lnTo>
                    <a:lnTo>
                      <a:pt x="14820" y="7560"/>
                    </a:lnTo>
                    <a:lnTo>
                      <a:pt x="15293" y="7560"/>
                    </a:lnTo>
                    <a:lnTo>
                      <a:pt x="15766" y="7920"/>
                    </a:lnTo>
                    <a:lnTo>
                      <a:pt x="16161" y="7920"/>
                    </a:lnTo>
                    <a:lnTo>
                      <a:pt x="16161" y="8220"/>
                    </a:lnTo>
                    <a:lnTo>
                      <a:pt x="15766" y="8220"/>
                    </a:lnTo>
                    <a:lnTo>
                      <a:pt x="15766" y="8580"/>
                    </a:lnTo>
                    <a:lnTo>
                      <a:pt x="15293" y="8580"/>
                    </a:lnTo>
                    <a:lnTo>
                      <a:pt x="15766" y="8580"/>
                    </a:lnTo>
                    <a:lnTo>
                      <a:pt x="15766" y="8940"/>
                    </a:lnTo>
                    <a:lnTo>
                      <a:pt x="15293" y="8940"/>
                    </a:lnTo>
                    <a:lnTo>
                      <a:pt x="15293" y="9300"/>
                    </a:lnTo>
                    <a:lnTo>
                      <a:pt x="14820" y="9300"/>
                    </a:lnTo>
                    <a:lnTo>
                      <a:pt x="15766" y="9300"/>
                    </a:lnTo>
                    <a:lnTo>
                      <a:pt x="15766" y="8940"/>
                    </a:lnTo>
                    <a:lnTo>
                      <a:pt x="16161" y="8580"/>
                    </a:lnTo>
                    <a:lnTo>
                      <a:pt x="16634" y="8580"/>
                    </a:lnTo>
                    <a:lnTo>
                      <a:pt x="16634" y="9300"/>
                    </a:lnTo>
                    <a:lnTo>
                      <a:pt x="17107" y="9300"/>
                    </a:lnTo>
                    <a:lnTo>
                      <a:pt x="17107" y="9600"/>
                    </a:lnTo>
                    <a:lnTo>
                      <a:pt x="16634" y="9600"/>
                    </a:lnTo>
                    <a:lnTo>
                      <a:pt x="17107" y="9600"/>
                    </a:lnTo>
                    <a:lnTo>
                      <a:pt x="17107" y="9960"/>
                    </a:lnTo>
                    <a:lnTo>
                      <a:pt x="17107" y="9600"/>
                    </a:lnTo>
                    <a:lnTo>
                      <a:pt x="17107" y="9960"/>
                    </a:lnTo>
                    <a:lnTo>
                      <a:pt x="17580" y="9600"/>
                    </a:lnTo>
                    <a:lnTo>
                      <a:pt x="17974" y="9600"/>
                    </a:lnTo>
                    <a:lnTo>
                      <a:pt x="17580" y="9600"/>
                    </a:lnTo>
                    <a:lnTo>
                      <a:pt x="17974" y="9300"/>
                    </a:lnTo>
                    <a:lnTo>
                      <a:pt x="17580" y="9300"/>
                    </a:lnTo>
                    <a:lnTo>
                      <a:pt x="17580" y="8940"/>
                    </a:lnTo>
                    <a:lnTo>
                      <a:pt x="17580" y="9300"/>
                    </a:lnTo>
                    <a:lnTo>
                      <a:pt x="17974" y="8940"/>
                    </a:lnTo>
                    <a:lnTo>
                      <a:pt x="17974" y="8580"/>
                    </a:lnTo>
                    <a:lnTo>
                      <a:pt x="18447" y="8940"/>
                    </a:lnTo>
                    <a:lnTo>
                      <a:pt x="18447" y="8580"/>
                    </a:lnTo>
                    <a:lnTo>
                      <a:pt x="18920" y="8940"/>
                    </a:lnTo>
                    <a:lnTo>
                      <a:pt x="18447" y="8940"/>
                    </a:lnTo>
                    <a:lnTo>
                      <a:pt x="19314" y="8940"/>
                    </a:lnTo>
                    <a:lnTo>
                      <a:pt x="19314" y="8580"/>
                    </a:lnTo>
                    <a:lnTo>
                      <a:pt x="19787" y="8580"/>
                    </a:lnTo>
                    <a:lnTo>
                      <a:pt x="19787" y="8220"/>
                    </a:lnTo>
                    <a:lnTo>
                      <a:pt x="20260" y="8580"/>
                    </a:lnTo>
                    <a:lnTo>
                      <a:pt x="21127" y="8580"/>
                    </a:lnTo>
                    <a:lnTo>
                      <a:pt x="21127" y="8220"/>
                    </a:lnTo>
                    <a:lnTo>
                      <a:pt x="20733" y="8220"/>
                    </a:lnTo>
                    <a:lnTo>
                      <a:pt x="20733" y="7920"/>
                    </a:lnTo>
                    <a:lnTo>
                      <a:pt x="20260" y="7920"/>
                    </a:lnTo>
                    <a:lnTo>
                      <a:pt x="20733" y="7920"/>
                    </a:lnTo>
                    <a:lnTo>
                      <a:pt x="20733" y="7560"/>
                    </a:lnTo>
                    <a:lnTo>
                      <a:pt x="20260" y="7560"/>
                    </a:lnTo>
                    <a:lnTo>
                      <a:pt x="20733" y="7560"/>
                    </a:lnTo>
                    <a:lnTo>
                      <a:pt x="20733" y="7200"/>
                    </a:lnTo>
                    <a:lnTo>
                      <a:pt x="20260" y="7200"/>
                    </a:lnTo>
                    <a:lnTo>
                      <a:pt x="20260" y="6900"/>
                    </a:lnTo>
                    <a:lnTo>
                      <a:pt x="20733" y="6900"/>
                    </a:lnTo>
                    <a:lnTo>
                      <a:pt x="20733" y="6180"/>
                    </a:lnTo>
                    <a:lnTo>
                      <a:pt x="21127" y="6180"/>
                    </a:lnTo>
                    <a:lnTo>
                      <a:pt x="21600" y="5820"/>
                    </a:lnTo>
                    <a:lnTo>
                      <a:pt x="21127" y="5820"/>
                    </a:lnTo>
                    <a:lnTo>
                      <a:pt x="20733" y="5520"/>
                    </a:lnTo>
                    <a:lnTo>
                      <a:pt x="20733" y="5820"/>
                    </a:lnTo>
                    <a:lnTo>
                      <a:pt x="20260" y="5820"/>
                    </a:lnTo>
                    <a:lnTo>
                      <a:pt x="20260" y="5520"/>
                    </a:lnTo>
                    <a:lnTo>
                      <a:pt x="19787" y="5520"/>
                    </a:lnTo>
                    <a:lnTo>
                      <a:pt x="19787" y="5160"/>
                    </a:lnTo>
                    <a:lnTo>
                      <a:pt x="18447" y="5160"/>
                    </a:lnTo>
                    <a:lnTo>
                      <a:pt x="18447" y="4800"/>
                    </a:lnTo>
                    <a:lnTo>
                      <a:pt x="17580" y="4800"/>
                    </a:lnTo>
                    <a:lnTo>
                      <a:pt x="17580" y="4500"/>
                    </a:lnTo>
                    <a:lnTo>
                      <a:pt x="17107" y="4500"/>
                    </a:lnTo>
                    <a:lnTo>
                      <a:pt x="16634" y="3420"/>
                    </a:lnTo>
                    <a:lnTo>
                      <a:pt x="15766" y="3420"/>
                    </a:lnTo>
                    <a:lnTo>
                      <a:pt x="15766" y="3780"/>
                    </a:lnTo>
                    <a:lnTo>
                      <a:pt x="14426" y="3780"/>
                    </a:lnTo>
                    <a:lnTo>
                      <a:pt x="14426" y="2400"/>
                    </a:lnTo>
                    <a:lnTo>
                      <a:pt x="13953" y="2400"/>
                    </a:lnTo>
                    <a:lnTo>
                      <a:pt x="13953" y="2100"/>
                    </a:lnTo>
                    <a:lnTo>
                      <a:pt x="13953" y="2400"/>
                    </a:lnTo>
                    <a:lnTo>
                      <a:pt x="13007" y="2400"/>
                    </a:lnTo>
                    <a:lnTo>
                      <a:pt x="13007" y="2100"/>
                    </a:lnTo>
                    <a:lnTo>
                      <a:pt x="12613" y="1740"/>
                    </a:lnTo>
                    <a:lnTo>
                      <a:pt x="13007" y="1380"/>
                    </a:lnTo>
                    <a:lnTo>
                      <a:pt x="10800" y="1380"/>
                    </a:lnTo>
                    <a:lnTo>
                      <a:pt x="10800" y="1020"/>
                    </a:lnTo>
                    <a:lnTo>
                      <a:pt x="10800" y="1380"/>
                    </a:lnTo>
                    <a:lnTo>
                      <a:pt x="10327" y="1380"/>
                    </a:lnTo>
                    <a:lnTo>
                      <a:pt x="10327" y="1020"/>
                    </a:lnTo>
                    <a:lnTo>
                      <a:pt x="9854" y="1020"/>
                    </a:lnTo>
                    <a:lnTo>
                      <a:pt x="9854" y="360"/>
                    </a:lnTo>
                    <a:lnTo>
                      <a:pt x="9460" y="360"/>
                    </a:lnTo>
                    <a:lnTo>
                      <a:pt x="9460" y="0"/>
                    </a:lnTo>
                    <a:lnTo>
                      <a:pt x="8987" y="0"/>
                    </a:lnTo>
                    <a:lnTo>
                      <a:pt x="8987" y="360"/>
                    </a:lnTo>
                    <a:lnTo>
                      <a:pt x="8514" y="360"/>
                    </a:lnTo>
                    <a:lnTo>
                      <a:pt x="8514" y="720"/>
                    </a:lnTo>
                    <a:lnTo>
                      <a:pt x="7174" y="720"/>
                    </a:lnTo>
                    <a:lnTo>
                      <a:pt x="7174" y="1020"/>
                    </a:lnTo>
                    <a:lnTo>
                      <a:pt x="6307" y="1020"/>
                    </a:lnTo>
                    <a:lnTo>
                      <a:pt x="6307" y="720"/>
                    </a:lnTo>
                    <a:lnTo>
                      <a:pt x="6307" y="1020"/>
                    </a:lnTo>
                    <a:lnTo>
                      <a:pt x="5834" y="1020"/>
                    </a:lnTo>
                    <a:lnTo>
                      <a:pt x="5834" y="1380"/>
                    </a:lnTo>
                    <a:lnTo>
                      <a:pt x="6307" y="1380"/>
                    </a:lnTo>
                    <a:lnTo>
                      <a:pt x="6307" y="1740"/>
                    </a:lnTo>
                    <a:lnTo>
                      <a:pt x="5834" y="1740"/>
                    </a:lnTo>
                    <a:lnTo>
                      <a:pt x="6307" y="1740"/>
                    </a:lnTo>
                    <a:lnTo>
                      <a:pt x="5834" y="1740"/>
                    </a:lnTo>
                    <a:lnTo>
                      <a:pt x="5834" y="2100"/>
                    </a:lnTo>
                    <a:lnTo>
                      <a:pt x="6307" y="2100"/>
                    </a:lnTo>
                    <a:lnTo>
                      <a:pt x="6307" y="2400"/>
                    </a:lnTo>
                    <a:lnTo>
                      <a:pt x="6701" y="2400"/>
                    </a:lnTo>
                    <a:lnTo>
                      <a:pt x="6701" y="2760"/>
                    </a:lnTo>
                    <a:lnTo>
                      <a:pt x="5834" y="2760"/>
                    </a:lnTo>
                    <a:lnTo>
                      <a:pt x="5834" y="3120"/>
                    </a:lnTo>
                    <a:lnTo>
                      <a:pt x="4966" y="3120"/>
                    </a:lnTo>
                    <a:lnTo>
                      <a:pt x="4966" y="3420"/>
                    </a:lnTo>
                    <a:lnTo>
                      <a:pt x="4020" y="3420"/>
                    </a:lnTo>
                    <a:lnTo>
                      <a:pt x="4020" y="3780"/>
                    </a:lnTo>
                    <a:lnTo>
                      <a:pt x="4020" y="3420"/>
                    </a:lnTo>
                    <a:lnTo>
                      <a:pt x="3547" y="3420"/>
                    </a:lnTo>
                    <a:lnTo>
                      <a:pt x="3547" y="3780"/>
                    </a:lnTo>
                    <a:lnTo>
                      <a:pt x="3153" y="3780"/>
                    </a:lnTo>
                    <a:lnTo>
                      <a:pt x="3153" y="3420"/>
                    </a:lnTo>
                    <a:lnTo>
                      <a:pt x="2680" y="3420"/>
                    </a:lnTo>
                    <a:lnTo>
                      <a:pt x="2680" y="3780"/>
                    </a:lnTo>
                    <a:lnTo>
                      <a:pt x="2680" y="3420"/>
                    </a:lnTo>
                    <a:lnTo>
                      <a:pt x="2207" y="3420"/>
                    </a:lnTo>
                    <a:lnTo>
                      <a:pt x="1813" y="3780"/>
                    </a:lnTo>
                    <a:lnTo>
                      <a:pt x="2207" y="3780"/>
                    </a:lnTo>
                    <a:lnTo>
                      <a:pt x="2207" y="4500"/>
                    </a:lnTo>
                    <a:lnTo>
                      <a:pt x="2680" y="4500"/>
                    </a:lnTo>
                    <a:lnTo>
                      <a:pt x="2680" y="4800"/>
                    </a:lnTo>
                    <a:lnTo>
                      <a:pt x="2207" y="4800"/>
                    </a:lnTo>
                    <a:lnTo>
                      <a:pt x="2680" y="4800"/>
                    </a:lnTo>
                    <a:lnTo>
                      <a:pt x="2680" y="5160"/>
                    </a:lnTo>
                    <a:lnTo>
                      <a:pt x="2207" y="5160"/>
                    </a:lnTo>
                    <a:lnTo>
                      <a:pt x="2207" y="5820"/>
                    </a:lnTo>
                    <a:lnTo>
                      <a:pt x="1340" y="5820"/>
                    </a:lnTo>
                    <a:lnTo>
                      <a:pt x="1340" y="6180"/>
                    </a:lnTo>
                    <a:lnTo>
                      <a:pt x="867" y="6180"/>
                    </a:lnTo>
                    <a:lnTo>
                      <a:pt x="867" y="7200"/>
                    </a:lnTo>
                    <a:lnTo>
                      <a:pt x="394" y="7200"/>
                    </a:lnTo>
                    <a:lnTo>
                      <a:pt x="394" y="792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30" name="Shape 2954"/>
              <p:cNvSpPr/>
              <p:nvPr/>
            </p:nvSpPr>
            <p:spPr>
              <a:xfrm>
                <a:off x="8038416" y="4520831"/>
                <a:ext cx="164646" cy="2801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47" y="18371"/>
                    </a:moveTo>
                    <a:lnTo>
                      <a:pt x="2084" y="18371"/>
                    </a:lnTo>
                    <a:lnTo>
                      <a:pt x="947" y="17814"/>
                    </a:lnTo>
                    <a:lnTo>
                      <a:pt x="947" y="17146"/>
                    </a:lnTo>
                    <a:lnTo>
                      <a:pt x="2084" y="16478"/>
                    </a:lnTo>
                    <a:lnTo>
                      <a:pt x="3221" y="16478"/>
                    </a:lnTo>
                    <a:lnTo>
                      <a:pt x="3221" y="15254"/>
                    </a:lnTo>
                    <a:lnTo>
                      <a:pt x="2084" y="15254"/>
                    </a:lnTo>
                    <a:lnTo>
                      <a:pt x="2084" y="15810"/>
                    </a:lnTo>
                    <a:lnTo>
                      <a:pt x="947" y="15254"/>
                    </a:lnTo>
                    <a:lnTo>
                      <a:pt x="947" y="14586"/>
                    </a:lnTo>
                    <a:lnTo>
                      <a:pt x="0" y="14586"/>
                    </a:lnTo>
                    <a:lnTo>
                      <a:pt x="0" y="13361"/>
                    </a:lnTo>
                    <a:lnTo>
                      <a:pt x="947" y="12693"/>
                    </a:lnTo>
                    <a:lnTo>
                      <a:pt x="2084" y="12693"/>
                    </a:lnTo>
                    <a:lnTo>
                      <a:pt x="4358" y="10800"/>
                    </a:lnTo>
                    <a:lnTo>
                      <a:pt x="5305" y="11357"/>
                    </a:lnTo>
                    <a:lnTo>
                      <a:pt x="7579" y="9464"/>
                    </a:lnTo>
                    <a:lnTo>
                      <a:pt x="7579" y="6903"/>
                    </a:lnTo>
                    <a:lnTo>
                      <a:pt x="6442" y="7571"/>
                    </a:lnTo>
                    <a:lnTo>
                      <a:pt x="947" y="5678"/>
                    </a:lnTo>
                    <a:lnTo>
                      <a:pt x="947" y="5010"/>
                    </a:lnTo>
                    <a:lnTo>
                      <a:pt x="2084" y="4454"/>
                    </a:lnTo>
                    <a:lnTo>
                      <a:pt x="2084" y="3786"/>
                    </a:lnTo>
                    <a:lnTo>
                      <a:pt x="947" y="3118"/>
                    </a:lnTo>
                    <a:lnTo>
                      <a:pt x="2084" y="2449"/>
                    </a:lnTo>
                    <a:lnTo>
                      <a:pt x="0" y="1893"/>
                    </a:lnTo>
                    <a:lnTo>
                      <a:pt x="2084" y="0"/>
                    </a:lnTo>
                    <a:lnTo>
                      <a:pt x="4358" y="1225"/>
                    </a:lnTo>
                    <a:lnTo>
                      <a:pt x="6442" y="0"/>
                    </a:lnTo>
                    <a:lnTo>
                      <a:pt x="7579" y="1225"/>
                    </a:lnTo>
                    <a:lnTo>
                      <a:pt x="9663" y="0"/>
                    </a:lnTo>
                    <a:lnTo>
                      <a:pt x="11937" y="1225"/>
                    </a:lnTo>
                    <a:lnTo>
                      <a:pt x="10800" y="2449"/>
                    </a:lnTo>
                    <a:lnTo>
                      <a:pt x="12884" y="3786"/>
                    </a:lnTo>
                    <a:lnTo>
                      <a:pt x="14021" y="2449"/>
                    </a:lnTo>
                    <a:lnTo>
                      <a:pt x="20463" y="5678"/>
                    </a:lnTo>
                    <a:lnTo>
                      <a:pt x="21600" y="5678"/>
                    </a:lnTo>
                    <a:lnTo>
                      <a:pt x="20463" y="6346"/>
                    </a:lnTo>
                    <a:lnTo>
                      <a:pt x="19516" y="7571"/>
                    </a:lnTo>
                    <a:lnTo>
                      <a:pt x="18379" y="8907"/>
                    </a:lnTo>
                    <a:lnTo>
                      <a:pt x="19516" y="9464"/>
                    </a:lnTo>
                    <a:lnTo>
                      <a:pt x="17242" y="10800"/>
                    </a:lnTo>
                    <a:lnTo>
                      <a:pt x="18379" y="10800"/>
                    </a:lnTo>
                    <a:lnTo>
                      <a:pt x="18379" y="10132"/>
                    </a:lnTo>
                    <a:lnTo>
                      <a:pt x="18379" y="10800"/>
                    </a:lnTo>
                    <a:lnTo>
                      <a:pt x="19516" y="10800"/>
                    </a:lnTo>
                    <a:lnTo>
                      <a:pt x="18379" y="11357"/>
                    </a:lnTo>
                    <a:lnTo>
                      <a:pt x="19516" y="12025"/>
                    </a:lnTo>
                    <a:lnTo>
                      <a:pt x="18379" y="12693"/>
                    </a:lnTo>
                    <a:lnTo>
                      <a:pt x="17242" y="12693"/>
                    </a:lnTo>
                    <a:lnTo>
                      <a:pt x="18379" y="12693"/>
                    </a:lnTo>
                    <a:lnTo>
                      <a:pt x="17242" y="12693"/>
                    </a:lnTo>
                    <a:lnTo>
                      <a:pt x="16105" y="13361"/>
                    </a:lnTo>
                    <a:lnTo>
                      <a:pt x="16105" y="13918"/>
                    </a:lnTo>
                    <a:lnTo>
                      <a:pt x="15158" y="14586"/>
                    </a:lnTo>
                    <a:lnTo>
                      <a:pt x="16105" y="15254"/>
                    </a:lnTo>
                    <a:lnTo>
                      <a:pt x="15158" y="15810"/>
                    </a:lnTo>
                    <a:lnTo>
                      <a:pt x="16105" y="16478"/>
                    </a:lnTo>
                    <a:lnTo>
                      <a:pt x="15158" y="17146"/>
                    </a:lnTo>
                    <a:lnTo>
                      <a:pt x="15158" y="18371"/>
                    </a:lnTo>
                    <a:lnTo>
                      <a:pt x="18379" y="18371"/>
                    </a:lnTo>
                    <a:lnTo>
                      <a:pt x="18379" y="19707"/>
                    </a:lnTo>
                    <a:lnTo>
                      <a:pt x="17242" y="19707"/>
                    </a:lnTo>
                    <a:lnTo>
                      <a:pt x="17242" y="21600"/>
                    </a:lnTo>
                    <a:lnTo>
                      <a:pt x="16105" y="21600"/>
                    </a:lnTo>
                    <a:lnTo>
                      <a:pt x="15158" y="20264"/>
                    </a:lnTo>
                    <a:lnTo>
                      <a:pt x="11937" y="20264"/>
                    </a:lnTo>
                    <a:lnTo>
                      <a:pt x="11937" y="20932"/>
                    </a:lnTo>
                    <a:lnTo>
                      <a:pt x="10800" y="20932"/>
                    </a:lnTo>
                    <a:lnTo>
                      <a:pt x="10800" y="20264"/>
                    </a:lnTo>
                    <a:lnTo>
                      <a:pt x="9663" y="20264"/>
                    </a:lnTo>
                    <a:lnTo>
                      <a:pt x="10800" y="20264"/>
                    </a:lnTo>
                    <a:lnTo>
                      <a:pt x="8526" y="20264"/>
                    </a:lnTo>
                    <a:lnTo>
                      <a:pt x="8526" y="19707"/>
                    </a:lnTo>
                    <a:lnTo>
                      <a:pt x="7579" y="19707"/>
                    </a:lnTo>
                    <a:lnTo>
                      <a:pt x="7579" y="20264"/>
                    </a:lnTo>
                    <a:lnTo>
                      <a:pt x="6442" y="20264"/>
                    </a:lnTo>
                    <a:lnTo>
                      <a:pt x="6442" y="20932"/>
                    </a:lnTo>
                    <a:lnTo>
                      <a:pt x="5305" y="20932"/>
                    </a:lnTo>
                    <a:lnTo>
                      <a:pt x="5305" y="20264"/>
                    </a:lnTo>
                    <a:lnTo>
                      <a:pt x="5305" y="20932"/>
                    </a:lnTo>
                    <a:lnTo>
                      <a:pt x="4358" y="20264"/>
                    </a:lnTo>
                    <a:lnTo>
                      <a:pt x="3221" y="19707"/>
                    </a:lnTo>
                    <a:lnTo>
                      <a:pt x="2084" y="18371"/>
                    </a:lnTo>
                    <a:lnTo>
                      <a:pt x="947" y="1837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31" name="Shape 2955"/>
              <p:cNvSpPr/>
              <p:nvPr/>
            </p:nvSpPr>
            <p:spPr>
              <a:xfrm>
                <a:off x="7625356" y="4387959"/>
                <a:ext cx="470830" cy="5531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552" y="15453"/>
                    </a:moveTo>
                    <a:lnTo>
                      <a:pt x="18552" y="14832"/>
                    </a:lnTo>
                    <a:lnTo>
                      <a:pt x="18950" y="14832"/>
                    </a:lnTo>
                    <a:lnTo>
                      <a:pt x="18950" y="14494"/>
                    </a:lnTo>
                    <a:lnTo>
                      <a:pt x="19679" y="14494"/>
                    </a:lnTo>
                    <a:lnTo>
                      <a:pt x="19281" y="14212"/>
                    </a:lnTo>
                    <a:lnTo>
                      <a:pt x="19281" y="13874"/>
                    </a:lnTo>
                    <a:lnTo>
                      <a:pt x="19679" y="13535"/>
                    </a:lnTo>
                    <a:lnTo>
                      <a:pt x="20076" y="13535"/>
                    </a:lnTo>
                    <a:lnTo>
                      <a:pt x="20076" y="12915"/>
                    </a:lnTo>
                    <a:lnTo>
                      <a:pt x="19679" y="12915"/>
                    </a:lnTo>
                    <a:lnTo>
                      <a:pt x="19679" y="13197"/>
                    </a:lnTo>
                    <a:lnTo>
                      <a:pt x="19281" y="12915"/>
                    </a:lnTo>
                    <a:lnTo>
                      <a:pt x="19281" y="12577"/>
                    </a:lnTo>
                    <a:lnTo>
                      <a:pt x="18950" y="12577"/>
                    </a:lnTo>
                    <a:lnTo>
                      <a:pt x="18950" y="11956"/>
                    </a:lnTo>
                    <a:lnTo>
                      <a:pt x="19281" y="11618"/>
                    </a:lnTo>
                    <a:lnTo>
                      <a:pt x="19679" y="11618"/>
                    </a:lnTo>
                    <a:lnTo>
                      <a:pt x="20474" y="10659"/>
                    </a:lnTo>
                    <a:lnTo>
                      <a:pt x="20805" y="10941"/>
                    </a:lnTo>
                    <a:lnTo>
                      <a:pt x="21600" y="9982"/>
                    </a:lnTo>
                    <a:lnTo>
                      <a:pt x="21600" y="8685"/>
                    </a:lnTo>
                    <a:lnTo>
                      <a:pt x="21202" y="9023"/>
                    </a:lnTo>
                    <a:lnTo>
                      <a:pt x="19281" y="8065"/>
                    </a:lnTo>
                    <a:lnTo>
                      <a:pt x="19281" y="7726"/>
                    </a:lnTo>
                    <a:lnTo>
                      <a:pt x="18950" y="7726"/>
                    </a:lnTo>
                    <a:lnTo>
                      <a:pt x="18950" y="7444"/>
                    </a:lnTo>
                    <a:lnTo>
                      <a:pt x="18155" y="7444"/>
                    </a:lnTo>
                    <a:lnTo>
                      <a:pt x="18155" y="7726"/>
                    </a:lnTo>
                    <a:lnTo>
                      <a:pt x="17426" y="7726"/>
                    </a:lnTo>
                    <a:lnTo>
                      <a:pt x="17426" y="8065"/>
                    </a:lnTo>
                    <a:lnTo>
                      <a:pt x="16631" y="8065"/>
                    </a:lnTo>
                    <a:lnTo>
                      <a:pt x="16631" y="7444"/>
                    </a:lnTo>
                    <a:lnTo>
                      <a:pt x="15504" y="7444"/>
                    </a:lnTo>
                    <a:lnTo>
                      <a:pt x="15504" y="7726"/>
                    </a:lnTo>
                    <a:lnTo>
                      <a:pt x="15173" y="7726"/>
                    </a:lnTo>
                    <a:lnTo>
                      <a:pt x="15173" y="7444"/>
                    </a:lnTo>
                    <a:lnTo>
                      <a:pt x="13649" y="7444"/>
                    </a:lnTo>
                    <a:lnTo>
                      <a:pt x="13649" y="7106"/>
                    </a:lnTo>
                    <a:lnTo>
                      <a:pt x="13252" y="7106"/>
                    </a:lnTo>
                    <a:lnTo>
                      <a:pt x="13252" y="7726"/>
                    </a:lnTo>
                    <a:lnTo>
                      <a:pt x="12854" y="7444"/>
                    </a:lnTo>
                    <a:lnTo>
                      <a:pt x="12523" y="8065"/>
                    </a:lnTo>
                    <a:lnTo>
                      <a:pt x="12125" y="8403"/>
                    </a:lnTo>
                    <a:lnTo>
                      <a:pt x="11728" y="9023"/>
                    </a:lnTo>
                    <a:lnTo>
                      <a:pt x="10999" y="8685"/>
                    </a:lnTo>
                    <a:lnTo>
                      <a:pt x="11330" y="8685"/>
                    </a:lnTo>
                    <a:lnTo>
                      <a:pt x="11728" y="8065"/>
                    </a:lnTo>
                    <a:lnTo>
                      <a:pt x="11330" y="7726"/>
                    </a:lnTo>
                    <a:lnTo>
                      <a:pt x="11330" y="7444"/>
                    </a:lnTo>
                    <a:lnTo>
                      <a:pt x="10601" y="7444"/>
                    </a:lnTo>
                    <a:lnTo>
                      <a:pt x="11330" y="6768"/>
                    </a:lnTo>
                    <a:lnTo>
                      <a:pt x="10204" y="5809"/>
                    </a:lnTo>
                    <a:lnTo>
                      <a:pt x="10999" y="4850"/>
                    </a:lnTo>
                    <a:lnTo>
                      <a:pt x="11330" y="4230"/>
                    </a:lnTo>
                    <a:lnTo>
                      <a:pt x="12125" y="4230"/>
                    </a:lnTo>
                    <a:lnTo>
                      <a:pt x="12125" y="3553"/>
                    </a:lnTo>
                    <a:lnTo>
                      <a:pt x="11728" y="3553"/>
                    </a:lnTo>
                    <a:lnTo>
                      <a:pt x="12125" y="3553"/>
                    </a:lnTo>
                    <a:lnTo>
                      <a:pt x="12125" y="2933"/>
                    </a:lnTo>
                    <a:lnTo>
                      <a:pt x="12854" y="1974"/>
                    </a:lnTo>
                    <a:lnTo>
                      <a:pt x="12523" y="1974"/>
                    </a:lnTo>
                    <a:lnTo>
                      <a:pt x="12523" y="1636"/>
                    </a:lnTo>
                    <a:lnTo>
                      <a:pt x="12125" y="1297"/>
                    </a:lnTo>
                    <a:lnTo>
                      <a:pt x="12125" y="677"/>
                    </a:lnTo>
                    <a:lnTo>
                      <a:pt x="11728" y="677"/>
                    </a:lnTo>
                    <a:lnTo>
                      <a:pt x="11728" y="338"/>
                    </a:lnTo>
                    <a:lnTo>
                      <a:pt x="11330" y="338"/>
                    </a:lnTo>
                    <a:lnTo>
                      <a:pt x="10999" y="0"/>
                    </a:lnTo>
                    <a:lnTo>
                      <a:pt x="10601" y="0"/>
                    </a:lnTo>
                    <a:lnTo>
                      <a:pt x="10601" y="338"/>
                    </a:lnTo>
                    <a:lnTo>
                      <a:pt x="10204" y="338"/>
                    </a:lnTo>
                    <a:lnTo>
                      <a:pt x="10204" y="677"/>
                    </a:lnTo>
                    <a:lnTo>
                      <a:pt x="9872" y="677"/>
                    </a:lnTo>
                    <a:lnTo>
                      <a:pt x="9872" y="959"/>
                    </a:lnTo>
                    <a:lnTo>
                      <a:pt x="9475" y="959"/>
                    </a:lnTo>
                    <a:lnTo>
                      <a:pt x="9475" y="1636"/>
                    </a:lnTo>
                    <a:lnTo>
                      <a:pt x="9077" y="1297"/>
                    </a:lnTo>
                    <a:lnTo>
                      <a:pt x="9077" y="1636"/>
                    </a:lnTo>
                    <a:lnTo>
                      <a:pt x="8680" y="1636"/>
                    </a:lnTo>
                    <a:lnTo>
                      <a:pt x="8680" y="1974"/>
                    </a:lnTo>
                    <a:lnTo>
                      <a:pt x="8348" y="1974"/>
                    </a:lnTo>
                    <a:lnTo>
                      <a:pt x="8680" y="1974"/>
                    </a:lnTo>
                    <a:lnTo>
                      <a:pt x="8348" y="1974"/>
                    </a:lnTo>
                    <a:lnTo>
                      <a:pt x="8348" y="2256"/>
                    </a:lnTo>
                    <a:lnTo>
                      <a:pt x="7951" y="2256"/>
                    </a:lnTo>
                    <a:lnTo>
                      <a:pt x="7951" y="1974"/>
                    </a:lnTo>
                    <a:lnTo>
                      <a:pt x="7222" y="1974"/>
                    </a:lnTo>
                    <a:lnTo>
                      <a:pt x="7222" y="2256"/>
                    </a:lnTo>
                    <a:lnTo>
                      <a:pt x="6825" y="2256"/>
                    </a:lnTo>
                    <a:lnTo>
                      <a:pt x="6825" y="2594"/>
                    </a:lnTo>
                    <a:lnTo>
                      <a:pt x="7222" y="2594"/>
                    </a:lnTo>
                    <a:lnTo>
                      <a:pt x="7222" y="2933"/>
                    </a:lnTo>
                    <a:lnTo>
                      <a:pt x="8348" y="2933"/>
                    </a:lnTo>
                    <a:lnTo>
                      <a:pt x="7951" y="3215"/>
                    </a:lnTo>
                    <a:lnTo>
                      <a:pt x="7222" y="4230"/>
                    </a:lnTo>
                    <a:lnTo>
                      <a:pt x="7553" y="4512"/>
                    </a:lnTo>
                    <a:lnTo>
                      <a:pt x="7222" y="4850"/>
                    </a:lnTo>
                    <a:lnTo>
                      <a:pt x="6427" y="5470"/>
                    </a:lnTo>
                    <a:lnTo>
                      <a:pt x="6825" y="5809"/>
                    </a:lnTo>
                    <a:lnTo>
                      <a:pt x="6825" y="6147"/>
                    </a:lnTo>
                    <a:lnTo>
                      <a:pt x="6427" y="6147"/>
                    </a:lnTo>
                    <a:lnTo>
                      <a:pt x="6427" y="6429"/>
                    </a:lnTo>
                    <a:lnTo>
                      <a:pt x="6427" y="6147"/>
                    </a:lnTo>
                    <a:lnTo>
                      <a:pt x="6427" y="6768"/>
                    </a:lnTo>
                    <a:lnTo>
                      <a:pt x="6825" y="6768"/>
                    </a:lnTo>
                    <a:lnTo>
                      <a:pt x="6427" y="7106"/>
                    </a:lnTo>
                    <a:lnTo>
                      <a:pt x="6825" y="7106"/>
                    </a:lnTo>
                    <a:lnTo>
                      <a:pt x="6825" y="7444"/>
                    </a:lnTo>
                    <a:lnTo>
                      <a:pt x="6427" y="7444"/>
                    </a:lnTo>
                    <a:lnTo>
                      <a:pt x="6427" y="7726"/>
                    </a:lnTo>
                    <a:lnTo>
                      <a:pt x="6029" y="7726"/>
                    </a:lnTo>
                    <a:lnTo>
                      <a:pt x="6029" y="7444"/>
                    </a:lnTo>
                    <a:lnTo>
                      <a:pt x="5698" y="7444"/>
                    </a:lnTo>
                    <a:lnTo>
                      <a:pt x="5698" y="8065"/>
                    </a:lnTo>
                    <a:lnTo>
                      <a:pt x="5301" y="8065"/>
                    </a:lnTo>
                    <a:lnTo>
                      <a:pt x="5301" y="7726"/>
                    </a:lnTo>
                    <a:lnTo>
                      <a:pt x="4903" y="8065"/>
                    </a:lnTo>
                    <a:lnTo>
                      <a:pt x="4572" y="7726"/>
                    </a:lnTo>
                    <a:lnTo>
                      <a:pt x="4572" y="8403"/>
                    </a:lnTo>
                    <a:lnTo>
                      <a:pt x="4174" y="8065"/>
                    </a:lnTo>
                    <a:lnTo>
                      <a:pt x="3379" y="8065"/>
                    </a:lnTo>
                    <a:lnTo>
                      <a:pt x="3379" y="8403"/>
                    </a:lnTo>
                    <a:lnTo>
                      <a:pt x="2650" y="8403"/>
                    </a:lnTo>
                    <a:lnTo>
                      <a:pt x="2650" y="8685"/>
                    </a:lnTo>
                    <a:lnTo>
                      <a:pt x="2253" y="8685"/>
                    </a:lnTo>
                    <a:lnTo>
                      <a:pt x="2253" y="9023"/>
                    </a:lnTo>
                    <a:lnTo>
                      <a:pt x="1921" y="9023"/>
                    </a:lnTo>
                    <a:lnTo>
                      <a:pt x="1921" y="9700"/>
                    </a:lnTo>
                    <a:lnTo>
                      <a:pt x="2253" y="9700"/>
                    </a:lnTo>
                    <a:lnTo>
                      <a:pt x="3048" y="9982"/>
                    </a:lnTo>
                    <a:lnTo>
                      <a:pt x="3777" y="10659"/>
                    </a:lnTo>
                    <a:lnTo>
                      <a:pt x="3777" y="10941"/>
                    </a:lnTo>
                    <a:lnTo>
                      <a:pt x="4174" y="10941"/>
                    </a:lnTo>
                    <a:lnTo>
                      <a:pt x="4174" y="11279"/>
                    </a:lnTo>
                    <a:lnTo>
                      <a:pt x="4572" y="11279"/>
                    </a:lnTo>
                    <a:lnTo>
                      <a:pt x="4572" y="11618"/>
                    </a:lnTo>
                    <a:lnTo>
                      <a:pt x="3777" y="11618"/>
                    </a:lnTo>
                    <a:lnTo>
                      <a:pt x="3777" y="11956"/>
                    </a:lnTo>
                    <a:lnTo>
                      <a:pt x="3379" y="11956"/>
                    </a:lnTo>
                    <a:lnTo>
                      <a:pt x="3379" y="12238"/>
                    </a:lnTo>
                    <a:lnTo>
                      <a:pt x="2650" y="12238"/>
                    </a:lnTo>
                    <a:lnTo>
                      <a:pt x="2650" y="11956"/>
                    </a:lnTo>
                    <a:lnTo>
                      <a:pt x="1524" y="11956"/>
                    </a:lnTo>
                    <a:lnTo>
                      <a:pt x="1524" y="11618"/>
                    </a:lnTo>
                    <a:lnTo>
                      <a:pt x="1126" y="11618"/>
                    </a:lnTo>
                    <a:lnTo>
                      <a:pt x="1524" y="11618"/>
                    </a:lnTo>
                    <a:lnTo>
                      <a:pt x="1126" y="11956"/>
                    </a:lnTo>
                    <a:lnTo>
                      <a:pt x="1524" y="11956"/>
                    </a:lnTo>
                    <a:lnTo>
                      <a:pt x="1126" y="11956"/>
                    </a:lnTo>
                    <a:lnTo>
                      <a:pt x="1126" y="12238"/>
                    </a:lnTo>
                    <a:lnTo>
                      <a:pt x="729" y="12238"/>
                    </a:lnTo>
                    <a:lnTo>
                      <a:pt x="729" y="12915"/>
                    </a:lnTo>
                    <a:lnTo>
                      <a:pt x="398" y="12915"/>
                    </a:lnTo>
                    <a:lnTo>
                      <a:pt x="398" y="13197"/>
                    </a:lnTo>
                    <a:lnTo>
                      <a:pt x="0" y="13197"/>
                    </a:lnTo>
                    <a:lnTo>
                      <a:pt x="0" y="13874"/>
                    </a:lnTo>
                    <a:lnTo>
                      <a:pt x="729" y="13874"/>
                    </a:lnTo>
                    <a:lnTo>
                      <a:pt x="729" y="14212"/>
                    </a:lnTo>
                    <a:lnTo>
                      <a:pt x="398" y="14494"/>
                    </a:lnTo>
                    <a:lnTo>
                      <a:pt x="398" y="14212"/>
                    </a:lnTo>
                    <a:lnTo>
                      <a:pt x="398" y="14494"/>
                    </a:lnTo>
                    <a:lnTo>
                      <a:pt x="1126" y="14494"/>
                    </a:lnTo>
                    <a:lnTo>
                      <a:pt x="1126" y="14832"/>
                    </a:lnTo>
                    <a:lnTo>
                      <a:pt x="1524" y="14832"/>
                    </a:lnTo>
                    <a:lnTo>
                      <a:pt x="1524" y="14494"/>
                    </a:lnTo>
                    <a:lnTo>
                      <a:pt x="1921" y="14494"/>
                    </a:lnTo>
                    <a:lnTo>
                      <a:pt x="1921" y="14212"/>
                    </a:lnTo>
                    <a:lnTo>
                      <a:pt x="2253" y="14494"/>
                    </a:lnTo>
                    <a:lnTo>
                      <a:pt x="2253" y="14212"/>
                    </a:lnTo>
                    <a:lnTo>
                      <a:pt x="2253" y="14494"/>
                    </a:lnTo>
                    <a:lnTo>
                      <a:pt x="2650" y="14494"/>
                    </a:lnTo>
                    <a:lnTo>
                      <a:pt x="2650" y="14832"/>
                    </a:lnTo>
                    <a:lnTo>
                      <a:pt x="3379" y="14832"/>
                    </a:lnTo>
                    <a:lnTo>
                      <a:pt x="3048" y="14494"/>
                    </a:lnTo>
                    <a:lnTo>
                      <a:pt x="3379" y="14494"/>
                    </a:lnTo>
                    <a:lnTo>
                      <a:pt x="3379" y="14832"/>
                    </a:lnTo>
                    <a:lnTo>
                      <a:pt x="3379" y="14494"/>
                    </a:lnTo>
                    <a:lnTo>
                      <a:pt x="3777" y="14494"/>
                    </a:lnTo>
                    <a:lnTo>
                      <a:pt x="3777" y="14832"/>
                    </a:lnTo>
                    <a:lnTo>
                      <a:pt x="4572" y="14832"/>
                    </a:lnTo>
                    <a:lnTo>
                      <a:pt x="4903" y="15171"/>
                    </a:lnTo>
                    <a:lnTo>
                      <a:pt x="4903" y="15453"/>
                    </a:lnTo>
                    <a:lnTo>
                      <a:pt x="5301" y="15453"/>
                    </a:lnTo>
                    <a:lnTo>
                      <a:pt x="5301" y="15171"/>
                    </a:lnTo>
                    <a:lnTo>
                      <a:pt x="5698" y="15171"/>
                    </a:lnTo>
                    <a:lnTo>
                      <a:pt x="5698" y="14832"/>
                    </a:lnTo>
                    <a:lnTo>
                      <a:pt x="6029" y="14832"/>
                    </a:lnTo>
                    <a:lnTo>
                      <a:pt x="6029" y="15171"/>
                    </a:lnTo>
                    <a:lnTo>
                      <a:pt x="5698" y="15171"/>
                    </a:lnTo>
                    <a:lnTo>
                      <a:pt x="5698" y="16130"/>
                    </a:lnTo>
                    <a:lnTo>
                      <a:pt x="6427" y="16130"/>
                    </a:lnTo>
                    <a:lnTo>
                      <a:pt x="6427" y="17088"/>
                    </a:lnTo>
                    <a:lnTo>
                      <a:pt x="6825" y="17427"/>
                    </a:lnTo>
                    <a:lnTo>
                      <a:pt x="6825" y="17709"/>
                    </a:lnTo>
                    <a:lnTo>
                      <a:pt x="6427" y="18047"/>
                    </a:lnTo>
                    <a:lnTo>
                      <a:pt x="6427" y="18385"/>
                    </a:lnTo>
                    <a:lnTo>
                      <a:pt x="7222" y="18385"/>
                    </a:lnTo>
                    <a:lnTo>
                      <a:pt x="7222" y="19344"/>
                    </a:lnTo>
                    <a:lnTo>
                      <a:pt x="6825" y="19344"/>
                    </a:lnTo>
                    <a:lnTo>
                      <a:pt x="6825" y="19683"/>
                    </a:lnTo>
                    <a:lnTo>
                      <a:pt x="7222" y="19683"/>
                    </a:lnTo>
                    <a:lnTo>
                      <a:pt x="6825" y="19683"/>
                    </a:lnTo>
                    <a:lnTo>
                      <a:pt x="7222" y="19964"/>
                    </a:lnTo>
                    <a:lnTo>
                      <a:pt x="7553" y="19964"/>
                    </a:lnTo>
                    <a:lnTo>
                      <a:pt x="7553" y="19683"/>
                    </a:lnTo>
                    <a:lnTo>
                      <a:pt x="7553" y="20303"/>
                    </a:lnTo>
                    <a:lnTo>
                      <a:pt x="7222" y="20303"/>
                    </a:lnTo>
                    <a:lnTo>
                      <a:pt x="7222" y="20641"/>
                    </a:lnTo>
                    <a:lnTo>
                      <a:pt x="7553" y="20641"/>
                    </a:lnTo>
                    <a:lnTo>
                      <a:pt x="7553" y="20923"/>
                    </a:lnTo>
                    <a:lnTo>
                      <a:pt x="7951" y="21262"/>
                    </a:lnTo>
                    <a:lnTo>
                      <a:pt x="7951" y="21600"/>
                    </a:lnTo>
                    <a:lnTo>
                      <a:pt x="8348" y="21262"/>
                    </a:lnTo>
                    <a:lnTo>
                      <a:pt x="8680" y="21262"/>
                    </a:lnTo>
                    <a:lnTo>
                      <a:pt x="8680" y="20923"/>
                    </a:lnTo>
                    <a:lnTo>
                      <a:pt x="8348" y="20923"/>
                    </a:lnTo>
                    <a:lnTo>
                      <a:pt x="8680" y="20923"/>
                    </a:lnTo>
                    <a:lnTo>
                      <a:pt x="8680" y="20641"/>
                    </a:lnTo>
                    <a:lnTo>
                      <a:pt x="8348" y="20641"/>
                    </a:lnTo>
                    <a:lnTo>
                      <a:pt x="8348" y="20303"/>
                    </a:lnTo>
                    <a:lnTo>
                      <a:pt x="8680" y="20303"/>
                    </a:lnTo>
                    <a:lnTo>
                      <a:pt x="8680" y="19964"/>
                    </a:lnTo>
                    <a:lnTo>
                      <a:pt x="8348" y="19964"/>
                    </a:lnTo>
                    <a:lnTo>
                      <a:pt x="8348" y="19683"/>
                    </a:lnTo>
                    <a:lnTo>
                      <a:pt x="8680" y="19683"/>
                    </a:lnTo>
                    <a:lnTo>
                      <a:pt x="8680" y="19344"/>
                    </a:lnTo>
                    <a:lnTo>
                      <a:pt x="9475" y="19344"/>
                    </a:lnTo>
                    <a:lnTo>
                      <a:pt x="9475" y="19006"/>
                    </a:lnTo>
                    <a:lnTo>
                      <a:pt x="10204" y="19006"/>
                    </a:lnTo>
                    <a:lnTo>
                      <a:pt x="10204" y="18667"/>
                    </a:lnTo>
                    <a:lnTo>
                      <a:pt x="10204" y="19006"/>
                    </a:lnTo>
                    <a:lnTo>
                      <a:pt x="10204" y="18667"/>
                    </a:lnTo>
                    <a:lnTo>
                      <a:pt x="9872" y="18667"/>
                    </a:lnTo>
                    <a:lnTo>
                      <a:pt x="9872" y="18385"/>
                    </a:lnTo>
                    <a:lnTo>
                      <a:pt x="10204" y="18385"/>
                    </a:lnTo>
                    <a:lnTo>
                      <a:pt x="9872" y="18385"/>
                    </a:lnTo>
                    <a:lnTo>
                      <a:pt x="9872" y="18047"/>
                    </a:lnTo>
                    <a:lnTo>
                      <a:pt x="10204" y="18047"/>
                    </a:lnTo>
                    <a:lnTo>
                      <a:pt x="9872" y="18047"/>
                    </a:lnTo>
                    <a:lnTo>
                      <a:pt x="9872" y="17709"/>
                    </a:lnTo>
                    <a:lnTo>
                      <a:pt x="10204" y="17709"/>
                    </a:lnTo>
                    <a:lnTo>
                      <a:pt x="10204" y="17088"/>
                    </a:lnTo>
                    <a:lnTo>
                      <a:pt x="10601" y="16411"/>
                    </a:lnTo>
                    <a:lnTo>
                      <a:pt x="10999" y="16411"/>
                    </a:lnTo>
                    <a:lnTo>
                      <a:pt x="10999" y="16750"/>
                    </a:lnTo>
                    <a:lnTo>
                      <a:pt x="11330" y="16411"/>
                    </a:lnTo>
                    <a:lnTo>
                      <a:pt x="11330" y="16750"/>
                    </a:lnTo>
                    <a:lnTo>
                      <a:pt x="12125" y="16750"/>
                    </a:lnTo>
                    <a:lnTo>
                      <a:pt x="12125" y="16411"/>
                    </a:lnTo>
                    <a:lnTo>
                      <a:pt x="12523" y="16411"/>
                    </a:lnTo>
                    <a:lnTo>
                      <a:pt x="12854" y="16130"/>
                    </a:lnTo>
                    <a:lnTo>
                      <a:pt x="13252" y="16130"/>
                    </a:lnTo>
                    <a:lnTo>
                      <a:pt x="13252" y="15791"/>
                    </a:lnTo>
                    <a:lnTo>
                      <a:pt x="12854" y="15791"/>
                    </a:lnTo>
                    <a:lnTo>
                      <a:pt x="13252" y="15453"/>
                    </a:lnTo>
                    <a:lnTo>
                      <a:pt x="13649" y="15453"/>
                    </a:lnTo>
                    <a:lnTo>
                      <a:pt x="13649" y="15171"/>
                    </a:lnTo>
                    <a:lnTo>
                      <a:pt x="13252" y="15171"/>
                    </a:lnTo>
                    <a:lnTo>
                      <a:pt x="13649" y="14832"/>
                    </a:lnTo>
                    <a:lnTo>
                      <a:pt x="13649" y="14494"/>
                    </a:lnTo>
                    <a:lnTo>
                      <a:pt x="13252" y="14494"/>
                    </a:lnTo>
                    <a:lnTo>
                      <a:pt x="13649" y="14494"/>
                    </a:lnTo>
                    <a:lnTo>
                      <a:pt x="13649" y="14212"/>
                    </a:lnTo>
                    <a:lnTo>
                      <a:pt x="13980" y="14212"/>
                    </a:lnTo>
                    <a:lnTo>
                      <a:pt x="13980" y="13874"/>
                    </a:lnTo>
                    <a:lnTo>
                      <a:pt x="15173" y="13874"/>
                    </a:lnTo>
                    <a:lnTo>
                      <a:pt x="15173" y="14212"/>
                    </a:lnTo>
                    <a:lnTo>
                      <a:pt x="15504" y="14212"/>
                    </a:lnTo>
                    <a:lnTo>
                      <a:pt x="15504" y="14494"/>
                    </a:lnTo>
                    <a:lnTo>
                      <a:pt x="15902" y="14494"/>
                    </a:lnTo>
                    <a:lnTo>
                      <a:pt x="16299" y="14832"/>
                    </a:lnTo>
                    <a:lnTo>
                      <a:pt x="16631" y="14494"/>
                    </a:lnTo>
                    <a:lnTo>
                      <a:pt x="17426" y="14494"/>
                    </a:lnTo>
                    <a:lnTo>
                      <a:pt x="17028" y="14832"/>
                    </a:lnTo>
                    <a:lnTo>
                      <a:pt x="17426" y="14832"/>
                    </a:lnTo>
                    <a:lnTo>
                      <a:pt x="17028" y="14832"/>
                    </a:lnTo>
                    <a:lnTo>
                      <a:pt x="17426" y="15171"/>
                    </a:lnTo>
                    <a:lnTo>
                      <a:pt x="17028" y="15171"/>
                    </a:lnTo>
                    <a:lnTo>
                      <a:pt x="18155" y="15171"/>
                    </a:lnTo>
                    <a:lnTo>
                      <a:pt x="18155" y="15453"/>
                    </a:lnTo>
                    <a:lnTo>
                      <a:pt x="18155" y="15171"/>
                    </a:lnTo>
                    <a:lnTo>
                      <a:pt x="18155" y="15453"/>
                    </a:lnTo>
                    <a:lnTo>
                      <a:pt x="18552" y="1545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32" name="Shape 2956"/>
              <p:cNvSpPr/>
              <p:nvPr/>
            </p:nvSpPr>
            <p:spPr>
              <a:xfrm>
                <a:off x="7402940" y="4916559"/>
                <a:ext cx="255636" cy="2224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566" y="21600"/>
                    </a:moveTo>
                    <a:lnTo>
                      <a:pt x="6956" y="21600"/>
                    </a:lnTo>
                    <a:lnTo>
                      <a:pt x="6956" y="20758"/>
                    </a:lnTo>
                    <a:lnTo>
                      <a:pt x="5492" y="20758"/>
                    </a:lnTo>
                    <a:lnTo>
                      <a:pt x="5492" y="21600"/>
                    </a:lnTo>
                    <a:lnTo>
                      <a:pt x="4881" y="20758"/>
                    </a:lnTo>
                    <a:lnTo>
                      <a:pt x="4881" y="19917"/>
                    </a:lnTo>
                    <a:lnTo>
                      <a:pt x="4881" y="20758"/>
                    </a:lnTo>
                    <a:lnTo>
                      <a:pt x="4149" y="20758"/>
                    </a:lnTo>
                    <a:lnTo>
                      <a:pt x="4149" y="21600"/>
                    </a:lnTo>
                    <a:lnTo>
                      <a:pt x="3417" y="21600"/>
                    </a:lnTo>
                    <a:lnTo>
                      <a:pt x="3417" y="20758"/>
                    </a:lnTo>
                    <a:lnTo>
                      <a:pt x="2075" y="20758"/>
                    </a:lnTo>
                    <a:lnTo>
                      <a:pt x="2075" y="19917"/>
                    </a:lnTo>
                    <a:lnTo>
                      <a:pt x="1342" y="19917"/>
                    </a:lnTo>
                    <a:lnTo>
                      <a:pt x="1342" y="19216"/>
                    </a:lnTo>
                    <a:lnTo>
                      <a:pt x="610" y="19917"/>
                    </a:lnTo>
                    <a:lnTo>
                      <a:pt x="610" y="18374"/>
                    </a:lnTo>
                    <a:lnTo>
                      <a:pt x="0" y="18374"/>
                    </a:lnTo>
                    <a:lnTo>
                      <a:pt x="0" y="17532"/>
                    </a:lnTo>
                    <a:lnTo>
                      <a:pt x="1342" y="17532"/>
                    </a:lnTo>
                    <a:lnTo>
                      <a:pt x="1342" y="15990"/>
                    </a:lnTo>
                    <a:lnTo>
                      <a:pt x="2075" y="15990"/>
                    </a:lnTo>
                    <a:lnTo>
                      <a:pt x="2075" y="15148"/>
                    </a:lnTo>
                    <a:lnTo>
                      <a:pt x="2685" y="14306"/>
                    </a:lnTo>
                    <a:lnTo>
                      <a:pt x="2685" y="13605"/>
                    </a:lnTo>
                    <a:lnTo>
                      <a:pt x="3417" y="13605"/>
                    </a:lnTo>
                    <a:lnTo>
                      <a:pt x="3417" y="11221"/>
                    </a:lnTo>
                    <a:lnTo>
                      <a:pt x="2685" y="11221"/>
                    </a:lnTo>
                    <a:lnTo>
                      <a:pt x="3417" y="11221"/>
                    </a:lnTo>
                    <a:lnTo>
                      <a:pt x="3417" y="10379"/>
                    </a:lnTo>
                    <a:lnTo>
                      <a:pt x="2075" y="10379"/>
                    </a:lnTo>
                    <a:lnTo>
                      <a:pt x="2075" y="9538"/>
                    </a:lnTo>
                    <a:lnTo>
                      <a:pt x="2685" y="9538"/>
                    </a:lnTo>
                    <a:lnTo>
                      <a:pt x="2685" y="7153"/>
                    </a:lnTo>
                    <a:lnTo>
                      <a:pt x="2075" y="6312"/>
                    </a:lnTo>
                    <a:lnTo>
                      <a:pt x="2685" y="6312"/>
                    </a:lnTo>
                    <a:lnTo>
                      <a:pt x="2685" y="4769"/>
                    </a:lnTo>
                    <a:lnTo>
                      <a:pt x="2075" y="4769"/>
                    </a:lnTo>
                    <a:lnTo>
                      <a:pt x="2075" y="3927"/>
                    </a:lnTo>
                    <a:lnTo>
                      <a:pt x="2075" y="4769"/>
                    </a:lnTo>
                    <a:lnTo>
                      <a:pt x="1342" y="3927"/>
                    </a:lnTo>
                    <a:lnTo>
                      <a:pt x="2685" y="3927"/>
                    </a:lnTo>
                    <a:lnTo>
                      <a:pt x="2685" y="3226"/>
                    </a:lnTo>
                    <a:lnTo>
                      <a:pt x="4149" y="3226"/>
                    </a:lnTo>
                    <a:lnTo>
                      <a:pt x="4149" y="3927"/>
                    </a:lnTo>
                    <a:lnTo>
                      <a:pt x="6956" y="3927"/>
                    </a:lnTo>
                    <a:lnTo>
                      <a:pt x="6956" y="3226"/>
                    </a:lnTo>
                    <a:lnTo>
                      <a:pt x="6224" y="3226"/>
                    </a:lnTo>
                    <a:lnTo>
                      <a:pt x="6224" y="2384"/>
                    </a:lnTo>
                    <a:lnTo>
                      <a:pt x="6956" y="2384"/>
                    </a:lnTo>
                    <a:lnTo>
                      <a:pt x="6956" y="1543"/>
                    </a:lnTo>
                    <a:lnTo>
                      <a:pt x="7566" y="1543"/>
                    </a:lnTo>
                    <a:lnTo>
                      <a:pt x="6956" y="1543"/>
                    </a:lnTo>
                    <a:lnTo>
                      <a:pt x="6956" y="701"/>
                    </a:lnTo>
                    <a:lnTo>
                      <a:pt x="7566" y="701"/>
                    </a:lnTo>
                    <a:lnTo>
                      <a:pt x="7566" y="0"/>
                    </a:lnTo>
                    <a:lnTo>
                      <a:pt x="8298" y="701"/>
                    </a:lnTo>
                    <a:lnTo>
                      <a:pt x="9031" y="1543"/>
                    </a:lnTo>
                    <a:lnTo>
                      <a:pt x="9763" y="1543"/>
                    </a:lnTo>
                    <a:lnTo>
                      <a:pt x="9763" y="2384"/>
                    </a:lnTo>
                    <a:lnTo>
                      <a:pt x="10373" y="2384"/>
                    </a:lnTo>
                    <a:lnTo>
                      <a:pt x="10373" y="3226"/>
                    </a:lnTo>
                    <a:lnTo>
                      <a:pt x="10373" y="2384"/>
                    </a:lnTo>
                    <a:lnTo>
                      <a:pt x="11105" y="2384"/>
                    </a:lnTo>
                    <a:lnTo>
                      <a:pt x="11105" y="3927"/>
                    </a:lnTo>
                    <a:lnTo>
                      <a:pt x="10373" y="3927"/>
                    </a:lnTo>
                    <a:lnTo>
                      <a:pt x="10373" y="4769"/>
                    </a:lnTo>
                    <a:lnTo>
                      <a:pt x="11105" y="3927"/>
                    </a:lnTo>
                    <a:lnTo>
                      <a:pt x="11105" y="4769"/>
                    </a:lnTo>
                    <a:lnTo>
                      <a:pt x="11837" y="4769"/>
                    </a:lnTo>
                    <a:lnTo>
                      <a:pt x="11837" y="3927"/>
                    </a:lnTo>
                    <a:lnTo>
                      <a:pt x="13180" y="3927"/>
                    </a:lnTo>
                    <a:lnTo>
                      <a:pt x="13180" y="4769"/>
                    </a:lnTo>
                    <a:lnTo>
                      <a:pt x="13912" y="4769"/>
                    </a:lnTo>
                    <a:lnTo>
                      <a:pt x="13912" y="3927"/>
                    </a:lnTo>
                    <a:lnTo>
                      <a:pt x="13912" y="4769"/>
                    </a:lnTo>
                    <a:lnTo>
                      <a:pt x="14644" y="4769"/>
                    </a:lnTo>
                    <a:lnTo>
                      <a:pt x="14644" y="3927"/>
                    </a:lnTo>
                    <a:lnTo>
                      <a:pt x="14644" y="4769"/>
                    </a:lnTo>
                    <a:lnTo>
                      <a:pt x="15254" y="4769"/>
                    </a:lnTo>
                    <a:lnTo>
                      <a:pt x="15254" y="5610"/>
                    </a:lnTo>
                    <a:lnTo>
                      <a:pt x="14644" y="5610"/>
                    </a:lnTo>
                    <a:lnTo>
                      <a:pt x="15254" y="5610"/>
                    </a:lnTo>
                    <a:lnTo>
                      <a:pt x="15254" y="7153"/>
                    </a:lnTo>
                    <a:lnTo>
                      <a:pt x="16719" y="7995"/>
                    </a:lnTo>
                    <a:lnTo>
                      <a:pt x="17329" y="7153"/>
                    </a:lnTo>
                    <a:lnTo>
                      <a:pt x="18061" y="6312"/>
                    </a:lnTo>
                    <a:lnTo>
                      <a:pt x="18793" y="6312"/>
                    </a:lnTo>
                    <a:lnTo>
                      <a:pt x="18793" y="7153"/>
                    </a:lnTo>
                    <a:lnTo>
                      <a:pt x="19525" y="6312"/>
                    </a:lnTo>
                    <a:lnTo>
                      <a:pt x="19525" y="7153"/>
                    </a:lnTo>
                    <a:lnTo>
                      <a:pt x="20136" y="6312"/>
                    </a:lnTo>
                    <a:lnTo>
                      <a:pt x="20136" y="10379"/>
                    </a:lnTo>
                    <a:lnTo>
                      <a:pt x="20868" y="10379"/>
                    </a:lnTo>
                    <a:lnTo>
                      <a:pt x="20868" y="11221"/>
                    </a:lnTo>
                    <a:lnTo>
                      <a:pt x="21600" y="11221"/>
                    </a:lnTo>
                    <a:lnTo>
                      <a:pt x="21600" y="15148"/>
                    </a:lnTo>
                    <a:lnTo>
                      <a:pt x="20868" y="15148"/>
                    </a:lnTo>
                    <a:lnTo>
                      <a:pt x="20868" y="15990"/>
                    </a:lnTo>
                    <a:lnTo>
                      <a:pt x="19525" y="15990"/>
                    </a:lnTo>
                    <a:lnTo>
                      <a:pt x="19525" y="16831"/>
                    </a:lnTo>
                    <a:lnTo>
                      <a:pt x="19525" y="15990"/>
                    </a:lnTo>
                    <a:lnTo>
                      <a:pt x="18793" y="16831"/>
                    </a:lnTo>
                    <a:lnTo>
                      <a:pt x="18793" y="17532"/>
                    </a:lnTo>
                    <a:lnTo>
                      <a:pt x="18061" y="16831"/>
                    </a:lnTo>
                    <a:lnTo>
                      <a:pt x="16719" y="16831"/>
                    </a:lnTo>
                    <a:lnTo>
                      <a:pt x="17329" y="15990"/>
                    </a:lnTo>
                    <a:lnTo>
                      <a:pt x="16719" y="15990"/>
                    </a:lnTo>
                    <a:lnTo>
                      <a:pt x="15986" y="15148"/>
                    </a:lnTo>
                    <a:lnTo>
                      <a:pt x="15254" y="15148"/>
                    </a:lnTo>
                    <a:lnTo>
                      <a:pt x="14644" y="14306"/>
                    </a:lnTo>
                    <a:lnTo>
                      <a:pt x="13180" y="15148"/>
                    </a:lnTo>
                    <a:lnTo>
                      <a:pt x="11837" y="13605"/>
                    </a:lnTo>
                    <a:lnTo>
                      <a:pt x="11837" y="15148"/>
                    </a:lnTo>
                    <a:lnTo>
                      <a:pt x="12447" y="15148"/>
                    </a:lnTo>
                    <a:lnTo>
                      <a:pt x="11837" y="15148"/>
                    </a:lnTo>
                    <a:lnTo>
                      <a:pt x="11105" y="14306"/>
                    </a:lnTo>
                    <a:lnTo>
                      <a:pt x="11105" y="15148"/>
                    </a:lnTo>
                    <a:lnTo>
                      <a:pt x="10373" y="15148"/>
                    </a:lnTo>
                    <a:lnTo>
                      <a:pt x="10373" y="15990"/>
                    </a:lnTo>
                    <a:lnTo>
                      <a:pt x="9763" y="15990"/>
                    </a:lnTo>
                    <a:lnTo>
                      <a:pt x="9763" y="15148"/>
                    </a:lnTo>
                    <a:lnTo>
                      <a:pt x="8298" y="15148"/>
                    </a:lnTo>
                    <a:lnTo>
                      <a:pt x="7566" y="15990"/>
                    </a:lnTo>
                    <a:lnTo>
                      <a:pt x="8298" y="15990"/>
                    </a:lnTo>
                    <a:lnTo>
                      <a:pt x="8298" y="17532"/>
                    </a:lnTo>
                    <a:lnTo>
                      <a:pt x="7566" y="17532"/>
                    </a:lnTo>
                    <a:lnTo>
                      <a:pt x="8298" y="17532"/>
                    </a:lnTo>
                    <a:lnTo>
                      <a:pt x="7566" y="18374"/>
                    </a:lnTo>
                    <a:lnTo>
                      <a:pt x="7566" y="19216"/>
                    </a:lnTo>
                    <a:lnTo>
                      <a:pt x="8298" y="19216"/>
                    </a:lnTo>
                    <a:lnTo>
                      <a:pt x="8298" y="20758"/>
                    </a:lnTo>
                    <a:lnTo>
                      <a:pt x="9031" y="20758"/>
                    </a:lnTo>
                    <a:lnTo>
                      <a:pt x="8298" y="21600"/>
                    </a:lnTo>
                    <a:lnTo>
                      <a:pt x="7566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33" name="Shape 2957"/>
              <p:cNvSpPr/>
              <p:nvPr/>
            </p:nvSpPr>
            <p:spPr>
              <a:xfrm>
                <a:off x="7236849" y="4783687"/>
                <a:ext cx="264302" cy="18197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8914"/>
                    </a:moveTo>
                    <a:lnTo>
                      <a:pt x="1416" y="8914"/>
                    </a:lnTo>
                    <a:lnTo>
                      <a:pt x="1416" y="7886"/>
                    </a:lnTo>
                    <a:lnTo>
                      <a:pt x="2007" y="7886"/>
                    </a:lnTo>
                    <a:lnTo>
                      <a:pt x="1416" y="6857"/>
                    </a:lnTo>
                    <a:lnTo>
                      <a:pt x="1416" y="6000"/>
                    </a:lnTo>
                    <a:lnTo>
                      <a:pt x="2007" y="6000"/>
                    </a:lnTo>
                    <a:lnTo>
                      <a:pt x="2007" y="6857"/>
                    </a:lnTo>
                    <a:lnTo>
                      <a:pt x="2715" y="7886"/>
                    </a:lnTo>
                    <a:lnTo>
                      <a:pt x="2715" y="6857"/>
                    </a:lnTo>
                    <a:lnTo>
                      <a:pt x="3423" y="6857"/>
                    </a:lnTo>
                    <a:lnTo>
                      <a:pt x="3423" y="7886"/>
                    </a:lnTo>
                    <a:lnTo>
                      <a:pt x="3423" y="6000"/>
                    </a:lnTo>
                    <a:lnTo>
                      <a:pt x="2007" y="6000"/>
                    </a:lnTo>
                    <a:lnTo>
                      <a:pt x="2007" y="4971"/>
                    </a:lnTo>
                    <a:lnTo>
                      <a:pt x="4131" y="4971"/>
                    </a:lnTo>
                    <a:lnTo>
                      <a:pt x="4131" y="3943"/>
                    </a:lnTo>
                    <a:lnTo>
                      <a:pt x="4721" y="3943"/>
                    </a:lnTo>
                    <a:lnTo>
                      <a:pt x="4721" y="2914"/>
                    </a:lnTo>
                    <a:lnTo>
                      <a:pt x="5430" y="2914"/>
                    </a:lnTo>
                    <a:lnTo>
                      <a:pt x="5430" y="1029"/>
                    </a:lnTo>
                    <a:lnTo>
                      <a:pt x="4721" y="1029"/>
                    </a:lnTo>
                    <a:lnTo>
                      <a:pt x="5430" y="1029"/>
                    </a:lnTo>
                    <a:lnTo>
                      <a:pt x="5430" y="0"/>
                    </a:lnTo>
                    <a:lnTo>
                      <a:pt x="6138" y="0"/>
                    </a:lnTo>
                    <a:lnTo>
                      <a:pt x="6138" y="1029"/>
                    </a:lnTo>
                    <a:lnTo>
                      <a:pt x="6728" y="1029"/>
                    </a:lnTo>
                    <a:lnTo>
                      <a:pt x="6728" y="2057"/>
                    </a:lnTo>
                    <a:lnTo>
                      <a:pt x="7436" y="2057"/>
                    </a:lnTo>
                    <a:lnTo>
                      <a:pt x="7436" y="2914"/>
                    </a:lnTo>
                    <a:lnTo>
                      <a:pt x="8144" y="2914"/>
                    </a:lnTo>
                    <a:lnTo>
                      <a:pt x="8144" y="2057"/>
                    </a:lnTo>
                    <a:lnTo>
                      <a:pt x="9443" y="2057"/>
                    </a:lnTo>
                    <a:lnTo>
                      <a:pt x="9443" y="2914"/>
                    </a:lnTo>
                    <a:lnTo>
                      <a:pt x="10151" y="2914"/>
                    </a:lnTo>
                    <a:lnTo>
                      <a:pt x="10151" y="3943"/>
                    </a:lnTo>
                    <a:lnTo>
                      <a:pt x="10859" y="4971"/>
                    </a:lnTo>
                    <a:lnTo>
                      <a:pt x="10859" y="6000"/>
                    </a:lnTo>
                    <a:lnTo>
                      <a:pt x="11449" y="6000"/>
                    </a:lnTo>
                    <a:lnTo>
                      <a:pt x="10859" y="6000"/>
                    </a:lnTo>
                    <a:lnTo>
                      <a:pt x="11449" y="6857"/>
                    </a:lnTo>
                    <a:lnTo>
                      <a:pt x="11449" y="8914"/>
                    </a:lnTo>
                    <a:lnTo>
                      <a:pt x="12157" y="9771"/>
                    </a:lnTo>
                    <a:lnTo>
                      <a:pt x="12866" y="10800"/>
                    </a:lnTo>
                    <a:lnTo>
                      <a:pt x="12866" y="11829"/>
                    </a:lnTo>
                    <a:lnTo>
                      <a:pt x="13574" y="11829"/>
                    </a:lnTo>
                    <a:lnTo>
                      <a:pt x="13574" y="12857"/>
                    </a:lnTo>
                    <a:lnTo>
                      <a:pt x="14164" y="12857"/>
                    </a:lnTo>
                    <a:lnTo>
                      <a:pt x="14164" y="13714"/>
                    </a:lnTo>
                    <a:lnTo>
                      <a:pt x="14872" y="13714"/>
                    </a:lnTo>
                    <a:lnTo>
                      <a:pt x="14872" y="11829"/>
                    </a:lnTo>
                    <a:lnTo>
                      <a:pt x="14164" y="11829"/>
                    </a:lnTo>
                    <a:lnTo>
                      <a:pt x="15580" y="11829"/>
                    </a:lnTo>
                    <a:lnTo>
                      <a:pt x="15580" y="10800"/>
                    </a:lnTo>
                    <a:lnTo>
                      <a:pt x="16170" y="9771"/>
                    </a:lnTo>
                    <a:lnTo>
                      <a:pt x="16170" y="10800"/>
                    </a:lnTo>
                    <a:lnTo>
                      <a:pt x="16879" y="9771"/>
                    </a:lnTo>
                    <a:lnTo>
                      <a:pt x="17587" y="9771"/>
                    </a:lnTo>
                    <a:lnTo>
                      <a:pt x="17587" y="10800"/>
                    </a:lnTo>
                    <a:lnTo>
                      <a:pt x="17587" y="9771"/>
                    </a:lnTo>
                    <a:lnTo>
                      <a:pt x="18295" y="9771"/>
                    </a:lnTo>
                    <a:lnTo>
                      <a:pt x="18295" y="8914"/>
                    </a:lnTo>
                    <a:lnTo>
                      <a:pt x="19593" y="8914"/>
                    </a:lnTo>
                    <a:lnTo>
                      <a:pt x="19593" y="7886"/>
                    </a:lnTo>
                    <a:lnTo>
                      <a:pt x="20302" y="8914"/>
                    </a:lnTo>
                    <a:lnTo>
                      <a:pt x="19593" y="8914"/>
                    </a:lnTo>
                    <a:lnTo>
                      <a:pt x="20302" y="8914"/>
                    </a:lnTo>
                    <a:lnTo>
                      <a:pt x="20302" y="9771"/>
                    </a:lnTo>
                    <a:lnTo>
                      <a:pt x="19593" y="9771"/>
                    </a:lnTo>
                    <a:lnTo>
                      <a:pt x="18885" y="10800"/>
                    </a:lnTo>
                    <a:lnTo>
                      <a:pt x="20892" y="10800"/>
                    </a:lnTo>
                    <a:lnTo>
                      <a:pt x="20892" y="11829"/>
                    </a:lnTo>
                    <a:lnTo>
                      <a:pt x="21600" y="11829"/>
                    </a:lnTo>
                    <a:lnTo>
                      <a:pt x="21600" y="12857"/>
                    </a:lnTo>
                    <a:lnTo>
                      <a:pt x="20892" y="12857"/>
                    </a:lnTo>
                    <a:lnTo>
                      <a:pt x="21600" y="13714"/>
                    </a:lnTo>
                    <a:lnTo>
                      <a:pt x="20892" y="13714"/>
                    </a:lnTo>
                    <a:lnTo>
                      <a:pt x="20892" y="16629"/>
                    </a:lnTo>
                    <a:lnTo>
                      <a:pt x="20302" y="16629"/>
                    </a:lnTo>
                    <a:lnTo>
                      <a:pt x="20302" y="17657"/>
                    </a:lnTo>
                    <a:lnTo>
                      <a:pt x="20892" y="17657"/>
                    </a:lnTo>
                    <a:lnTo>
                      <a:pt x="20302" y="17657"/>
                    </a:lnTo>
                    <a:lnTo>
                      <a:pt x="20302" y="18686"/>
                    </a:lnTo>
                    <a:lnTo>
                      <a:pt x="19593" y="18686"/>
                    </a:lnTo>
                    <a:lnTo>
                      <a:pt x="19593" y="19714"/>
                    </a:lnTo>
                    <a:lnTo>
                      <a:pt x="20302" y="19714"/>
                    </a:lnTo>
                    <a:lnTo>
                      <a:pt x="20302" y="20571"/>
                    </a:lnTo>
                    <a:lnTo>
                      <a:pt x="17587" y="20571"/>
                    </a:lnTo>
                    <a:lnTo>
                      <a:pt x="17587" y="19714"/>
                    </a:lnTo>
                    <a:lnTo>
                      <a:pt x="16170" y="19714"/>
                    </a:lnTo>
                    <a:lnTo>
                      <a:pt x="16170" y="20571"/>
                    </a:lnTo>
                    <a:lnTo>
                      <a:pt x="14872" y="20571"/>
                    </a:lnTo>
                    <a:lnTo>
                      <a:pt x="14872" y="21600"/>
                    </a:lnTo>
                    <a:lnTo>
                      <a:pt x="14164" y="20571"/>
                    </a:lnTo>
                    <a:lnTo>
                      <a:pt x="13574" y="20571"/>
                    </a:lnTo>
                    <a:lnTo>
                      <a:pt x="12866" y="19714"/>
                    </a:lnTo>
                    <a:lnTo>
                      <a:pt x="12866" y="20571"/>
                    </a:lnTo>
                    <a:lnTo>
                      <a:pt x="12866" y="18686"/>
                    </a:lnTo>
                    <a:lnTo>
                      <a:pt x="12157" y="18686"/>
                    </a:lnTo>
                    <a:lnTo>
                      <a:pt x="12157" y="17657"/>
                    </a:lnTo>
                    <a:lnTo>
                      <a:pt x="9443" y="17657"/>
                    </a:lnTo>
                    <a:lnTo>
                      <a:pt x="9443" y="19714"/>
                    </a:lnTo>
                    <a:lnTo>
                      <a:pt x="8852" y="19714"/>
                    </a:lnTo>
                    <a:lnTo>
                      <a:pt x="8852" y="18686"/>
                    </a:lnTo>
                    <a:lnTo>
                      <a:pt x="8144" y="18686"/>
                    </a:lnTo>
                    <a:lnTo>
                      <a:pt x="8144" y="17657"/>
                    </a:lnTo>
                    <a:lnTo>
                      <a:pt x="7436" y="17657"/>
                    </a:lnTo>
                    <a:lnTo>
                      <a:pt x="7436" y="16629"/>
                    </a:lnTo>
                    <a:lnTo>
                      <a:pt x="6728" y="16629"/>
                    </a:lnTo>
                    <a:lnTo>
                      <a:pt x="6728" y="14743"/>
                    </a:lnTo>
                    <a:lnTo>
                      <a:pt x="7436" y="14743"/>
                    </a:lnTo>
                    <a:lnTo>
                      <a:pt x="6728" y="13714"/>
                    </a:lnTo>
                    <a:lnTo>
                      <a:pt x="6728" y="12857"/>
                    </a:lnTo>
                    <a:lnTo>
                      <a:pt x="6138" y="12857"/>
                    </a:lnTo>
                    <a:lnTo>
                      <a:pt x="6138" y="11829"/>
                    </a:lnTo>
                    <a:lnTo>
                      <a:pt x="5430" y="11829"/>
                    </a:lnTo>
                    <a:lnTo>
                      <a:pt x="5430" y="10800"/>
                    </a:lnTo>
                    <a:lnTo>
                      <a:pt x="4131" y="10800"/>
                    </a:lnTo>
                    <a:lnTo>
                      <a:pt x="4131" y="11829"/>
                    </a:lnTo>
                    <a:lnTo>
                      <a:pt x="2715" y="11829"/>
                    </a:lnTo>
                    <a:lnTo>
                      <a:pt x="2715" y="10800"/>
                    </a:lnTo>
                    <a:lnTo>
                      <a:pt x="2007" y="10800"/>
                    </a:lnTo>
                    <a:lnTo>
                      <a:pt x="2007" y="11829"/>
                    </a:lnTo>
                    <a:lnTo>
                      <a:pt x="2007" y="10800"/>
                    </a:lnTo>
                    <a:lnTo>
                      <a:pt x="1416" y="10800"/>
                    </a:lnTo>
                    <a:lnTo>
                      <a:pt x="1416" y="9771"/>
                    </a:lnTo>
                    <a:lnTo>
                      <a:pt x="2007" y="9771"/>
                    </a:lnTo>
                    <a:lnTo>
                      <a:pt x="1416" y="9771"/>
                    </a:lnTo>
                    <a:lnTo>
                      <a:pt x="1416" y="10800"/>
                    </a:lnTo>
                    <a:lnTo>
                      <a:pt x="708" y="10800"/>
                    </a:lnTo>
                    <a:lnTo>
                      <a:pt x="708" y="8914"/>
                    </a:lnTo>
                    <a:lnTo>
                      <a:pt x="0" y="891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34" name="Shape 2958"/>
              <p:cNvSpPr/>
              <p:nvPr/>
            </p:nvSpPr>
            <p:spPr>
              <a:xfrm>
                <a:off x="10573097" y="3109785"/>
                <a:ext cx="2104293" cy="21606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065" y="10800"/>
                    </a:moveTo>
                    <a:lnTo>
                      <a:pt x="18976" y="10800"/>
                    </a:lnTo>
                    <a:lnTo>
                      <a:pt x="18976" y="10973"/>
                    </a:lnTo>
                    <a:lnTo>
                      <a:pt x="19065" y="11045"/>
                    </a:lnTo>
                    <a:lnTo>
                      <a:pt x="19065" y="11132"/>
                    </a:lnTo>
                    <a:lnTo>
                      <a:pt x="18976" y="11132"/>
                    </a:lnTo>
                    <a:lnTo>
                      <a:pt x="19065" y="11219"/>
                    </a:lnTo>
                    <a:lnTo>
                      <a:pt x="19065" y="11305"/>
                    </a:lnTo>
                    <a:lnTo>
                      <a:pt x="18976" y="11305"/>
                    </a:lnTo>
                    <a:lnTo>
                      <a:pt x="18976" y="11551"/>
                    </a:lnTo>
                    <a:lnTo>
                      <a:pt x="19065" y="11551"/>
                    </a:lnTo>
                    <a:lnTo>
                      <a:pt x="19065" y="11623"/>
                    </a:lnTo>
                    <a:lnTo>
                      <a:pt x="18976" y="11623"/>
                    </a:lnTo>
                    <a:lnTo>
                      <a:pt x="18976" y="11796"/>
                    </a:lnTo>
                    <a:lnTo>
                      <a:pt x="18887" y="11796"/>
                    </a:lnTo>
                    <a:lnTo>
                      <a:pt x="18887" y="11868"/>
                    </a:lnTo>
                    <a:lnTo>
                      <a:pt x="18813" y="11868"/>
                    </a:lnTo>
                    <a:lnTo>
                      <a:pt x="18813" y="11710"/>
                    </a:lnTo>
                    <a:lnTo>
                      <a:pt x="18724" y="11710"/>
                    </a:lnTo>
                    <a:lnTo>
                      <a:pt x="18724" y="11623"/>
                    </a:lnTo>
                    <a:lnTo>
                      <a:pt x="18724" y="11710"/>
                    </a:lnTo>
                    <a:lnTo>
                      <a:pt x="18635" y="11710"/>
                    </a:lnTo>
                    <a:lnTo>
                      <a:pt x="18724" y="11796"/>
                    </a:lnTo>
                    <a:lnTo>
                      <a:pt x="18635" y="11796"/>
                    </a:lnTo>
                    <a:lnTo>
                      <a:pt x="18635" y="11868"/>
                    </a:lnTo>
                    <a:lnTo>
                      <a:pt x="18635" y="11796"/>
                    </a:lnTo>
                    <a:lnTo>
                      <a:pt x="18546" y="11796"/>
                    </a:lnTo>
                    <a:lnTo>
                      <a:pt x="18546" y="11710"/>
                    </a:lnTo>
                    <a:lnTo>
                      <a:pt x="18472" y="11710"/>
                    </a:lnTo>
                    <a:lnTo>
                      <a:pt x="18472" y="11796"/>
                    </a:lnTo>
                    <a:lnTo>
                      <a:pt x="18383" y="11796"/>
                    </a:lnTo>
                    <a:lnTo>
                      <a:pt x="18383" y="11710"/>
                    </a:lnTo>
                    <a:lnTo>
                      <a:pt x="18294" y="11710"/>
                    </a:lnTo>
                    <a:lnTo>
                      <a:pt x="18294" y="11955"/>
                    </a:lnTo>
                    <a:lnTo>
                      <a:pt x="18383" y="11955"/>
                    </a:lnTo>
                    <a:lnTo>
                      <a:pt x="18220" y="11955"/>
                    </a:lnTo>
                    <a:lnTo>
                      <a:pt x="18220" y="12042"/>
                    </a:lnTo>
                    <a:lnTo>
                      <a:pt x="18131" y="12042"/>
                    </a:lnTo>
                    <a:lnTo>
                      <a:pt x="18131" y="12128"/>
                    </a:lnTo>
                    <a:lnTo>
                      <a:pt x="17953" y="12128"/>
                    </a:lnTo>
                    <a:lnTo>
                      <a:pt x="17953" y="12042"/>
                    </a:lnTo>
                    <a:lnTo>
                      <a:pt x="17879" y="12042"/>
                    </a:lnTo>
                    <a:lnTo>
                      <a:pt x="17879" y="12128"/>
                    </a:lnTo>
                    <a:lnTo>
                      <a:pt x="17627" y="12128"/>
                    </a:lnTo>
                    <a:lnTo>
                      <a:pt x="17538" y="12042"/>
                    </a:lnTo>
                    <a:lnTo>
                      <a:pt x="17449" y="12042"/>
                    </a:lnTo>
                    <a:lnTo>
                      <a:pt x="17449" y="11955"/>
                    </a:lnTo>
                    <a:lnTo>
                      <a:pt x="17286" y="11955"/>
                    </a:lnTo>
                    <a:lnTo>
                      <a:pt x="17286" y="12042"/>
                    </a:lnTo>
                    <a:lnTo>
                      <a:pt x="17286" y="11955"/>
                    </a:lnTo>
                    <a:lnTo>
                      <a:pt x="17034" y="11955"/>
                    </a:lnTo>
                    <a:lnTo>
                      <a:pt x="17034" y="12128"/>
                    </a:lnTo>
                    <a:lnTo>
                      <a:pt x="16945" y="12128"/>
                    </a:lnTo>
                    <a:lnTo>
                      <a:pt x="16945" y="12287"/>
                    </a:lnTo>
                    <a:lnTo>
                      <a:pt x="17034" y="12287"/>
                    </a:lnTo>
                    <a:lnTo>
                      <a:pt x="17034" y="12374"/>
                    </a:lnTo>
                    <a:lnTo>
                      <a:pt x="17108" y="12446"/>
                    </a:lnTo>
                    <a:lnTo>
                      <a:pt x="17108" y="12619"/>
                    </a:lnTo>
                    <a:lnTo>
                      <a:pt x="17034" y="12619"/>
                    </a:lnTo>
                    <a:lnTo>
                      <a:pt x="17034" y="12778"/>
                    </a:lnTo>
                    <a:lnTo>
                      <a:pt x="17108" y="12778"/>
                    </a:lnTo>
                    <a:lnTo>
                      <a:pt x="17108" y="13024"/>
                    </a:lnTo>
                    <a:lnTo>
                      <a:pt x="17034" y="13024"/>
                    </a:lnTo>
                    <a:lnTo>
                      <a:pt x="17108" y="13024"/>
                    </a:lnTo>
                    <a:lnTo>
                      <a:pt x="17108" y="13197"/>
                    </a:lnTo>
                    <a:lnTo>
                      <a:pt x="17034" y="13197"/>
                    </a:lnTo>
                    <a:lnTo>
                      <a:pt x="17034" y="13283"/>
                    </a:lnTo>
                    <a:lnTo>
                      <a:pt x="16945" y="13283"/>
                    </a:lnTo>
                    <a:lnTo>
                      <a:pt x="16945" y="13356"/>
                    </a:lnTo>
                    <a:lnTo>
                      <a:pt x="16856" y="13356"/>
                    </a:lnTo>
                    <a:lnTo>
                      <a:pt x="16945" y="13356"/>
                    </a:lnTo>
                    <a:lnTo>
                      <a:pt x="16945" y="13442"/>
                    </a:lnTo>
                    <a:lnTo>
                      <a:pt x="16856" y="13529"/>
                    </a:lnTo>
                    <a:lnTo>
                      <a:pt x="16767" y="13529"/>
                    </a:lnTo>
                    <a:lnTo>
                      <a:pt x="16767" y="13601"/>
                    </a:lnTo>
                    <a:lnTo>
                      <a:pt x="16856" y="13601"/>
                    </a:lnTo>
                    <a:lnTo>
                      <a:pt x="16856" y="13688"/>
                    </a:lnTo>
                    <a:lnTo>
                      <a:pt x="16767" y="13774"/>
                    </a:lnTo>
                    <a:lnTo>
                      <a:pt x="16767" y="13861"/>
                    </a:lnTo>
                    <a:lnTo>
                      <a:pt x="16693" y="13861"/>
                    </a:lnTo>
                    <a:lnTo>
                      <a:pt x="16767" y="13861"/>
                    </a:lnTo>
                    <a:lnTo>
                      <a:pt x="16767" y="14106"/>
                    </a:lnTo>
                    <a:lnTo>
                      <a:pt x="16856" y="14106"/>
                    </a:lnTo>
                    <a:lnTo>
                      <a:pt x="16856" y="14179"/>
                    </a:lnTo>
                    <a:lnTo>
                      <a:pt x="17034" y="14179"/>
                    </a:lnTo>
                    <a:lnTo>
                      <a:pt x="17034" y="14424"/>
                    </a:lnTo>
                    <a:lnTo>
                      <a:pt x="17108" y="14511"/>
                    </a:lnTo>
                    <a:lnTo>
                      <a:pt x="17108" y="14756"/>
                    </a:lnTo>
                    <a:lnTo>
                      <a:pt x="17197" y="14756"/>
                    </a:lnTo>
                    <a:lnTo>
                      <a:pt x="17197" y="14843"/>
                    </a:lnTo>
                    <a:lnTo>
                      <a:pt x="17286" y="14843"/>
                    </a:lnTo>
                    <a:lnTo>
                      <a:pt x="17286" y="15002"/>
                    </a:lnTo>
                    <a:lnTo>
                      <a:pt x="17360" y="15088"/>
                    </a:lnTo>
                    <a:lnTo>
                      <a:pt x="17360" y="15175"/>
                    </a:lnTo>
                    <a:lnTo>
                      <a:pt x="17286" y="15175"/>
                    </a:lnTo>
                    <a:lnTo>
                      <a:pt x="17286" y="15088"/>
                    </a:lnTo>
                    <a:lnTo>
                      <a:pt x="17286" y="15175"/>
                    </a:lnTo>
                    <a:lnTo>
                      <a:pt x="17108" y="15175"/>
                    </a:lnTo>
                    <a:lnTo>
                      <a:pt x="17108" y="15334"/>
                    </a:lnTo>
                    <a:lnTo>
                      <a:pt x="17034" y="15334"/>
                    </a:lnTo>
                    <a:lnTo>
                      <a:pt x="17108" y="15420"/>
                    </a:lnTo>
                    <a:lnTo>
                      <a:pt x="17108" y="15507"/>
                    </a:lnTo>
                    <a:lnTo>
                      <a:pt x="17034" y="15507"/>
                    </a:lnTo>
                    <a:lnTo>
                      <a:pt x="17034" y="15666"/>
                    </a:lnTo>
                    <a:lnTo>
                      <a:pt x="16945" y="15666"/>
                    </a:lnTo>
                    <a:lnTo>
                      <a:pt x="16945" y="15752"/>
                    </a:lnTo>
                    <a:lnTo>
                      <a:pt x="16856" y="15752"/>
                    </a:lnTo>
                    <a:lnTo>
                      <a:pt x="16856" y="15839"/>
                    </a:lnTo>
                    <a:lnTo>
                      <a:pt x="16604" y="15839"/>
                    </a:lnTo>
                    <a:lnTo>
                      <a:pt x="16604" y="15911"/>
                    </a:lnTo>
                    <a:lnTo>
                      <a:pt x="16515" y="15911"/>
                    </a:lnTo>
                    <a:lnTo>
                      <a:pt x="16441" y="15839"/>
                    </a:lnTo>
                    <a:lnTo>
                      <a:pt x="16441" y="15911"/>
                    </a:lnTo>
                    <a:lnTo>
                      <a:pt x="16441" y="15839"/>
                    </a:lnTo>
                    <a:lnTo>
                      <a:pt x="16352" y="15839"/>
                    </a:lnTo>
                    <a:lnTo>
                      <a:pt x="16352" y="15911"/>
                    </a:lnTo>
                    <a:lnTo>
                      <a:pt x="16263" y="15911"/>
                    </a:lnTo>
                    <a:lnTo>
                      <a:pt x="16263" y="15998"/>
                    </a:lnTo>
                    <a:lnTo>
                      <a:pt x="16174" y="16084"/>
                    </a:lnTo>
                    <a:lnTo>
                      <a:pt x="16174" y="16243"/>
                    </a:lnTo>
                    <a:lnTo>
                      <a:pt x="16263" y="16243"/>
                    </a:lnTo>
                    <a:lnTo>
                      <a:pt x="16263" y="16417"/>
                    </a:lnTo>
                    <a:lnTo>
                      <a:pt x="15922" y="16417"/>
                    </a:lnTo>
                    <a:lnTo>
                      <a:pt x="15922" y="16489"/>
                    </a:lnTo>
                    <a:lnTo>
                      <a:pt x="15581" y="16489"/>
                    </a:lnTo>
                    <a:lnTo>
                      <a:pt x="15507" y="16575"/>
                    </a:lnTo>
                    <a:lnTo>
                      <a:pt x="15329" y="16575"/>
                    </a:lnTo>
                    <a:lnTo>
                      <a:pt x="15329" y="16662"/>
                    </a:lnTo>
                    <a:lnTo>
                      <a:pt x="15240" y="16662"/>
                    </a:lnTo>
                    <a:lnTo>
                      <a:pt x="15240" y="16734"/>
                    </a:lnTo>
                    <a:lnTo>
                      <a:pt x="15166" y="16734"/>
                    </a:lnTo>
                    <a:lnTo>
                      <a:pt x="15166" y="16907"/>
                    </a:lnTo>
                    <a:lnTo>
                      <a:pt x="15077" y="16907"/>
                    </a:lnTo>
                    <a:lnTo>
                      <a:pt x="15166" y="16907"/>
                    </a:lnTo>
                    <a:lnTo>
                      <a:pt x="15166" y="17153"/>
                    </a:lnTo>
                    <a:lnTo>
                      <a:pt x="15077" y="17153"/>
                    </a:lnTo>
                    <a:lnTo>
                      <a:pt x="15077" y="17312"/>
                    </a:lnTo>
                    <a:lnTo>
                      <a:pt x="15166" y="17312"/>
                    </a:lnTo>
                    <a:lnTo>
                      <a:pt x="15166" y="17557"/>
                    </a:lnTo>
                    <a:lnTo>
                      <a:pt x="14988" y="17557"/>
                    </a:lnTo>
                    <a:lnTo>
                      <a:pt x="14988" y="17644"/>
                    </a:lnTo>
                    <a:lnTo>
                      <a:pt x="15077" y="17644"/>
                    </a:lnTo>
                    <a:lnTo>
                      <a:pt x="15077" y="17730"/>
                    </a:lnTo>
                    <a:lnTo>
                      <a:pt x="15166" y="17730"/>
                    </a:lnTo>
                    <a:lnTo>
                      <a:pt x="15166" y="17817"/>
                    </a:lnTo>
                    <a:lnTo>
                      <a:pt x="15077" y="17817"/>
                    </a:lnTo>
                    <a:lnTo>
                      <a:pt x="15077" y="17976"/>
                    </a:lnTo>
                    <a:lnTo>
                      <a:pt x="15166" y="17976"/>
                    </a:lnTo>
                    <a:lnTo>
                      <a:pt x="15166" y="18063"/>
                    </a:lnTo>
                    <a:lnTo>
                      <a:pt x="15077" y="18063"/>
                    </a:lnTo>
                    <a:lnTo>
                      <a:pt x="15077" y="17976"/>
                    </a:lnTo>
                    <a:lnTo>
                      <a:pt x="14988" y="17976"/>
                    </a:lnTo>
                    <a:lnTo>
                      <a:pt x="14988" y="18063"/>
                    </a:lnTo>
                    <a:lnTo>
                      <a:pt x="14988" y="17976"/>
                    </a:lnTo>
                    <a:lnTo>
                      <a:pt x="14914" y="17976"/>
                    </a:lnTo>
                    <a:lnTo>
                      <a:pt x="14914" y="18063"/>
                    </a:lnTo>
                    <a:lnTo>
                      <a:pt x="14825" y="18063"/>
                    </a:lnTo>
                    <a:lnTo>
                      <a:pt x="14914" y="18063"/>
                    </a:lnTo>
                    <a:lnTo>
                      <a:pt x="14914" y="18135"/>
                    </a:lnTo>
                    <a:lnTo>
                      <a:pt x="14988" y="18135"/>
                    </a:lnTo>
                    <a:lnTo>
                      <a:pt x="14988" y="18221"/>
                    </a:lnTo>
                    <a:lnTo>
                      <a:pt x="15077" y="18221"/>
                    </a:lnTo>
                    <a:lnTo>
                      <a:pt x="15077" y="18308"/>
                    </a:lnTo>
                    <a:lnTo>
                      <a:pt x="15329" y="18308"/>
                    </a:lnTo>
                    <a:lnTo>
                      <a:pt x="15329" y="18467"/>
                    </a:lnTo>
                    <a:lnTo>
                      <a:pt x="15240" y="18467"/>
                    </a:lnTo>
                    <a:lnTo>
                      <a:pt x="15240" y="18886"/>
                    </a:lnTo>
                    <a:lnTo>
                      <a:pt x="15077" y="18886"/>
                    </a:lnTo>
                    <a:lnTo>
                      <a:pt x="15077" y="19044"/>
                    </a:lnTo>
                    <a:lnTo>
                      <a:pt x="15240" y="19044"/>
                    </a:lnTo>
                    <a:lnTo>
                      <a:pt x="15329" y="19131"/>
                    </a:lnTo>
                    <a:lnTo>
                      <a:pt x="15418" y="19131"/>
                    </a:lnTo>
                    <a:lnTo>
                      <a:pt x="15418" y="19218"/>
                    </a:lnTo>
                    <a:lnTo>
                      <a:pt x="15581" y="19218"/>
                    </a:lnTo>
                    <a:lnTo>
                      <a:pt x="15581" y="19535"/>
                    </a:lnTo>
                    <a:lnTo>
                      <a:pt x="15670" y="19535"/>
                    </a:lnTo>
                    <a:lnTo>
                      <a:pt x="15670" y="19622"/>
                    </a:lnTo>
                    <a:lnTo>
                      <a:pt x="15581" y="19622"/>
                    </a:lnTo>
                    <a:lnTo>
                      <a:pt x="15581" y="19535"/>
                    </a:lnTo>
                    <a:lnTo>
                      <a:pt x="15507" y="19535"/>
                    </a:lnTo>
                    <a:lnTo>
                      <a:pt x="15507" y="19622"/>
                    </a:lnTo>
                    <a:lnTo>
                      <a:pt x="15581" y="19622"/>
                    </a:lnTo>
                    <a:lnTo>
                      <a:pt x="15507" y="19622"/>
                    </a:lnTo>
                    <a:lnTo>
                      <a:pt x="15507" y="19709"/>
                    </a:lnTo>
                    <a:lnTo>
                      <a:pt x="15507" y="19622"/>
                    </a:lnTo>
                    <a:lnTo>
                      <a:pt x="15418" y="19622"/>
                    </a:lnTo>
                    <a:lnTo>
                      <a:pt x="15418" y="20199"/>
                    </a:lnTo>
                    <a:lnTo>
                      <a:pt x="15507" y="20199"/>
                    </a:lnTo>
                    <a:lnTo>
                      <a:pt x="15507" y="20286"/>
                    </a:lnTo>
                    <a:lnTo>
                      <a:pt x="15418" y="20286"/>
                    </a:lnTo>
                    <a:lnTo>
                      <a:pt x="15507" y="20286"/>
                    </a:lnTo>
                    <a:lnTo>
                      <a:pt x="15507" y="20373"/>
                    </a:lnTo>
                    <a:lnTo>
                      <a:pt x="15581" y="20373"/>
                    </a:lnTo>
                    <a:lnTo>
                      <a:pt x="15581" y="20445"/>
                    </a:lnTo>
                    <a:lnTo>
                      <a:pt x="15418" y="20445"/>
                    </a:lnTo>
                    <a:lnTo>
                      <a:pt x="15329" y="20532"/>
                    </a:lnTo>
                    <a:lnTo>
                      <a:pt x="15240" y="20532"/>
                    </a:lnTo>
                    <a:lnTo>
                      <a:pt x="15240" y="20618"/>
                    </a:lnTo>
                    <a:lnTo>
                      <a:pt x="15166" y="20618"/>
                    </a:lnTo>
                    <a:lnTo>
                      <a:pt x="15077" y="20690"/>
                    </a:lnTo>
                    <a:lnTo>
                      <a:pt x="15077" y="20618"/>
                    </a:lnTo>
                    <a:lnTo>
                      <a:pt x="14988" y="20618"/>
                    </a:lnTo>
                    <a:lnTo>
                      <a:pt x="14988" y="20690"/>
                    </a:lnTo>
                    <a:lnTo>
                      <a:pt x="14825" y="20690"/>
                    </a:lnTo>
                    <a:lnTo>
                      <a:pt x="14825" y="20777"/>
                    </a:lnTo>
                    <a:lnTo>
                      <a:pt x="14647" y="20777"/>
                    </a:lnTo>
                    <a:lnTo>
                      <a:pt x="14647" y="20864"/>
                    </a:lnTo>
                    <a:lnTo>
                      <a:pt x="14573" y="20864"/>
                    </a:lnTo>
                    <a:lnTo>
                      <a:pt x="14573" y="20950"/>
                    </a:lnTo>
                    <a:lnTo>
                      <a:pt x="14647" y="20950"/>
                    </a:lnTo>
                    <a:lnTo>
                      <a:pt x="14647" y="21022"/>
                    </a:lnTo>
                    <a:lnTo>
                      <a:pt x="14573" y="21109"/>
                    </a:lnTo>
                    <a:lnTo>
                      <a:pt x="14232" y="21109"/>
                    </a:lnTo>
                    <a:lnTo>
                      <a:pt x="14143" y="21022"/>
                    </a:lnTo>
                    <a:lnTo>
                      <a:pt x="14143" y="21109"/>
                    </a:lnTo>
                    <a:lnTo>
                      <a:pt x="14054" y="21109"/>
                    </a:lnTo>
                    <a:lnTo>
                      <a:pt x="13980" y="21196"/>
                    </a:lnTo>
                    <a:lnTo>
                      <a:pt x="13891" y="21196"/>
                    </a:lnTo>
                    <a:lnTo>
                      <a:pt x="13891" y="21109"/>
                    </a:lnTo>
                    <a:lnTo>
                      <a:pt x="13802" y="21196"/>
                    </a:lnTo>
                    <a:lnTo>
                      <a:pt x="13802" y="21355"/>
                    </a:lnTo>
                    <a:lnTo>
                      <a:pt x="13728" y="21355"/>
                    </a:lnTo>
                    <a:lnTo>
                      <a:pt x="13728" y="21268"/>
                    </a:lnTo>
                    <a:lnTo>
                      <a:pt x="13550" y="21268"/>
                    </a:lnTo>
                    <a:lnTo>
                      <a:pt x="13461" y="21355"/>
                    </a:lnTo>
                    <a:lnTo>
                      <a:pt x="13461" y="21441"/>
                    </a:lnTo>
                    <a:lnTo>
                      <a:pt x="13209" y="21441"/>
                    </a:lnTo>
                    <a:lnTo>
                      <a:pt x="13209" y="21513"/>
                    </a:lnTo>
                    <a:lnTo>
                      <a:pt x="13046" y="21513"/>
                    </a:lnTo>
                    <a:lnTo>
                      <a:pt x="13046" y="21600"/>
                    </a:lnTo>
                    <a:lnTo>
                      <a:pt x="12957" y="21600"/>
                    </a:lnTo>
                    <a:lnTo>
                      <a:pt x="12957" y="21513"/>
                    </a:lnTo>
                    <a:lnTo>
                      <a:pt x="13046" y="21513"/>
                    </a:lnTo>
                    <a:lnTo>
                      <a:pt x="12957" y="21513"/>
                    </a:lnTo>
                    <a:lnTo>
                      <a:pt x="12957" y="21441"/>
                    </a:lnTo>
                    <a:lnTo>
                      <a:pt x="12705" y="21441"/>
                    </a:lnTo>
                    <a:lnTo>
                      <a:pt x="12705" y="21513"/>
                    </a:lnTo>
                    <a:lnTo>
                      <a:pt x="12616" y="21513"/>
                    </a:lnTo>
                    <a:lnTo>
                      <a:pt x="12616" y="21441"/>
                    </a:lnTo>
                    <a:lnTo>
                      <a:pt x="12364" y="21441"/>
                    </a:lnTo>
                    <a:lnTo>
                      <a:pt x="12364" y="21513"/>
                    </a:lnTo>
                    <a:lnTo>
                      <a:pt x="12275" y="21513"/>
                    </a:lnTo>
                    <a:lnTo>
                      <a:pt x="12275" y="21600"/>
                    </a:lnTo>
                    <a:lnTo>
                      <a:pt x="12275" y="21513"/>
                    </a:lnTo>
                    <a:lnTo>
                      <a:pt x="12201" y="21513"/>
                    </a:lnTo>
                    <a:lnTo>
                      <a:pt x="12201" y="21600"/>
                    </a:lnTo>
                    <a:lnTo>
                      <a:pt x="12201" y="21513"/>
                    </a:lnTo>
                    <a:lnTo>
                      <a:pt x="12112" y="21513"/>
                    </a:lnTo>
                    <a:lnTo>
                      <a:pt x="12112" y="21600"/>
                    </a:lnTo>
                    <a:lnTo>
                      <a:pt x="12023" y="21600"/>
                    </a:lnTo>
                    <a:lnTo>
                      <a:pt x="12023" y="21513"/>
                    </a:lnTo>
                    <a:lnTo>
                      <a:pt x="11949" y="21513"/>
                    </a:lnTo>
                    <a:lnTo>
                      <a:pt x="11949" y="21441"/>
                    </a:lnTo>
                    <a:lnTo>
                      <a:pt x="11771" y="21441"/>
                    </a:lnTo>
                    <a:lnTo>
                      <a:pt x="11771" y="21355"/>
                    </a:lnTo>
                    <a:lnTo>
                      <a:pt x="11682" y="21355"/>
                    </a:lnTo>
                    <a:lnTo>
                      <a:pt x="11682" y="21268"/>
                    </a:lnTo>
                    <a:lnTo>
                      <a:pt x="11608" y="21268"/>
                    </a:lnTo>
                    <a:lnTo>
                      <a:pt x="11608" y="21196"/>
                    </a:lnTo>
                    <a:lnTo>
                      <a:pt x="11430" y="21196"/>
                    </a:lnTo>
                    <a:lnTo>
                      <a:pt x="11430" y="21268"/>
                    </a:lnTo>
                    <a:lnTo>
                      <a:pt x="10926" y="21268"/>
                    </a:lnTo>
                    <a:lnTo>
                      <a:pt x="10926" y="21196"/>
                    </a:lnTo>
                    <a:lnTo>
                      <a:pt x="10926" y="21355"/>
                    </a:lnTo>
                    <a:lnTo>
                      <a:pt x="10763" y="21355"/>
                    </a:lnTo>
                    <a:lnTo>
                      <a:pt x="10763" y="21268"/>
                    </a:lnTo>
                    <a:lnTo>
                      <a:pt x="10585" y="21268"/>
                    </a:lnTo>
                    <a:lnTo>
                      <a:pt x="10585" y="21196"/>
                    </a:lnTo>
                    <a:lnTo>
                      <a:pt x="10422" y="21196"/>
                    </a:lnTo>
                    <a:lnTo>
                      <a:pt x="10422" y="21268"/>
                    </a:lnTo>
                    <a:lnTo>
                      <a:pt x="10244" y="21268"/>
                    </a:lnTo>
                    <a:lnTo>
                      <a:pt x="10170" y="21196"/>
                    </a:lnTo>
                    <a:lnTo>
                      <a:pt x="10081" y="21196"/>
                    </a:lnTo>
                    <a:lnTo>
                      <a:pt x="10081" y="21109"/>
                    </a:lnTo>
                    <a:lnTo>
                      <a:pt x="9651" y="21109"/>
                    </a:lnTo>
                    <a:lnTo>
                      <a:pt x="9651" y="21196"/>
                    </a:lnTo>
                    <a:lnTo>
                      <a:pt x="9651" y="21109"/>
                    </a:lnTo>
                    <a:lnTo>
                      <a:pt x="9651" y="21196"/>
                    </a:lnTo>
                    <a:lnTo>
                      <a:pt x="9399" y="21196"/>
                    </a:lnTo>
                    <a:lnTo>
                      <a:pt x="9399" y="21355"/>
                    </a:lnTo>
                    <a:lnTo>
                      <a:pt x="9236" y="21355"/>
                    </a:lnTo>
                    <a:lnTo>
                      <a:pt x="9236" y="21441"/>
                    </a:lnTo>
                    <a:lnTo>
                      <a:pt x="9058" y="21109"/>
                    </a:lnTo>
                    <a:lnTo>
                      <a:pt x="8969" y="21109"/>
                    </a:lnTo>
                    <a:lnTo>
                      <a:pt x="8969" y="21022"/>
                    </a:lnTo>
                    <a:lnTo>
                      <a:pt x="8806" y="21022"/>
                    </a:lnTo>
                    <a:lnTo>
                      <a:pt x="8806" y="20777"/>
                    </a:lnTo>
                    <a:lnTo>
                      <a:pt x="8717" y="20777"/>
                    </a:lnTo>
                    <a:lnTo>
                      <a:pt x="8717" y="20950"/>
                    </a:lnTo>
                    <a:lnTo>
                      <a:pt x="8643" y="20950"/>
                    </a:lnTo>
                    <a:lnTo>
                      <a:pt x="8643" y="20690"/>
                    </a:lnTo>
                    <a:lnTo>
                      <a:pt x="8554" y="20690"/>
                    </a:lnTo>
                    <a:lnTo>
                      <a:pt x="8554" y="20373"/>
                    </a:lnTo>
                    <a:lnTo>
                      <a:pt x="8465" y="20373"/>
                    </a:lnTo>
                    <a:lnTo>
                      <a:pt x="8465" y="20113"/>
                    </a:lnTo>
                    <a:lnTo>
                      <a:pt x="8376" y="20113"/>
                    </a:lnTo>
                    <a:lnTo>
                      <a:pt x="8376" y="19954"/>
                    </a:lnTo>
                    <a:lnTo>
                      <a:pt x="8213" y="19954"/>
                    </a:lnTo>
                    <a:lnTo>
                      <a:pt x="8213" y="19867"/>
                    </a:lnTo>
                    <a:lnTo>
                      <a:pt x="8124" y="19867"/>
                    </a:lnTo>
                    <a:lnTo>
                      <a:pt x="8124" y="19795"/>
                    </a:lnTo>
                    <a:lnTo>
                      <a:pt x="8213" y="19795"/>
                    </a:lnTo>
                    <a:lnTo>
                      <a:pt x="8124" y="19795"/>
                    </a:lnTo>
                    <a:lnTo>
                      <a:pt x="8124" y="19622"/>
                    </a:lnTo>
                    <a:lnTo>
                      <a:pt x="8050" y="19622"/>
                    </a:lnTo>
                    <a:lnTo>
                      <a:pt x="8050" y="19535"/>
                    </a:lnTo>
                    <a:lnTo>
                      <a:pt x="8124" y="19535"/>
                    </a:lnTo>
                    <a:lnTo>
                      <a:pt x="8050" y="19463"/>
                    </a:lnTo>
                    <a:lnTo>
                      <a:pt x="7961" y="19463"/>
                    </a:lnTo>
                    <a:lnTo>
                      <a:pt x="8050" y="19463"/>
                    </a:lnTo>
                    <a:lnTo>
                      <a:pt x="7961" y="19463"/>
                    </a:lnTo>
                    <a:lnTo>
                      <a:pt x="7961" y="19131"/>
                    </a:lnTo>
                    <a:lnTo>
                      <a:pt x="7872" y="19131"/>
                    </a:lnTo>
                    <a:lnTo>
                      <a:pt x="7709" y="19044"/>
                    </a:lnTo>
                    <a:lnTo>
                      <a:pt x="7709" y="18958"/>
                    </a:lnTo>
                    <a:lnTo>
                      <a:pt x="7531" y="18958"/>
                    </a:lnTo>
                    <a:lnTo>
                      <a:pt x="7531" y="19044"/>
                    </a:lnTo>
                    <a:lnTo>
                      <a:pt x="7531" y="18958"/>
                    </a:lnTo>
                    <a:lnTo>
                      <a:pt x="7531" y="19044"/>
                    </a:lnTo>
                    <a:lnTo>
                      <a:pt x="7457" y="19044"/>
                    </a:lnTo>
                    <a:lnTo>
                      <a:pt x="7457" y="19131"/>
                    </a:lnTo>
                    <a:lnTo>
                      <a:pt x="7531" y="19131"/>
                    </a:lnTo>
                    <a:lnTo>
                      <a:pt x="7457" y="19131"/>
                    </a:lnTo>
                    <a:lnTo>
                      <a:pt x="7457" y="19218"/>
                    </a:lnTo>
                    <a:lnTo>
                      <a:pt x="7457" y="19131"/>
                    </a:lnTo>
                    <a:lnTo>
                      <a:pt x="7279" y="19131"/>
                    </a:lnTo>
                    <a:lnTo>
                      <a:pt x="7279" y="19218"/>
                    </a:lnTo>
                    <a:lnTo>
                      <a:pt x="7027" y="19218"/>
                    </a:lnTo>
                    <a:lnTo>
                      <a:pt x="7027" y="18886"/>
                    </a:lnTo>
                    <a:lnTo>
                      <a:pt x="6938" y="18886"/>
                    </a:lnTo>
                    <a:lnTo>
                      <a:pt x="6938" y="18799"/>
                    </a:lnTo>
                    <a:lnTo>
                      <a:pt x="7027" y="18799"/>
                    </a:lnTo>
                    <a:lnTo>
                      <a:pt x="7027" y="18640"/>
                    </a:lnTo>
                    <a:lnTo>
                      <a:pt x="6938" y="18640"/>
                    </a:lnTo>
                    <a:lnTo>
                      <a:pt x="6938" y="18712"/>
                    </a:lnTo>
                    <a:lnTo>
                      <a:pt x="6864" y="18712"/>
                    </a:lnTo>
                    <a:lnTo>
                      <a:pt x="6864" y="18640"/>
                    </a:lnTo>
                    <a:lnTo>
                      <a:pt x="6775" y="18640"/>
                    </a:lnTo>
                    <a:lnTo>
                      <a:pt x="6775" y="18553"/>
                    </a:lnTo>
                    <a:lnTo>
                      <a:pt x="6686" y="18553"/>
                    </a:lnTo>
                    <a:lnTo>
                      <a:pt x="6686" y="18467"/>
                    </a:lnTo>
                    <a:lnTo>
                      <a:pt x="6345" y="18467"/>
                    </a:lnTo>
                    <a:lnTo>
                      <a:pt x="6345" y="18395"/>
                    </a:lnTo>
                    <a:lnTo>
                      <a:pt x="6271" y="18395"/>
                    </a:lnTo>
                    <a:lnTo>
                      <a:pt x="6271" y="18467"/>
                    </a:lnTo>
                    <a:lnTo>
                      <a:pt x="6182" y="18467"/>
                    </a:lnTo>
                    <a:lnTo>
                      <a:pt x="6182" y="18395"/>
                    </a:lnTo>
                    <a:lnTo>
                      <a:pt x="6004" y="18395"/>
                    </a:lnTo>
                    <a:lnTo>
                      <a:pt x="6004" y="18467"/>
                    </a:lnTo>
                    <a:lnTo>
                      <a:pt x="5841" y="18467"/>
                    </a:lnTo>
                    <a:lnTo>
                      <a:pt x="5841" y="18799"/>
                    </a:lnTo>
                    <a:lnTo>
                      <a:pt x="5678" y="18799"/>
                    </a:lnTo>
                    <a:lnTo>
                      <a:pt x="5678" y="18886"/>
                    </a:lnTo>
                    <a:lnTo>
                      <a:pt x="5589" y="18886"/>
                    </a:lnTo>
                    <a:lnTo>
                      <a:pt x="5589" y="19044"/>
                    </a:lnTo>
                    <a:lnTo>
                      <a:pt x="5678" y="19044"/>
                    </a:lnTo>
                    <a:lnTo>
                      <a:pt x="5589" y="19044"/>
                    </a:lnTo>
                    <a:lnTo>
                      <a:pt x="5589" y="19131"/>
                    </a:lnTo>
                    <a:lnTo>
                      <a:pt x="5500" y="19131"/>
                    </a:lnTo>
                    <a:lnTo>
                      <a:pt x="5500" y="19376"/>
                    </a:lnTo>
                    <a:lnTo>
                      <a:pt x="5411" y="19376"/>
                    </a:lnTo>
                    <a:lnTo>
                      <a:pt x="5411" y="19463"/>
                    </a:lnTo>
                    <a:lnTo>
                      <a:pt x="5337" y="19463"/>
                    </a:lnTo>
                    <a:lnTo>
                      <a:pt x="5337" y="19535"/>
                    </a:lnTo>
                    <a:lnTo>
                      <a:pt x="5248" y="19535"/>
                    </a:lnTo>
                    <a:lnTo>
                      <a:pt x="5248" y="19709"/>
                    </a:lnTo>
                    <a:lnTo>
                      <a:pt x="5159" y="19709"/>
                    </a:lnTo>
                    <a:lnTo>
                      <a:pt x="5159" y="19795"/>
                    </a:lnTo>
                    <a:lnTo>
                      <a:pt x="5248" y="19795"/>
                    </a:lnTo>
                    <a:lnTo>
                      <a:pt x="5248" y="19954"/>
                    </a:lnTo>
                    <a:lnTo>
                      <a:pt x="5159" y="19954"/>
                    </a:lnTo>
                    <a:lnTo>
                      <a:pt x="5159" y="20041"/>
                    </a:lnTo>
                    <a:lnTo>
                      <a:pt x="5085" y="20041"/>
                    </a:lnTo>
                    <a:lnTo>
                      <a:pt x="5085" y="20113"/>
                    </a:lnTo>
                    <a:lnTo>
                      <a:pt x="4907" y="20113"/>
                    </a:lnTo>
                    <a:lnTo>
                      <a:pt x="4907" y="20286"/>
                    </a:lnTo>
                    <a:lnTo>
                      <a:pt x="4818" y="20286"/>
                    </a:lnTo>
                    <a:lnTo>
                      <a:pt x="4818" y="20199"/>
                    </a:lnTo>
                    <a:lnTo>
                      <a:pt x="4818" y="20445"/>
                    </a:lnTo>
                    <a:lnTo>
                      <a:pt x="4744" y="20373"/>
                    </a:lnTo>
                    <a:lnTo>
                      <a:pt x="4744" y="20041"/>
                    </a:lnTo>
                    <a:lnTo>
                      <a:pt x="4818" y="20041"/>
                    </a:lnTo>
                    <a:lnTo>
                      <a:pt x="4818" y="19954"/>
                    </a:lnTo>
                    <a:lnTo>
                      <a:pt x="4566" y="19954"/>
                    </a:lnTo>
                    <a:lnTo>
                      <a:pt x="4566" y="19795"/>
                    </a:lnTo>
                    <a:lnTo>
                      <a:pt x="4492" y="19867"/>
                    </a:lnTo>
                    <a:lnTo>
                      <a:pt x="4492" y="19954"/>
                    </a:lnTo>
                    <a:lnTo>
                      <a:pt x="4403" y="20041"/>
                    </a:lnTo>
                    <a:lnTo>
                      <a:pt x="4492" y="20041"/>
                    </a:lnTo>
                    <a:lnTo>
                      <a:pt x="4403" y="20041"/>
                    </a:lnTo>
                    <a:lnTo>
                      <a:pt x="4314" y="20113"/>
                    </a:lnTo>
                    <a:lnTo>
                      <a:pt x="4062" y="20113"/>
                    </a:lnTo>
                    <a:lnTo>
                      <a:pt x="4062" y="20199"/>
                    </a:lnTo>
                    <a:lnTo>
                      <a:pt x="3721" y="20199"/>
                    </a:lnTo>
                    <a:lnTo>
                      <a:pt x="3721" y="20286"/>
                    </a:lnTo>
                    <a:lnTo>
                      <a:pt x="3810" y="20286"/>
                    </a:lnTo>
                    <a:lnTo>
                      <a:pt x="3721" y="20286"/>
                    </a:lnTo>
                    <a:lnTo>
                      <a:pt x="3721" y="20445"/>
                    </a:lnTo>
                    <a:lnTo>
                      <a:pt x="3632" y="20445"/>
                    </a:lnTo>
                    <a:lnTo>
                      <a:pt x="3632" y="20532"/>
                    </a:lnTo>
                    <a:lnTo>
                      <a:pt x="3306" y="20532"/>
                    </a:lnTo>
                    <a:lnTo>
                      <a:pt x="3306" y="20445"/>
                    </a:lnTo>
                    <a:lnTo>
                      <a:pt x="3306" y="20532"/>
                    </a:lnTo>
                    <a:lnTo>
                      <a:pt x="3306" y="20445"/>
                    </a:lnTo>
                    <a:lnTo>
                      <a:pt x="3217" y="20445"/>
                    </a:lnTo>
                    <a:lnTo>
                      <a:pt x="3217" y="20373"/>
                    </a:lnTo>
                    <a:lnTo>
                      <a:pt x="3128" y="20373"/>
                    </a:lnTo>
                    <a:lnTo>
                      <a:pt x="3128" y="20286"/>
                    </a:lnTo>
                    <a:lnTo>
                      <a:pt x="3039" y="20286"/>
                    </a:lnTo>
                    <a:lnTo>
                      <a:pt x="3039" y="20199"/>
                    </a:lnTo>
                    <a:lnTo>
                      <a:pt x="2965" y="20199"/>
                    </a:lnTo>
                    <a:lnTo>
                      <a:pt x="3039" y="20199"/>
                    </a:lnTo>
                    <a:lnTo>
                      <a:pt x="3039" y="20113"/>
                    </a:lnTo>
                    <a:lnTo>
                      <a:pt x="2965" y="20113"/>
                    </a:lnTo>
                    <a:lnTo>
                      <a:pt x="3039" y="20113"/>
                    </a:lnTo>
                    <a:lnTo>
                      <a:pt x="3039" y="19954"/>
                    </a:lnTo>
                    <a:lnTo>
                      <a:pt x="3128" y="19954"/>
                    </a:lnTo>
                    <a:lnTo>
                      <a:pt x="3128" y="19867"/>
                    </a:lnTo>
                    <a:lnTo>
                      <a:pt x="3039" y="19867"/>
                    </a:lnTo>
                    <a:lnTo>
                      <a:pt x="3039" y="19795"/>
                    </a:lnTo>
                    <a:lnTo>
                      <a:pt x="3128" y="19709"/>
                    </a:lnTo>
                    <a:lnTo>
                      <a:pt x="3128" y="19131"/>
                    </a:lnTo>
                    <a:lnTo>
                      <a:pt x="3217" y="19131"/>
                    </a:lnTo>
                    <a:lnTo>
                      <a:pt x="3217" y="19044"/>
                    </a:lnTo>
                    <a:lnTo>
                      <a:pt x="3128" y="19044"/>
                    </a:lnTo>
                    <a:lnTo>
                      <a:pt x="3217" y="19044"/>
                    </a:lnTo>
                    <a:lnTo>
                      <a:pt x="3217" y="18799"/>
                    </a:lnTo>
                    <a:lnTo>
                      <a:pt x="3306" y="18799"/>
                    </a:lnTo>
                    <a:lnTo>
                      <a:pt x="3306" y="18640"/>
                    </a:lnTo>
                    <a:lnTo>
                      <a:pt x="3217" y="18640"/>
                    </a:lnTo>
                    <a:lnTo>
                      <a:pt x="3306" y="18640"/>
                    </a:lnTo>
                    <a:lnTo>
                      <a:pt x="3306" y="18467"/>
                    </a:lnTo>
                    <a:lnTo>
                      <a:pt x="3380" y="18467"/>
                    </a:lnTo>
                    <a:lnTo>
                      <a:pt x="3380" y="18308"/>
                    </a:lnTo>
                    <a:lnTo>
                      <a:pt x="3306" y="18308"/>
                    </a:lnTo>
                    <a:lnTo>
                      <a:pt x="3306" y="18221"/>
                    </a:lnTo>
                    <a:lnTo>
                      <a:pt x="3306" y="18308"/>
                    </a:lnTo>
                    <a:lnTo>
                      <a:pt x="3128" y="18308"/>
                    </a:lnTo>
                    <a:lnTo>
                      <a:pt x="3128" y="18221"/>
                    </a:lnTo>
                    <a:lnTo>
                      <a:pt x="3039" y="18221"/>
                    </a:lnTo>
                    <a:lnTo>
                      <a:pt x="3039" y="18135"/>
                    </a:lnTo>
                    <a:lnTo>
                      <a:pt x="3039" y="18221"/>
                    </a:lnTo>
                    <a:lnTo>
                      <a:pt x="3039" y="18135"/>
                    </a:lnTo>
                    <a:lnTo>
                      <a:pt x="2965" y="18135"/>
                    </a:lnTo>
                    <a:lnTo>
                      <a:pt x="2965" y="18221"/>
                    </a:lnTo>
                    <a:lnTo>
                      <a:pt x="2965" y="17889"/>
                    </a:lnTo>
                    <a:lnTo>
                      <a:pt x="2876" y="17889"/>
                    </a:lnTo>
                    <a:lnTo>
                      <a:pt x="2876" y="17817"/>
                    </a:lnTo>
                    <a:lnTo>
                      <a:pt x="2787" y="17817"/>
                    </a:lnTo>
                    <a:lnTo>
                      <a:pt x="2876" y="17817"/>
                    </a:lnTo>
                    <a:lnTo>
                      <a:pt x="2787" y="17817"/>
                    </a:lnTo>
                    <a:lnTo>
                      <a:pt x="2787" y="17730"/>
                    </a:lnTo>
                    <a:lnTo>
                      <a:pt x="2713" y="17730"/>
                    </a:lnTo>
                    <a:lnTo>
                      <a:pt x="2787" y="17730"/>
                    </a:lnTo>
                    <a:lnTo>
                      <a:pt x="2713" y="17644"/>
                    </a:lnTo>
                    <a:lnTo>
                      <a:pt x="2713" y="17557"/>
                    </a:lnTo>
                    <a:lnTo>
                      <a:pt x="2787" y="17557"/>
                    </a:lnTo>
                    <a:lnTo>
                      <a:pt x="2787" y="17485"/>
                    </a:lnTo>
                    <a:lnTo>
                      <a:pt x="2876" y="17485"/>
                    </a:lnTo>
                    <a:lnTo>
                      <a:pt x="2876" y="17066"/>
                    </a:lnTo>
                    <a:lnTo>
                      <a:pt x="2787" y="17066"/>
                    </a:lnTo>
                    <a:lnTo>
                      <a:pt x="2787" y="16980"/>
                    </a:lnTo>
                    <a:lnTo>
                      <a:pt x="2787" y="17066"/>
                    </a:lnTo>
                    <a:lnTo>
                      <a:pt x="2535" y="17066"/>
                    </a:lnTo>
                    <a:lnTo>
                      <a:pt x="2535" y="16980"/>
                    </a:lnTo>
                    <a:lnTo>
                      <a:pt x="2446" y="16980"/>
                    </a:lnTo>
                    <a:lnTo>
                      <a:pt x="2446" y="16907"/>
                    </a:lnTo>
                    <a:lnTo>
                      <a:pt x="2535" y="16907"/>
                    </a:lnTo>
                    <a:lnTo>
                      <a:pt x="2535" y="16662"/>
                    </a:lnTo>
                    <a:lnTo>
                      <a:pt x="2624" y="16662"/>
                    </a:lnTo>
                    <a:lnTo>
                      <a:pt x="2624" y="16575"/>
                    </a:lnTo>
                    <a:lnTo>
                      <a:pt x="2535" y="16575"/>
                    </a:lnTo>
                    <a:lnTo>
                      <a:pt x="2535" y="16417"/>
                    </a:lnTo>
                    <a:lnTo>
                      <a:pt x="2446" y="16417"/>
                    </a:lnTo>
                    <a:lnTo>
                      <a:pt x="2535" y="16417"/>
                    </a:lnTo>
                    <a:lnTo>
                      <a:pt x="2446" y="16417"/>
                    </a:lnTo>
                    <a:lnTo>
                      <a:pt x="2446" y="16157"/>
                    </a:lnTo>
                    <a:lnTo>
                      <a:pt x="2372" y="16157"/>
                    </a:lnTo>
                    <a:lnTo>
                      <a:pt x="2372" y="16084"/>
                    </a:lnTo>
                    <a:lnTo>
                      <a:pt x="2283" y="16084"/>
                    </a:lnTo>
                    <a:lnTo>
                      <a:pt x="2283" y="15911"/>
                    </a:lnTo>
                    <a:lnTo>
                      <a:pt x="1779" y="15911"/>
                    </a:lnTo>
                    <a:lnTo>
                      <a:pt x="1779" y="15666"/>
                    </a:lnTo>
                    <a:lnTo>
                      <a:pt x="2031" y="15666"/>
                    </a:lnTo>
                    <a:lnTo>
                      <a:pt x="2031" y="15579"/>
                    </a:lnTo>
                    <a:lnTo>
                      <a:pt x="1942" y="15579"/>
                    </a:lnTo>
                    <a:lnTo>
                      <a:pt x="1942" y="15420"/>
                    </a:lnTo>
                    <a:lnTo>
                      <a:pt x="1853" y="15420"/>
                    </a:lnTo>
                    <a:lnTo>
                      <a:pt x="1853" y="15261"/>
                    </a:lnTo>
                    <a:lnTo>
                      <a:pt x="1779" y="15175"/>
                    </a:lnTo>
                    <a:lnTo>
                      <a:pt x="1779" y="15261"/>
                    </a:lnTo>
                    <a:lnTo>
                      <a:pt x="1601" y="15261"/>
                    </a:lnTo>
                    <a:lnTo>
                      <a:pt x="1601" y="15334"/>
                    </a:lnTo>
                    <a:lnTo>
                      <a:pt x="1438" y="15334"/>
                    </a:lnTo>
                    <a:lnTo>
                      <a:pt x="1438" y="15261"/>
                    </a:lnTo>
                    <a:lnTo>
                      <a:pt x="1260" y="15261"/>
                    </a:lnTo>
                    <a:lnTo>
                      <a:pt x="1260" y="15334"/>
                    </a:lnTo>
                    <a:lnTo>
                      <a:pt x="1186" y="15261"/>
                    </a:lnTo>
                    <a:lnTo>
                      <a:pt x="1097" y="15261"/>
                    </a:lnTo>
                    <a:lnTo>
                      <a:pt x="1097" y="15175"/>
                    </a:lnTo>
                    <a:lnTo>
                      <a:pt x="919" y="15175"/>
                    </a:lnTo>
                    <a:lnTo>
                      <a:pt x="919" y="15088"/>
                    </a:lnTo>
                    <a:lnTo>
                      <a:pt x="845" y="15088"/>
                    </a:lnTo>
                    <a:lnTo>
                      <a:pt x="845" y="15175"/>
                    </a:lnTo>
                    <a:lnTo>
                      <a:pt x="756" y="15175"/>
                    </a:lnTo>
                    <a:lnTo>
                      <a:pt x="667" y="15261"/>
                    </a:lnTo>
                    <a:lnTo>
                      <a:pt x="667" y="15088"/>
                    </a:lnTo>
                    <a:lnTo>
                      <a:pt x="593" y="15088"/>
                    </a:lnTo>
                    <a:lnTo>
                      <a:pt x="593" y="15175"/>
                    </a:lnTo>
                    <a:lnTo>
                      <a:pt x="504" y="15175"/>
                    </a:lnTo>
                    <a:lnTo>
                      <a:pt x="504" y="15088"/>
                    </a:lnTo>
                    <a:lnTo>
                      <a:pt x="415" y="15088"/>
                    </a:lnTo>
                    <a:lnTo>
                      <a:pt x="504" y="15002"/>
                    </a:lnTo>
                    <a:lnTo>
                      <a:pt x="415" y="15002"/>
                    </a:lnTo>
                    <a:lnTo>
                      <a:pt x="415" y="14929"/>
                    </a:lnTo>
                    <a:lnTo>
                      <a:pt x="504" y="15002"/>
                    </a:lnTo>
                    <a:lnTo>
                      <a:pt x="504" y="14843"/>
                    </a:lnTo>
                    <a:lnTo>
                      <a:pt x="593" y="14843"/>
                    </a:lnTo>
                    <a:lnTo>
                      <a:pt x="593" y="14756"/>
                    </a:lnTo>
                    <a:lnTo>
                      <a:pt x="504" y="14756"/>
                    </a:lnTo>
                    <a:lnTo>
                      <a:pt x="504" y="14684"/>
                    </a:lnTo>
                    <a:lnTo>
                      <a:pt x="593" y="14684"/>
                    </a:lnTo>
                    <a:lnTo>
                      <a:pt x="593" y="14756"/>
                    </a:lnTo>
                    <a:lnTo>
                      <a:pt x="667" y="14756"/>
                    </a:lnTo>
                    <a:lnTo>
                      <a:pt x="593" y="14684"/>
                    </a:lnTo>
                    <a:lnTo>
                      <a:pt x="593" y="14597"/>
                    </a:lnTo>
                    <a:lnTo>
                      <a:pt x="504" y="14597"/>
                    </a:lnTo>
                    <a:lnTo>
                      <a:pt x="504" y="14511"/>
                    </a:lnTo>
                    <a:lnTo>
                      <a:pt x="593" y="14511"/>
                    </a:lnTo>
                    <a:lnTo>
                      <a:pt x="593" y="14424"/>
                    </a:lnTo>
                    <a:lnTo>
                      <a:pt x="667" y="14424"/>
                    </a:lnTo>
                    <a:lnTo>
                      <a:pt x="667" y="14352"/>
                    </a:lnTo>
                    <a:lnTo>
                      <a:pt x="756" y="14352"/>
                    </a:lnTo>
                    <a:lnTo>
                      <a:pt x="667" y="14352"/>
                    </a:lnTo>
                    <a:lnTo>
                      <a:pt x="667" y="14265"/>
                    </a:lnTo>
                    <a:lnTo>
                      <a:pt x="756" y="14179"/>
                    </a:lnTo>
                    <a:lnTo>
                      <a:pt x="845" y="14179"/>
                    </a:lnTo>
                    <a:lnTo>
                      <a:pt x="845" y="14020"/>
                    </a:lnTo>
                    <a:lnTo>
                      <a:pt x="919" y="14020"/>
                    </a:lnTo>
                    <a:lnTo>
                      <a:pt x="756" y="14020"/>
                    </a:lnTo>
                    <a:lnTo>
                      <a:pt x="756" y="13861"/>
                    </a:lnTo>
                    <a:lnTo>
                      <a:pt x="593" y="13861"/>
                    </a:lnTo>
                    <a:lnTo>
                      <a:pt x="667" y="13774"/>
                    </a:lnTo>
                    <a:lnTo>
                      <a:pt x="593" y="13774"/>
                    </a:lnTo>
                    <a:lnTo>
                      <a:pt x="667" y="13688"/>
                    </a:lnTo>
                    <a:lnTo>
                      <a:pt x="593" y="13688"/>
                    </a:lnTo>
                    <a:lnTo>
                      <a:pt x="667" y="13688"/>
                    </a:lnTo>
                    <a:lnTo>
                      <a:pt x="667" y="13601"/>
                    </a:lnTo>
                    <a:lnTo>
                      <a:pt x="593" y="13601"/>
                    </a:lnTo>
                    <a:lnTo>
                      <a:pt x="593" y="13442"/>
                    </a:lnTo>
                    <a:lnTo>
                      <a:pt x="504" y="13356"/>
                    </a:lnTo>
                    <a:lnTo>
                      <a:pt x="415" y="13356"/>
                    </a:lnTo>
                    <a:lnTo>
                      <a:pt x="415" y="13024"/>
                    </a:lnTo>
                    <a:lnTo>
                      <a:pt x="504" y="13024"/>
                    </a:lnTo>
                    <a:lnTo>
                      <a:pt x="504" y="12951"/>
                    </a:lnTo>
                    <a:lnTo>
                      <a:pt x="415" y="12951"/>
                    </a:lnTo>
                    <a:lnTo>
                      <a:pt x="504" y="12951"/>
                    </a:lnTo>
                    <a:lnTo>
                      <a:pt x="415" y="12951"/>
                    </a:lnTo>
                    <a:lnTo>
                      <a:pt x="415" y="12865"/>
                    </a:lnTo>
                    <a:lnTo>
                      <a:pt x="415" y="12951"/>
                    </a:lnTo>
                    <a:lnTo>
                      <a:pt x="415" y="12778"/>
                    </a:lnTo>
                    <a:lnTo>
                      <a:pt x="326" y="12778"/>
                    </a:lnTo>
                    <a:lnTo>
                      <a:pt x="326" y="12706"/>
                    </a:lnTo>
                    <a:lnTo>
                      <a:pt x="252" y="12706"/>
                    </a:lnTo>
                    <a:lnTo>
                      <a:pt x="252" y="12619"/>
                    </a:lnTo>
                    <a:lnTo>
                      <a:pt x="326" y="12619"/>
                    </a:lnTo>
                    <a:lnTo>
                      <a:pt x="252" y="12533"/>
                    </a:lnTo>
                    <a:lnTo>
                      <a:pt x="74" y="12533"/>
                    </a:lnTo>
                    <a:lnTo>
                      <a:pt x="0" y="12446"/>
                    </a:lnTo>
                    <a:lnTo>
                      <a:pt x="252" y="12446"/>
                    </a:lnTo>
                    <a:lnTo>
                      <a:pt x="252" y="12287"/>
                    </a:lnTo>
                    <a:lnTo>
                      <a:pt x="326" y="12287"/>
                    </a:lnTo>
                    <a:lnTo>
                      <a:pt x="326" y="12201"/>
                    </a:lnTo>
                    <a:lnTo>
                      <a:pt x="415" y="12201"/>
                    </a:lnTo>
                    <a:lnTo>
                      <a:pt x="415" y="12128"/>
                    </a:lnTo>
                    <a:lnTo>
                      <a:pt x="504" y="12128"/>
                    </a:lnTo>
                    <a:lnTo>
                      <a:pt x="593" y="12042"/>
                    </a:lnTo>
                    <a:lnTo>
                      <a:pt x="504" y="11464"/>
                    </a:lnTo>
                    <a:lnTo>
                      <a:pt x="504" y="11305"/>
                    </a:lnTo>
                    <a:lnTo>
                      <a:pt x="415" y="10800"/>
                    </a:lnTo>
                    <a:lnTo>
                      <a:pt x="415" y="10555"/>
                    </a:lnTo>
                    <a:lnTo>
                      <a:pt x="326" y="10396"/>
                    </a:lnTo>
                    <a:lnTo>
                      <a:pt x="0" y="9818"/>
                    </a:lnTo>
                    <a:lnTo>
                      <a:pt x="0" y="9732"/>
                    </a:lnTo>
                    <a:lnTo>
                      <a:pt x="74" y="9645"/>
                    </a:lnTo>
                    <a:lnTo>
                      <a:pt x="326" y="9645"/>
                    </a:lnTo>
                    <a:lnTo>
                      <a:pt x="326" y="9573"/>
                    </a:lnTo>
                    <a:lnTo>
                      <a:pt x="415" y="9573"/>
                    </a:lnTo>
                    <a:lnTo>
                      <a:pt x="415" y="9486"/>
                    </a:lnTo>
                    <a:lnTo>
                      <a:pt x="504" y="9486"/>
                    </a:lnTo>
                    <a:lnTo>
                      <a:pt x="593" y="9399"/>
                    </a:lnTo>
                    <a:lnTo>
                      <a:pt x="667" y="9399"/>
                    </a:lnTo>
                    <a:lnTo>
                      <a:pt x="667" y="9241"/>
                    </a:lnTo>
                    <a:lnTo>
                      <a:pt x="919" y="9241"/>
                    </a:lnTo>
                    <a:lnTo>
                      <a:pt x="919" y="9154"/>
                    </a:lnTo>
                    <a:lnTo>
                      <a:pt x="1008" y="9154"/>
                    </a:lnTo>
                    <a:lnTo>
                      <a:pt x="1008" y="9241"/>
                    </a:lnTo>
                    <a:lnTo>
                      <a:pt x="1186" y="9241"/>
                    </a:lnTo>
                    <a:lnTo>
                      <a:pt x="1186" y="8995"/>
                    </a:lnTo>
                    <a:lnTo>
                      <a:pt x="1260" y="8995"/>
                    </a:lnTo>
                    <a:lnTo>
                      <a:pt x="1260" y="8909"/>
                    </a:lnTo>
                    <a:lnTo>
                      <a:pt x="1186" y="8909"/>
                    </a:lnTo>
                    <a:lnTo>
                      <a:pt x="1186" y="8822"/>
                    </a:lnTo>
                    <a:lnTo>
                      <a:pt x="1097" y="8822"/>
                    </a:lnTo>
                    <a:lnTo>
                      <a:pt x="1097" y="8750"/>
                    </a:lnTo>
                    <a:lnTo>
                      <a:pt x="1186" y="8750"/>
                    </a:lnTo>
                    <a:lnTo>
                      <a:pt x="1186" y="8576"/>
                    </a:lnTo>
                    <a:lnTo>
                      <a:pt x="1260" y="8576"/>
                    </a:lnTo>
                    <a:lnTo>
                      <a:pt x="1260" y="8490"/>
                    </a:lnTo>
                    <a:lnTo>
                      <a:pt x="1438" y="8490"/>
                    </a:lnTo>
                    <a:lnTo>
                      <a:pt x="1438" y="8418"/>
                    </a:lnTo>
                    <a:lnTo>
                      <a:pt x="1349" y="8418"/>
                    </a:lnTo>
                    <a:lnTo>
                      <a:pt x="1349" y="8172"/>
                    </a:lnTo>
                    <a:lnTo>
                      <a:pt x="1438" y="8172"/>
                    </a:lnTo>
                    <a:lnTo>
                      <a:pt x="1438" y="8086"/>
                    </a:lnTo>
                    <a:lnTo>
                      <a:pt x="1512" y="8086"/>
                    </a:lnTo>
                    <a:lnTo>
                      <a:pt x="1438" y="8086"/>
                    </a:lnTo>
                    <a:lnTo>
                      <a:pt x="1512" y="8086"/>
                    </a:lnTo>
                    <a:lnTo>
                      <a:pt x="1512" y="7999"/>
                    </a:lnTo>
                    <a:lnTo>
                      <a:pt x="1601" y="7999"/>
                    </a:lnTo>
                    <a:lnTo>
                      <a:pt x="1690" y="7912"/>
                    </a:lnTo>
                    <a:lnTo>
                      <a:pt x="1779" y="7912"/>
                    </a:lnTo>
                    <a:lnTo>
                      <a:pt x="1779" y="7840"/>
                    </a:lnTo>
                    <a:lnTo>
                      <a:pt x="1853" y="7840"/>
                    </a:lnTo>
                    <a:lnTo>
                      <a:pt x="1853" y="7753"/>
                    </a:lnTo>
                    <a:lnTo>
                      <a:pt x="1942" y="7753"/>
                    </a:lnTo>
                    <a:lnTo>
                      <a:pt x="1942" y="7667"/>
                    </a:lnTo>
                    <a:lnTo>
                      <a:pt x="2031" y="7667"/>
                    </a:lnTo>
                    <a:lnTo>
                      <a:pt x="2031" y="7595"/>
                    </a:lnTo>
                    <a:lnTo>
                      <a:pt x="2031" y="7667"/>
                    </a:lnTo>
                    <a:lnTo>
                      <a:pt x="2105" y="7667"/>
                    </a:lnTo>
                    <a:lnTo>
                      <a:pt x="2105" y="7595"/>
                    </a:lnTo>
                    <a:lnTo>
                      <a:pt x="2194" y="7595"/>
                    </a:lnTo>
                    <a:lnTo>
                      <a:pt x="2194" y="7508"/>
                    </a:lnTo>
                    <a:lnTo>
                      <a:pt x="2105" y="7508"/>
                    </a:lnTo>
                    <a:lnTo>
                      <a:pt x="2105" y="7421"/>
                    </a:lnTo>
                    <a:lnTo>
                      <a:pt x="2194" y="7421"/>
                    </a:lnTo>
                    <a:lnTo>
                      <a:pt x="2194" y="7335"/>
                    </a:lnTo>
                    <a:lnTo>
                      <a:pt x="2031" y="7335"/>
                    </a:lnTo>
                    <a:lnTo>
                      <a:pt x="2031" y="7263"/>
                    </a:lnTo>
                    <a:lnTo>
                      <a:pt x="1853" y="7263"/>
                    </a:lnTo>
                    <a:lnTo>
                      <a:pt x="1779" y="6440"/>
                    </a:lnTo>
                    <a:lnTo>
                      <a:pt x="1601" y="6440"/>
                    </a:lnTo>
                    <a:lnTo>
                      <a:pt x="1601" y="6266"/>
                    </a:lnTo>
                    <a:lnTo>
                      <a:pt x="1349" y="6266"/>
                    </a:lnTo>
                    <a:lnTo>
                      <a:pt x="1349" y="6107"/>
                    </a:lnTo>
                    <a:lnTo>
                      <a:pt x="1438" y="6107"/>
                    </a:lnTo>
                    <a:lnTo>
                      <a:pt x="1438" y="6021"/>
                    </a:lnTo>
                    <a:lnTo>
                      <a:pt x="1186" y="6021"/>
                    </a:lnTo>
                    <a:lnTo>
                      <a:pt x="1186" y="5934"/>
                    </a:lnTo>
                    <a:lnTo>
                      <a:pt x="1260" y="5934"/>
                    </a:lnTo>
                    <a:lnTo>
                      <a:pt x="1186" y="5934"/>
                    </a:lnTo>
                    <a:lnTo>
                      <a:pt x="1186" y="5862"/>
                    </a:lnTo>
                    <a:lnTo>
                      <a:pt x="1097" y="5862"/>
                    </a:lnTo>
                    <a:lnTo>
                      <a:pt x="1097" y="5617"/>
                    </a:lnTo>
                    <a:lnTo>
                      <a:pt x="1186" y="5617"/>
                    </a:lnTo>
                    <a:lnTo>
                      <a:pt x="1097" y="5617"/>
                    </a:lnTo>
                    <a:lnTo>
                      <a:pt x="1097" y="5357"/>
                    </a:lnTo>
                    <a:lnTo>
                      <a:pt x="919" y="5357"/>
                    </a:lnTo>
                    <a:lnTo>
                      <a:pt x="919" y="5284"/>
                    </a:lnTo>
                    <a:lnTo>
                      <a:pt x="1008" y="5284"/>
                    </a:lnTo>
                    <a:lnTo>
                      <a:pt x="1008" y="5198"/>
                    </a:lnTo>
                    <a:lnTo>
                      <a:pt x="919" y="5198"/>
                    </a:lnTo>
                    <a:lnTo>
                      <a:pt x="845" y="5111"/>
                    </a:lnTo>
                    <a:lnTo>
                      <a:pt x="756" y="5111"/>
                    </a:lnTo>
                    <a:lnTo>
                      <a:pt x="919" y="5111"/>
                    </a:lnTo>
                    <a:lnTo>
                      <a:pt x="919" y="5039"/>
                    </a:lnTo>
                    <a:lnTo>
                      <a:pt x="1008" y="5039"/>
                    </a:lnTo>
                    <a:lnTo>
                      <a:pt x="1008" y="4866"/>
                    </a:lnTo>
                    <a:lnTo>
                      <a:pt x="1097" y="4866"/>
                    </a:lnTo>
                    <a:lnTo>
                      <a:pt x="1097" y="4779"/>
                    </a:lnTo>
                    <a:lnTo>
                      <a:pt x="1186" y="4779"/>
                    </a:lnTo>
                    <a:lnTo>
                      <a:pt x="1097" y="4779"/>
                    </a:lnTo>
                    <a:lnTo>
                      <a:pt x="1097" y="4707"/>
                    </a:lnTo>
                    <a:lnTo>
                      <a:pt x="1008" y="4707"/>
                    </a:lnTo>
                    <a:lnTo>
                      <a:pt x="1008" y="4534"/>
                    </a:lnTo>
                    <a:lnTo>
                      <a:pt x="1186" y="4534"/>
                    </a:lnTo>
                    <a:lnTo>
                      <a:pt x="1260" y="4620"/>
                    </a:lnTo>
                    <a:lnTo>
                      <a:pt x="1601" y="4620"/>
                    </a:lnTo>
                    <a:lnTo>
                      <a:pt x="1690" y="4534"/>
                    </a:lnTo>
                    <a:lnTo>
                      <a:pt x="1690" y="4375"/>
                    </a:lnTo>
                    <a:lnTo>
                      <a:pt x="1601" y="4288"/>
                    </a:lnTo>
                    <a:lnTo>
                      <a:pt x="1601" y="4216"/>
                    </a:lnTo>
                    <a:lnTo>
                      <a:pt x="1601" y="4288"/>
                    </a:lnTo>
                    <a:lnTo>
                      <a:pt x="1690" y="4288"/>
                    </a:lnTo>
                    <a:lnTo>
                      <a:pt x="1690" y="4375"/>
                    </a:lnTo>
                    <a:lnTo>
                      <a:pt x="1779" y="4375"/>
                    </a:lnTo>
                    <a:lnTo>
                      <a:pt x="1779" y="4461"/>
                    </a:lnTo>
                    <a:lnTo>
                      <a:pt x="1853" y="4461"/>
                    </a:lnTo>
                    <a:lnTo>
                      <a:pt x="1853" y="4620"/>
                    </a:lnTo>
                    <a:lnTo>
                      <a:pt x="1942" y="4620"/>
                    </a:lnTo>
                    <a:lnTo>
                      <a:pt x="1942" y="4707"/>
                    </a:lnTo>
                    <a:lnTo>
                      <a:pt x="1853" y="4707"/>
                    </a:lnTo>
                    <a:lnTo>
                      <a:pt x="1853" y="4866"/>
                    </a:lnTo>
                    <a:lnTo>
                      <a:pt x="1942" y="4866"/>
                    </a:lnTo>
                    <a:lnTo>
                      <a:pt x="1942" y="4952"/>
                    </a:lnTo>
                    <a:lnTo>
                      <a:pt x="2031" y="4952"/>
                    </a:lnTo>
                    <a:lnTo>
                      <a:pt x="2031" y="5039"/>
                    </a:lnTo>
                    <a:lnTo>
                      <a:pt x="2105" y="4952"/>
                    </a:lnTo>
                    <a:lnTo>
                      <a:pt x="2194" y="4952"/>
                    </a:lnTo>
                    <a:lnTo>
                      <a:pt x="2194" y="4866"/>
                    </a:lnTo>
                    <a:lnTo>
                      <a:pt x="2105" y="4866"/>
                    </a:lnTo>
                    <a:lnTo>
                      <a:pt x="2105" y="4952"/>
                    </a:lnTo>
                    <a:lnTo>
                      <a:pt x="2105" y="4866"/>
                    </a:lnTo>
                    <a:lnTo>
                      <a:pt x="1942" y="4866"/>
                    </a:lnTo>
                    <a:lnTo>
                      <a:pt x="1942" y="4707"/>
                    </a:lnTo>
                    <a:lnTo>
                      <a:pt x="2105" y="4707"/>
                    </a:lnTo>
                    <a:lnTo>
                      <a:pt x="2105" y="4620"/>
                    </a:lnTo>
                    <a:lnTo>
                      <a:pt x="2283" y="4620"/>
                    </a:lnTo>
                    <a:lnTo>
                      <a:pt x="2372" y="4534"/>
                    </a:lnTo>
                    <a:lnTo>
                      <a:pt x="2446" y="4534"/>
                    </a:lnTo>
                    <a:lnTo>
                      <a:pt x="2446" y="4375"/>
                    </a:lnTo>
                    <a:lnTo>
                      <a:pt x="3469" y="4375"/>
                    </a:lnTo>
                    <a:lnTo>
                      <a:pt x="3469" y="4288"/>
                    </a:lnTo>
                    <a:lnTo>
                      <a:pt x="3810" y="4288"/>
                    </a:lnTo>
                    <a:lnTo>
                      <a:pt x="3899" y="4375"/>
                    </a:lnTo>
                    <a:lnTo>
                      <a:pt x="3632" y="4375"/>
                    </a:lnTo>
                    <a:lnTo>
                      <a:pt x="3632" y="4534"/>
                    </a:lnTo>
                    <a:lnTo>
                      <a:pt x="3721" y="4534"/>
                    </a:lnTo>
                    <a:lnTo>
                      <a:pt x="3721" y="4707"/>
                    </a:lnTo>
                    <a:lnTo>
                      <a:pt x="3899" y="4707"/>
                    </a:lnTo>
                    <a:lnTo>
                      <a:pt x="3973" y="4779"/>
                    </a:lnTo>
                    <a:lnTo>
                      <a:pt x="4744" y="4779"/>
                    </a:lnTo>
                    <a:lnTo>
                      <a:pt x="4744" y="4707"/>
                    </a:lnTo>
                    <a:lnTo>
                      <a:pt x="4907" y="4707"/>
                    </a:lnTo>
                    <a:lnTo>
                      <a:pt x="4907" y="4620"/>
                    </a:lnTo>
                    <a:lnTo>
                      <a:pt x="5159" y="4620"/>
                    </a:lnTo>
                    <a:lnTo>
                      <a:pt x="5159" y="4534"/>
                    </a:lnTo>
                    <a:lnTo>
                      <a:pt x="5248" y="4534"/>
                    </a:lnTo>
                    <a:lnTo>
                      <a:pt x="5248" y="4461"/>
                    </a:lnTo>
                    <a:lnTo>
                      <a:pt x="5337" y="4461"/>
                    </a:lnTo>
                    <a:lnTo>
                      <a:pt x="5337" y="4534"/>
                    </a:lnTo>
                    <a:lnTo>
                      <a:pt x="5500" y="4534"/>
                    </a:lnTo>
                    <a:lnTo>
                      <a:pt x="5500" y="4288"/>
                    </a:lnTo>
                    <a:lnTo>
                      <a:pt x="5411" y="4288"/>
                    </a:lnTo>
                    <a:lnTo>
                      <a:pt x="5411" y="4216"/>
                    </a:lnTo>
                    <a:lnTo>
                      <a:pt x="5500" y="4216"/>
                    </a:lnTo>
                    <a:lnTo>
                      <a:pt x="5500" y="4129"/>
                    </a:lnTo>
                    <a:lnTo>
                      <a:pt x="5411" y="4129"/>
                    </a:lnTo>
                    <a:lnTo>
                      <a:pt x="5411" y="4043"/>
                    </a:lnTo>
                    <a:lnTo>
                      <a:pt x="5337" y="4043"/>
                    </a:lnTo>
                    <a:lnTo>
                      <a:pt x="5337" y="3884"/>
                    </a:lnTo>
                    <a:lnTo>
                      <a:pt x="5248" y="3884"/>
                    </a:lnTo>
                    <a:lnTo>
                      <a:pt x="5337" y="3884"/>
                    </a:lnTo>
                    <a:lnTo>
                      <a:pt x="5248" y="3884"/>
                    </a:lnTo>
                    <a:lnTo>
                      <a:pt x="5248" y="3797"/>
                    </a:lnTo>
                    <a:lnTo>
                      <a:pt x="5337" y="3797"/>
                    </a:lnTo>
                    <a:lnTo>
                      <a:pt x="5248" y="3797"/>
                    </a:lnTo>
                    <a:lnTo>
                      <a:pt x="5248" y="3711"/>
                    </a:lnTo>
                    <a:lnTo>
                      <a:pt x="5337" y="3711"/>
                    </a:lnTo>
                    <a:lnTo>
                      <a:pt x="5337" y="3639"/>
                    </a:lnTo>
                    <a:lnTo>
                      <a:pt x="5337" y="3711"/>
                    </a:lnTo>
                    <a:lnTo>
                      <a:pt x="5411" y="3711"/>
                    </a:lnTo>
                    <a:lnTo>
                      <a:pt x="5500" y="3639"/>
                    </a:lnTo>
                    <a:lnTo>
                      <a:pt x="5500" y="3465"/>
                    </a:lnTo>
                    <a:lnTo>
                      <a:pt x="5678" y="3465"/>
                    </a:lnTo>
                    <a:lnTo>
                      <a:pt x="5678" y="3552"/>
                    </a:lnTo>
                    <a:lnTo>
                      <a:pt x="5678" y="3465"/>
                    </a:lnTo>
                    <a:lnTo>
                      <a:pt x="5841" y="3465"/>
                    </a:lnTo>
                    <a:lnTo>
                      <a:pt x="5841" y="3552"/>
                    </a:lnTo>
                    <a:lnTo>
                      <a:pt x="5930" y="3552"/>
                    </a:lnTo>
                    <a:lnTo>
                      <a:pt x="5930" y="3639"/>
                    </a:lnTo>
                    <a:lnTo>
                      <a:pt x="5930" y="3552"/>
                    </a:lnTo>
                    <a:lnTo>
                      <a:pt x="6004" y="3552"/>
                    </a:lnTo>
                    <a:lnTo>
                      <a:pt x="6004" y="3639"/>
                    </a:lnTo>
                    <a:lnTo>
                      <a:pt x="6093" y="3552"/>
                    </a:lnTo>
                    <a:lnTo>
                      <a:pt x="6093" y="3639"/>
                    </a:lnTo>
                    <a:lnTo>
                      <a:pt x="6182" y="3639"/>
                    </a:lnTo>
                    <a:lnTo>
                      <a:pt x="6182" y="3552"/>
                    </a:lnTo>
                    <a:lnTo>
                      <a:pt x="6182" y="3711"/>
                    </a:lnTo>
                    <a:lnTo>
                      <a:pt x="6271" y="3711"/>
                    </a:lnTo>
                    <a:lnTo>
                      <a:pt x="6271" y="3639"/>
                    </a:lnTo>
                    <a:lnTo>
                      <a:pt x="6182" y="3639"/>
                    </a:lnTo>
                    <a:lnTo>
                      <a:pt x="6182" y="3552"/>
                    </a:lnTo>
                    <a:lnTo>
                      <a:pt x="6271" y="3552"/>
                    </a:lnTo>
                    <a:lnTo>
                      <a:pt x="6271" y="3465"/>
                    </a:lnTo>
                    <a:lnTo>
                      <a:pt x="6271" y="3552"/>
                    </a:lnTo>
                    <a:lnTo>
                      <a:pt x="6345" y="3552"/>
                    </a:lnTo>
                    <a:lnTo>
                      <a:pt x="6345" y="3639"/>
                    </a:lnTo>
                    <a:lnTo>
                      <a:pt x="6434" y="3639"/>
                    </a:lnTo>
                    <a:lnTo>
                      <a:pt x="6434" y="3552"/>
                    </a:lnTo>
                    <a:lnTo>
                      <a:pt x="6523" y="3552"/>
                    </a:lnTo>
                    <a:lnTo>
                      <a:pt x="6523" y="3639"/>
                    </a:lnTo>
                    <a:lnTo>
                      <a:pt x="6523" y="3465"/>
                    </a:lnTo>
                    <a:lnTo>
                      <a:pt x="6434" y="3465"/>
                    </a:lnTo>
                    <a:lnTo>
                      <a:pt x="6523" y="3465"/>
                    </a:lnTo>
                    <a:lnTo>
                      <a:pt x="6523" y="3379"/>
                    </a:lnTo>
                    <a:lnTo>
                      <a:pt x="6686" y="3379"/>
                    </a:lnTo>
                    <a:lnTo>
                      <a:pt x="6686" y="3465"/>
                    </a:lnTo>
                    <a:lnTo>
                      <a:pt x="6686" y="3379"/>
                    </a:lnTo>
                    <a:lnTo>
                      <a:pt x="6864" y="3379"/>
                    </a:lnTo>
                    <a:lnTo>
                      <a:pt x="6864" y="3465"/>
                    </a:lnTo>
                    <a:lnTo>
                      <a:pt x="6864" y="3379"/>
                    </a:lnTo>
                    <a:lnTo>
                      <a:pt x="6938" y="3465"/>
                    </a:lnTo>
                    <a:lnTo>
                      <a:pt x="6938" y="3552"/>
                    </a:lnTo>
                    <a:lnTo>
                      <a:pt x="6938" y="3465"/>
                    </a:lnTo>
                    <a:lnTo>
                      <a:pt x="7027" y="3465"/>
                    </a:lnTo>
                    <a:lnTo>
                      <a:pt x="7027" y="3552"/>
                    </a:lnTo>
                    <a:lnTo>
                      <a:pt x="7279" y="3552"/>
                    </a:lnTo>
                    <a:lnTo>
                      <a:pt x="7279" y="3711"/>
                    </a:lnTo>
                    <a:lnTo>
                      <a:pt x="7368" y="3711"/>
                    </a:lnTo>
                    <a:lnTo>
                      <a:pt x="7368" y="3639"/>
                    </a:lnTo>
                    <a:lnTo>
                      <a:pt x="7457" y="3639"/>
                    </a:lnTo>
                    <a:lnTo>
                      <a:pt x="7457" y="3797"/>
                    </a:lnTo>
                    <a:lnTo>
                      <a:pt x="7531" y="3797"/>
                    </a:lnTo>
                    <a:lnTo>
                      <a:pt x="7531" y="3884"/>
                    </a:lnTo>
                    <a:lnTo>
                      <a:pt x="7620" y="3884"/>
                    </a:lnTo>
                    <a:lnTo>
                      <a:pt x="7531" y="3884"/>
                    </a:lnTo>
                    <a:lnTo>
                      <a:pt x="7531" y="3956"/>
                    </a:lnTo>
                    <a:lnTo>
                      <a:pt x="7620" y="3956"/>
                    </a:lnTo>
                    <a:lnTo>
                      <a:pt x="7531" y="3956"/>
                    </a:lnTo>
                    <a:lnTo>
                      <a:pt x="7531" y="4043"/>
                    </a:lnTo>
                    <a:lnTo>
                      <a:pt x="7457" y="4043"/>
                    </a:lnTo>
                    <a:lnTo>
                      <a:pt x="7620" y="4043"/>
                    </a:lnTo>
                    <a:lnTo>
                      <a:pt x="7620" y="4129"/>
                    </a:lnTo>
                    <a:lnTo>
                      <a:pt x="7531" y="4129"/>
                    </a:lnTo>
                    <a:lnTo>
                      <a:pt x="7531" y="4216"/>
                    </a:lnTo>
                    <a:lnTo>
                      <a:pt x="7620" y="4216"/>
                    </a:lnTo>
                    <a:lnTo>
                      <a:pt x="7531" y="4216"/>
                    </a:lnTo>
                    <a:lnTo>
                      <a:pt x="7531" y="4288"/>
                    </a:lnTo>
                    <a:lnTo>
                      <a:pt x="7457" y="4288"/>
                    </a:lnTo>
                    <a:lnTo>
                      <a:pt x="7457" y="4375"/>
                    </a:lnTo>
                    <a:lnTo>
                      <a:pt x="7620" y="4375"/>
                    </a:lnTo>
                    <a:lnTo>
                      <a:pt x="7620" y="4288"/>
                    </a:lnTo>
                    <a:lnTo>
                      <a:pt x="7783" y="4288"/>
                    </a:lnTo>
                    <a:lnTo>
                      <a:pt x="7783" y="4375"/>
                    </a:lnTo>
                    <a:lnTo>
                      <a:pt x="7872" y="4375"/>
                    </a:lnTo>
                    <a:lnTo>
                      <a:pt x="7872" y="4461"/>
                    </a:lnTo>
                    <a:lnTo>
                      <a:pt x="7783" y="4461"/>
                    </a:lnTo>
                    <a:lnTo>
                      <a:pt x="7872" y="4461"/>
                    </a:lnTo>
                    <a:lnTo>
                      <a:pt x="7872" y="4534"/>
                    </a:lnTo>
                    <a:lnTo>
                      <a:pt x="7961" y="4534"/>
                    </a:lnTo>
                    <a:lnTo>
                      <a:pt x="7872" y="4534"/>
                    </a:lnTo>
                    <a:lnTo>
                      <a:pt x="7872" y="4620"/>
                    </a:lnTo>
                    <a:lnTo>
                      <a:pt x="7961" y="4620"/>
                    </a:lnTo>
                    <a:lnTo>
                      <a:pt x="7961" y="4707"/>
                    </a:lnTo>
                    <a:lnTo>
                      <a:pt x="7783" y="4707"/>
                    </a:lnTo>
                    <a:lnTo>
                      <a:pt x="7783" y="4779"/>
                    </a:lnTo>
                    <a:lnTo>
                      <a:pt x="7620" y="4779"/>
                    </a:lnTo>
                    <a:lnTo>
                      <a:pt x="7620" y="4707"/>
                    </a:lnTo>
                    <a:lnTo>
                      <a:pt x="7531" y="4707"/>
                    </a:lnTo>
                    <a:lnTo>
                      <a:pt x="7531" y="4620"/>
                    </a:lnTo>
                    <a:lnTo>
                      <a:pt x="7368" y="4620"/>
                    </a:lnTo>
                    <a:lnTo>
                      <a:pt x="7368" y="4707"/>
                    </a:lnTo>
                    <a:lnTo>
                      <a:pt x="7279" y="4707"/>
                    </a:lnTo>
                    <a:lnTo>
                      <a:pt x="7457" y="4707"/>
                    </a:lnTo>
                    <a:lnTo>
                      <a:pt x="7457" y="4779"/>
                    </a:lnTo>
                    <a:lnTo>
                      <a:pt x="7620" y="4779"/>
                    </a:lnTo>
                    <a:lnTo>
                      <a:pt x="7620" y="4866"/>
                    </a:lnTo>
                    <a:lnTo>
                      <a:pt x="7709" y="4866"/>
                    </a:lnTo>
                    <a:lnTo>
                      <a:pt x="7709" y="4952"/>
                    </a:lnTo>
                    <a:lnTo>
                      <a:pt x="7783" y="4952"/>
                    </a:lnTo>
                    <a:lnTo>
                      <a:pt x="7783" y="5039"/>
                    </a:lnTo>
                    <a:lnTo>
                      <a:pt x="7872" y="5039"/>
                    </a:lnTo>
                    <a:lnTo>
                      <a:pt x="7872" y="5111"/>
                    </a:lnTo>
                    <a:lnTo>
                      <a:pt x="7961" y="5111"/>
                    </a:lnTo>
                    <a:lnTo>
                      <a:pt x="7961" y="5039"/>
                    </a:lnTo>
                    <a:lnTo>
                      <a:pt x="8050" y="5039"/>
                    </a:lnTo>
                    <a:lnTo>
                      <a:pt x="8050" y="4952"/>
                    </a:lnTo>
                    <a:lnTo>
                      <a:pt x="7961" y="4952"/>
                    </a:lnTo>
                    <a:lnTo>
                      <a:pt x="7961" y="4866"/>
                    </a:lnTo>
                    <a:lnTo>
                      <a:pt x="7872" y="4866"/>
                    </a:lnTo>
                    <a:lnTo>
                      <a:pt x="7872" y="4779"/>
                    </a:lnTo>
                    <a:lnTo>
                      <a:pt x="7872" y="4866"/>
                    </a:lnTo>
                    <a:lnTo>
                      <a:pt x="8050" y="4866"/>
                    </a:lnTo>
                    <a:lnTo>
                      <a:pt x="8050" y="4952"/>
                    </a:lnTo>
                    <a:lnTo>
                      <a:pt x="8124" y="5039"/>
                    </a:lnTo>
                    <a:lnTo>
                      <a:pt x="8050" y="5039"/>
                    </a:lnTo>
                    <a:lnTo>
                      <a:pt x="8050" y="5111"/>
                    </a:lnTo>
                    <a:lnTo>
                      <a:pt x="7961" y="5111"/>
                    </a:lnTo>
                    <a:lnTo>
                      <a:pt x="7961" y="5284"/>
                    </a:lnTo>
                    <a:lnTo>
                      <a:pt x="8050" y="5284"/>
                    </a:lnTo>
                    <a:lnTo>
                      <a:pt x="8050" y="5198"/>
                    </a:lnTo>
                    <a:lnTo>
                      <a:pt x="8124" y="5198"/>
                    </a:lnTo>
                    <a:lnTo>
                      <a:pt x="8124" y="5357"/>
                    </a:lnTo>
                    <a:lnTo>
                      <a:pt x="8213" y="5357"/>
                    </a:lnTo>
                    <a:lnTo>
                      <a:pt x="8302" y="5443"/>
                    </a:lnTo>
                    <a:lnTo>
                      <a:pt x="8302" y="5530"/>
                    </a:lnTo>
                    <a:lnTo>
                      <a:pt x="8465" y="5530"/>
                    </a:lnTo>
                    <a:lnTo>
                      <a:pt x="8465" y="5617"/>
                    </a:lnTo>
                    <a:lnTo>
                      <a:pt x="8554" y="5689"/>
                    </a:lnTo>
                    <a:lnTo>
                      <a:pt x="8643" y="5689"/>
                    </a:lnTo>
                    <a:lnTo>
                      <a:pt x="8643" y="5617"/>
                    </a:lnTo>
                    <a:lnTo>
                      <a:pt x="8717" y="5689"/>
                    </a:lnTo>
                    <a:lnTo>
                      <a:pt x="8717" y="5775"/>
                    </a:lnTo>
                    <a:lnTo>
                      <a:pt x="8969" y="5775"/>
                    </a:lnTo>
                    <a:lnTo>
                      <a:pt x="8969" y="5689"/>
                    </a:lnTo>
                    <a:lnTo>
                      <a:pt x="8969" y="5775"/>
                    </a:lnTo>
                    <a:lnTo>
                      <a:pt x="9058" y="5775"/>
                    </a:lnTo>
                    <a:lnTo>
                      <a:pt x="9058" y="5862"/>
                    </a:lnTo>
                    <a:lnTo>
                      <a:pt x="9236" y="5862"/>
                    </a:lnTo>
                    <a:lnTo>
                      <a:pt x="9236" y="5198"/>
                    </a:lnTo>
                    <a:lnTo>
                      <a:pt x="9310" y="5198"/>
                    </a:lnTo>
                    <a:lnTo>
                      <a:pt x="9236" y="5198"/>
                    </a:lnTo>
                    <a:lnTo>
                      <a:pt x="9236" y="4952"/>
                    </a:lnTo>
                    <a:lnTo>
                      <a:pt x="9147" y="4952"/>
                    </a:lnTo>
                    <a:lnTo>
                      <a:pt x="9147" y="4375"/>
                    </a:lnTo>
                    <a:lnTo>
                      <a:pt x="9236" y="4375"/>
                    </a:lnTo>
                    <a:lnTo>
                      <a:pt x="9236" y="4534"/>
                    </a:lnTo>
                    <a:lnTo>
                      <a:pt x="9399" y="4534"/>
                    </a:lnTo>
                    <a:lnTo>
                      <a:pt x="9399" y="4620"/>
                    </a:lnTo>
                    <a:lnTo>
                      <a:pt x="9488" y="4620"/>
                    </a:lnTo>
                    <a:lnTo>
                      <a:pt x="9488" y="4707"/>
                    </a:lnTo>
                    <a:lnTo>
                      <a:pt x="10081" y="4707"/>
                    </a:lnTo>
                    <a:lnTo>
                      <a:pt x="10081" y="4620"/>
                    </a:lnTo>
                    <a:lnTo>
                      <a:pt x="10170" y="4620"/>
                    </a:lnTo>
                    <a:lnTo>
                      <a:pt x="10170" y="4707"/>
                    </a:lnTo>
                    <a:lnTo>
                      <a:pt x="10170" y="4534"/>
                    </a:lnTo>
                    <a:lnTo>
                      <a:pt x="10081" y="4534"/>
                    </a:lnTo>
                    <a:lnTo>
                      <a:pt x="10170" y="4461"/>
                    </a:lnTo>
                    <a:lnTo>
                      <a:pt x="10170" y="4375"/>
                    </a:lnTo>
                    <a:lnTo>
                      <a:pt x="10244" y="4375"/>
                    </a:lnTo>
                    <a:lnTo>
                      <a:pt x="10244" y="4288"/>
                    </a:lnTo>
                    <a:lnTo>
                      <a:pt x="10333" y="4216"/>
                    </a:lnTo>
                    <a:lnTo>
                      <a:pt x="10422" y="4216"/>
                    </a:lnTo>
                    <a:lnTo>
                      <a:pt x="10422" y="4129"/>
                    </a:lnTo>
                    <a:lnTo>
                      <a:pt x="10674" y="4129"/>
                    </a:lnTo>
                    <a:lnTo>
                      <a:pt x="10674" y="4216"/>
                    </a:lnTo>
                    <a:lnTo>
                      <a:pt x="10674" y="4129"/>
                    </a:lnTo>
                    <a:lnTo>
                      <a:pt x="10837" y="4129"/>
                    </a:lnTo>
                    <a:lnTo>
                      <a:pt x="10837" y="4216"/>
                    </a:lnTo>
                    <a:lnTo>
                      <a:pt x="11089" y="4216"/>
                    </a:lnTo>
                    <a:lnTo>
                      <a:pt x="11089" y="4288"/>
                    </a:lnTo>
                    <a:lnTo>
                      <a:pt x="11178" y="4288"/>
                    </a:lnTo>
                    <a:lnTo>
                      <a:pt x="11178" y="4216"/>
                    </a:lnTo>
                    <a:lnTo>
                      <a:pt x="11267" y="4216"/>
                    </a:lnTo>
                    <a:lnTo>
                      <a:pt x="11267" y="4288"/>
                    </a:lnTo>
                    <a:lnTo>
                      <a:pt x="11178" y="4288"/>
                    </a:lnTo>
                    <a:lnTo>
                      <a:pt x="11267" y="4288"/>
                    </a:lnTo>
                    <a:lnTo>
                      <a:pt x="11267" y="4375"/>
                    </a:lnTo>
                    <a:lnTo>
                      <a:pt x="11356" y="4375"/>
                    </a:lnTo>
                    <a:lnTo>
                      <a:pt x="11356" y="4288"/>
                    </a:lnTo>
                    <a:lnTo>
                      <a:pt x="11356" y="4375"/>
                    </a:lnTo>
                    <a:lnTo>
                      <a:pt x="11430" y="4288"/>
                    </a:lnTo>
                    <a:lnTo>
                      <a:pt x="11267" y="4288"/>
                    </a:lnTo>
                    <a:lnTo>
                      <a:pt x="11267" y="4216"/>
                    </a:lnTo>
                    <a:lnTo>
                      <a:pt x="11356" y="4216"/>
                    </a:lnTo>
                    <a:lnTo>
                      <a:pt x="11356" y="4129"/>
                    </a:lnTo>
                    <a:lnTo>
                      <a:pt x="11430" y="4129"/>
                    </a:lnTo>
                    <a:lnTo>
                      <a:pt x="11178" y="4129"/>
                    </a:lnTo>
                    <a:lnTo>
                      <a:pt x="11178" y="3797"/>
                    </a:lnTo>
                    <a:lnTo>
                      <a:pt x="11267" y="3797"/>
                    </a:lnTo>
                    <a:lnTo>
                      <a:pt x="11267" y="3711"/>
                    </a:lnTo>
                    <a:lnTo>
                      <a:pt x="11267" y="3797"/>
                    </a:lnTo>
                    <a:lnTo>
                      <a:pt x="11356" y="3797"/>
                    </a:lnTo>
                    <a:lnTo>
                      <a:pt x="11356" y="3711"/>
                    </a:lnTo>
                    <a:lnTo>
                      <a:pt x="11267" y="3711"/>
                    </a:lnTo>
                    <a:lnTo>
                      <a:pt x="11519" y="3711"/>
                    </a:lnTo>
                    <a:lnTo>
                      <a:pt x="11519" y="3797"/>
                    </a:lnTo>
                    <a:lnTo>
                      <a:pt x="11682" y="3797"/>
                    </a:lnTo>
                    <a:lnTo>
                      <a:pt x="11682" y="3711"/>
                    </a:lnTo>
                    <a:lnTo>
                      <a:pt x="11771" y="3711"/>
                    </a:lnTo>
                    <a:lnTo>
                      <a:pt x="11771" y="3639"/>
                    </a:lnTo>
                    <a:lnTo>
                      <a:pt x="11860" y="3639"/>
                    </a:lnTo>
                    <a:lnTo>
                      <a:pt x="11860" y="3552"/>
                    </a:lnTo>
                    <a:lnTo>
                      <a:pt x="11682" y="3552"/>
                    </a:lnTo>
                    <a:lnTo>
                      <a:pt x="11682" y="3465"/>
                    </a:lnTo>
                    <a:lnTo>
                      <a:pt x="11608" y="3465"/>
                    </a:lnTo>
                    <a:lnTo>
                      <a:pt x="11608" y="3306"/>
                    </a:lnTo>
                    <a:lnTo>
                      <a:pt x="11519" y="3306"/>
                    </a:lnTo>
                    <a:lnTo>
                      <a:pt x="11519" y="3220"/>
                    </a:lnTo>
                    <a:lnTo>
                      <a:pt x="11430" y="3220"/>
                    </a:lnTo>
                    <a:lnTo>
                      <a:pt x="11430" y="2974"/>
                    </a:lnTo>
                    <a:lnTo>
                      <a:pt x="11519" y="2974"/>
                    </a:lnTo>
                    <a:lnTo>
                      <a:pt x="11519" y="2888"/>
                    </a:lnTo>
                    <a:lnTo>
                      <a:pt x="11267" y="2888"/>
                    </a:lnTo>
                    <a:lnTo>
                      <a:pt x="11267" y="2974"/>
                    </a:lnTo>
                    <a:lnTo>
                      <a:pt x="11356" y="2974"/>
                    </a:lnTo>
                    <a:lnTo>
                      <a:pt x="11356" y="3061"/>
                    </a:lnTo>
                    <a:lnTo>
                      <a:pt x="11089" y="3061"/>
                    </a:lnTo>
                    <a:lnTo>
                      <a:pt x="11089" y="2729"/>
                    </a:lnTo>
                    <a:lnTo>
                      <a:pt x="11178" y="2729"/>
                    </a:lnTo>
                    <a:lnTo>
                      <a:pt x="11178" y="2642"/>
                    </a:lnTo>
                    <a:lnTo>
                      <a:pt x="11356" y="2642"/>
                    </a:lnTo>
                    <a:lnTo>
                      <a:pt x="11356" y="2556"/>
                    </a:lnTo>
                    <a:lnTo>
                      <a:pt x="11430" y="2556"/>
                    </a:lnTo>
                    <a:lnTo>
                      <a:pt x="11430" y="2483"/>
                    </a:lnTo>
                    <a:lnTo>
                      <a:pt x="11519" y="2483"/>
                    </a:lnTo>
                    <a:lnTo>
                      <a:pt x="11519" y="2224"/>
                    </a:lnTo>
                    <a:lnTo>
                      <a:pt x="11356" y="2224"/>
                    </a:lnTo>
                    <a:lnTo>
                      <a:pt x="11356" y="2151"/>
                    </a:lnTo>
                    <a:lnTo>
                      <a:pt x="11267" y="2151"/>
                    </a:lnTo>
                    <a:lnTo>
                      <a:pt x="11267" y="2065"/>
                    </a:lnTo>
                    <a:lnTo>
                      <a:pt x="11430" y="2065"/>
                    </a:lnTo>
                    <a:lnTo>
                      <a:pt x="11430" y="1978"/>
                    </a:lnTo>
                    <a:lnTo>
                      <a:pt x="11519" y="1978"/>
                    </a:lnTo>
                    <a:lnTo>
                      <a:pt x="11519" y="2065"/>
                    </a:lnTo>
                    <a:lnTo>
                      <a:pt x="11682" y="2065"/>
                    </a:lnTo>
                    <a:lnTo>
                      <a:pt x="11771" y="1978"/>
                    </a:lnTo>
                    <a:lnTo>
                      <a:pt x="11949" y="1978"/>
                    </a:lnTo>
                    <a:lnTo>
                      <a:pt x="12023" y="1906"/>
                    </a:lnTo>
                    <a:lnTo>
                      <a:pt x="12201" y="1819"/>
                    </a:lnTo>
                    <a:lnTo>
                      <a:pt x="12275" y="1819"/>
                    </a:lnTo>
                    <a:lnTo>
                      <a:pt x="12275" y="1733"/>
                    </a:lnTo>
                    <a:lnTo>
                      <a:pt x="12453" y="1733"/>
                    </a:lnTo>
                    <a:lnTo>
                      <a:pt x="12542" y="1660"/>
                    </a:lnTo>
                    <a:lnTo>
                      <a:pt x="12794" y="1660"/>
                    </a:lnTo>
                    <a:lnTo>
                      <a:pt x="12794" y="1574"/>
                    </a:lnTo>
                    <a:lnTo>
                      <a:pt x="13135" y="1574"/>
                    </a:lnTo>
                    <a:lnTo>
                      <a:pt x="13135" y="1487"/>
                    </a:lnTo>
                    <a:lnTo>
                      <a:pt x="13135" y="1574"/>
                    </a:lnTo>
                    <a:lnTo>
                      <a:pt x="13135" y="1487"/>
                    </a:lnTo>
                    <a:lnTo>
                      <a:pt x="13461" y="1487"/>
                    </a:lnTo>
                    <a:lnTo>
                      <a:pt x="13387" y="1574"/>
                    </a:lnTo>
                    <a:lnTo>
                      <a:pt x="13298" y="1574"/>
                    </a:lnTo>
                    <a:lnTo>
                      <a:pt x="13209" y="1660"/>
                    </a:lnTo>
                    <a:lnTo>
                      <a:pt x="13135" y="1660"/>
                    </a:lnTo>
                    <a:lnTo>
                      <a:pt x="13135" y="1733"/>
                    </a:lnTo>
                    <a:lnTo>
                      <a:pt x="12794" y="1733"/>
                    </a:lnTo>
                    <a:lnTo>
                      <a:pt x="12794" y="1978"/>
                    </a:lnTo>
                    <a:lnTo>
                      <a:pt x="12868" y="2065"/>
                    </a:lnTo>
                    <a:lnTo>
                      <a:pt x="12794" y="2065"/>
                    </a:lnTo>
                    <a:lnTo>
                      <a:pt x="12794" y="1978"/>
                    </a:lnTo>
                    <a:lnTo>
                      <a:pt x="12705" y="1978"/>
                    </a:lnTo>
                    <a:lnTo>
                      <a:pt x="12705" y="2151"/>
                    </a:lnTo>
                    <a:lnTo>
                      <a:pt x="12868" y="2151"/>
                    </a:lnTo>
                    <a:lnTo>
                      <a:pt x="12868" y="1978"/>
                    </a:lnTo>
                    <a:lnTo>
                      <a:pt x="12957" y="1978"/>
                    </a:lnTo>
                    <a:lnTo>
                      <a:pt x="12957" y="1906"/>
                    </a:lnTo>
                    <a:lnTo>
                      <a:pt x="13046" y="1906"/>
                    </a:lnTo>
                    <a:lnTo>
                      <a:pt x="13135" y="1819"/>
                    </a:lnTo>
                    <a:lnTo>
                      <a:pt x="13135" y="1733"/>
                    </a:lnTo>
                    <a:lnTo>
                      <a:pt x="13298" y="1660"/>
                    </a:lnTo>
                    <a:lnTo>
                      <a:pt x="13461" y="1487"/>
                    </a:lnTo>
                    <a:lnTo>
                      <a:pt x="13550" y="1487"/>
                    </a:lnTo>
                    <a:lnTo>
                      <a:pt x="13550" y="2151"/>
                    </a:lnTo>
                    <a:lnTo>
                      <a:pt x="13461" y="2065"/>
                    </a:lnTo>
                    <a:lnTo>
                      <a:pt x="13461" y="1978"/>
                    </a:lnTo>
                    <a:lnTo>
                      <a:pt x="13387" y="1978"/>
                    </a:lnTo>
                    <a:lnTo>
                      <a:pt x="13387" y="1906"/>
                    </a:lnTo>
                    <a:lnTo>
                      <a:pt x="13461" y="1978"/>
                    </a:lnTo>
                    <a:lnTo>
                      <a:pt x="13461" y="1819"/>
                    </a:lnTo>
                    <a:lnTo>
                      <a:pt x="13387" y="1819"/>
                    </a:lnTo>
                    <a:lnTo>
                      <a:pt x="13387" y="1733"/>
                    </a:lnTo>
                    <a:lnTo>
                      <a:pt x="13387" y="1819"/>
                    </a:lnTo>
                    <a:lnTo>
                      <a:pt x="13298" y="1819"/>
                    </a:lnTo>
                    <a:lnTo>
                      <a:pt x="13298" y="1733"/>
                    </a:lnTo>
                    <a:lnTo>
                      <a:pt x="13298" y="1819"/>
                    </a:lnTo>
                    <a:lnTo>
                      <a:pt x="13209" y="1819"/>
                    </a:lnTo>
                    <a:lnTo>
                      <a:pt x="13298" y="1819"/>
                    </a:lnTo>
                    <a:lnTo>
                      <a:pt x="13298" y="1906"/>
                    </a:lnTo>
                    <a:lnTo>
                      <a:pt x="13209" y="1906"/>
                    </a:lnTo>
                    <a:lnTo>
                      <a:pt x="13298" y="1906"/>
                    </a:lnTo>
                    <a:lnTo>
                      <a:pt x="13298" y="1978"/>
                    </a:lnTo>
                    <a:lnTo>
                      <a:pt x="13387" y="1978"/>
                    </a:lnTo>
                    <a:lnTo>
                      <a:pt x="13387" y="2065"/>
                    </a:lnTo>
                    <a:lnTo>
                      <a:pt x="13461" y="2065"/>
                    </a:lnTo>
                    <a:lnTo>
                      <a:pt x="13387" y="2065"/>
                    </a:lnTo>
                    <a:lnTo>
                      <a:pt x="13461" y="2151"/>
                    </a:lnTo>
                    <a:lnTo>
                      <a:pt x="13387" y="2151"/>
                    </a:lnTo>
                    <a:lnTo>
                      <a:pt x="13387" y="2224"/>
                    </a:lnTo>
                    <a:lnTo>
                      <a:pt x="13209" y="2224"/>
                    </a:lnTo>
                    <a:lnTo>
                      <a:pt x="13209" y="2310"/>
                    </a:lnTo>
                    <a:lnTo>
                      <a:pt x="13298" y="2310"/>
                    </a:lnTo>
                    <a:lnTo>
                      <a:pt x="13298" y="2483"/>
                    </a:lnTo>
                    <a:lnTo>
                      <a:pt x="13461" y="2483"/>
                    </a:lnTo>
                    <a:lnTo>
                      <a:pt x="13461" y="2310"/>
                    </a:lnTo>
                    <a:lnTo>
                      <a:pt x="13550" y="2310"/>
                    </a:lnTo>
                    <a:lnTo>
                      <a:pt x="13550" y="2224"/>
                    </a:lnTo>
                    <a:lnTo>
                      <a:pt x="13639" y="2151"/>
                    </a:lnTo>
                    <a:lnTo>
                      <a:pt x="13639" y="1906"/>
                    </a:lnTo>
                    <a:lnTo>
                      <a:pt x="13550" y="1819"/>
                    </a:lnTo>
                    <a:lnTo>
                      <a:pt x="13639" y="1819"/>
                    </a:lnTo>
                    <a:lnTo>
                      <a:pt x="13550" y="1819"/>
                    </a:lnTo>
                    <a:lnTo>
                      <a:pt x="13550" y="1487"/>
                    </a:lnTo>
                    <a:lnTo>
                      <a:pt x="13639" y="1401"/>
                    </a:lnTo>
                    <a:lnTo>
                      <a:pt x="13728" y="1401"/>
                    </a:lnTo>
                    <a:lnTo>
                      <a:pt x="13728" y="1328"/>
                    </a:lnTo>
                    <a:lnTo>
                      <a:pt x="13802" y="1328"/>
                    </a:lnTo>
                    <a:lnTo>
                      <a:pt x="13802" y="1242"/>
                    </a:lnTo>
                    <a:lnTo>
                      <a:pt x="13980" y="1242"/>
                    </a:lnTo>
                    <a:lnTo>
                      <a:pt x="13980" y="1155"/>
                    </a:lnTo>
                    <a:lnTo>
                      <a:pt x="14395" y="1155"/>
                    </a:lnTo>
                    <a:lnTo>
                      <a:pt x="14395" y="1083"/>
                    </a:lnTo>
                    <a:lnTo>
                      <a:pt x="14484" y="1083"/>
                    </a:lnTo>
                    <a:lnTo>
                      <a:pt x="14573" y="1155"/>
                    </a:lnTo>
                    <a:lnTo>
                      <a:pt x="14647" y="1155"/>
                    </a:lnTo>
                    <a:lnTo>
                      <a:pt x="14736" y="1242"/>
                    </a:lnTo>
                    <a:lnTo>
                      <a:pt x="14825" y="1242"/>
                    </a:lnTo>
                    <a:lnTo>
                      <a:pt x="14825" y="1328"/>
                    </a:lnTo>
                    <a:lnTo>
                      <a:pt x="14736" y="1328"/>
                    </a:lnTo>
                    <a:lnTo>
                      <a:pt x="14736" y="1401"/>
                    </a:lnTo>
                    <a:lnTo>
                      <a:pt x="14573" y="1401"/>
                    </a:lnTo>
                    <a:lnTo>
                      <a:pt x="14573" y="1574"/>
                    </a:lnTo>
                    <a:lnTo>
                      <a:pt x="14484" y="1574"/>
                    </a:lnTo>
                    <a:lnTo>
                      <a:pt x="14573" y="1574"/>
                    </a:lnTo>
                    <a:lnTo>
                      <a:pt x="14573" y="1660"/>
                    </a:lnTo>
                    <a:lnTo>
                      <a:pt x="14484" y="1660"/>
                    </a:lnTo>
                    <a:lnTo>
                      <a:pt x="14573" y="1660"/>
                    </a:lnTo>
                    <a:lnTo>
                      <a:pt x="14573" y="1733"/>
                    </a:lnTo>
                    <a:lnTo>
                      <a:pt x="14573" y="1660"/>
                    </a:lnTo>
                    <a:lnTo>
                      <a:pt x="14647" y="1660"/>
                    </a:lnTo>
                    <a:lnTo>
                      <a:pt x="14647" y="1574"/>
                    </a:lnTo>
                    <a:lnTo>
                      <a:pt x="14825" y="1574"/>
                    </a:lnTo>
                    <a:lnTo>
                      <a:pt x="14825" y="1487"/>
                    </a:lnTo>
                    <a:lnTo>
                      <a:pt x="14988" y="1487"/>
                    </a:lnTo>
                    <a:lnTo>
                      <a:pt x="14988" y="1574"/>
                    </a:lnTo>
                    <a:lnTo>
                      <a:pt x="15077" y="1574"/>
                    </a:lnTo>
                    <a:lnTo>
                      <a:pt x="15077" y="1660"/>
                    </a:lnTo>
                    <a:lnTo>
                      <a:pt x="15077" y="1574"/>
                    </a:lnTo>
                    <a:lnTo>
                      <a:pt x="15166" y="1487"/>
                    </a:lnTo>
                    <a:lnTo>
                      <a:pt x="15240" y="1487"/>
                    </a:lnTo>
                    <a:lnTo>
                      <a:pt x="15240" y="1660"/>
                    </a:lnTo>
                    <a:lnTo>
                      <a:pt x="15329" y="1660"/>
                    </a:lnTo>
                    <a:lnTo>
                      <a:pt x="15240" y="1660"/>
                    </a:lnTo>
                    <a:lnTo>
                      <a:pt x="15240" y="1733"/>
                    </a:lnTo>
                    <a:lnTo>
                      <a:pt x="15329" y="1733"/>
                    </a:lnTo>
                    <a:lnTo>
                      <a:pt x="15329" y="1660"/>
                    </a:lnTo>
                    <a:lnTo>
                      <a:pt x="15418" y="1660"/>
                    </a:lnTo>
                    <a:lnTo>
                      <a:pt x="15418" y="1733"/>
                    </a:lnTo>
                    <a:lnTo>
                      <a:pt x="15418" y="1487"/>
                    </a:lnTo>
                    <a:lnTo>
                      <a:pt x="15581" y="1487"/>
                    </a:lnTo>
                    <a:lnTo>
                      <a:pt x="15581" y="1401"/>
                    </a:lnTo>
                    <a:lnTo>
                      <a:pt x="15670" y="1401"/>
                    </a:lnTo>
                    <a:lnTo>
                      <a:pt x="15670" y="1487"/>
                    </a:lnTo>
                    <a:lnTo>
                      <a:pt x="15848" y="1487"/>
                    </a:lnTo>
                    <a:lnTo>
                      <a:pt x="15922" y="1574"/>
                    </a:lnTo>
                    <a:lnTo>
                      <a:pt x="16011" y="1574"/>
                    </a:lnTo>
                    <a:lnTo>
                      <a:pt x="16011" y="1660"/>
                    </a:lnTo>
                    <a:lnTo>
                      <a:pt x="15922" y="1660"/>
                    </a:lnTo>
                    <a:lnTo>
                      <a:pt x="15922" y="1733"/>
                    </a:lnTo>
                    <a:lnTo>
                      <a:pt x="15848" y="1733"/>
                    </a:lnTo>
                    <a:lnTo>
                      <a:pt x="16011" y="1733"/>
                    </a:lnTo>
                    <a:lnTo>
                      <a:pt x="16011" y="1660"/>
                    </a:lnTo>
                    <a:lnTo>
                      <a:pt x="16352" y="1660"/>
                    </a:lnTo>
                    <a:lnTo>
                      <a:pt x="16352" y="1574"/>
                    </a:lnTo>
                    <a:lnTo>
                      <a:pt x="16441" y="1574"/>
                    </a:lnTo>
                    <a:lnTo>
                      <a:pt x="16441" y="1487"/>
                    </a:lnTo>
                    <a:lnTo>
                      <a:pt x="16515" y="1487"/>
                    </a:lnTo>
                    <a:lnTo>
                      <a:pt x="16515" y="1401"/>
                    </a:lnTo>
                    <a:lnTo>
                      <a:pt x="16604" y="1401"/>
                    </a:lnTo>
                    <a:lnTo>
                      <a:pt x="16604" y="1328"/>
                    </a:lnTo>
                    <a:lnTo>
                      <a:pt x="16604" y="1401"/>
                    </a:lnTo>
                    <a:lnTo>
                      <a:pt x="16604" y="1328"/>
                    </a:lnTo>
                    <a:lnTo>
                      <a:pt x="16693" y="1242"/>
                    </a:lnTo>
                    <a:lnTo>
                      <a:pt x="16693" y="1155"/>
                    </a:lnTo>
                    <a:lnTo>
                      <a:pt x="16767" y="1155"/>
                    </a:lnTo>
                    <a:lnTo>
                      <a:pt x="16767" y="996"/>
                    </a:lnTo>
                    <a:lnTo>
                      <a:pt x="16856" y="996"/>
                    </a:lnTo>
                    <a:lnTo>
                      <a:pt x="16856" y="910"/>
                    </a:lnTo>
                    <a:lnTo>
                      <a:pt x="16945" y="910"/>
                    </a:lnTo>
                    <a:lnTo>
                      <a:pt x="16945" y="823"/>
                    </a:lnTo>
                    <a:lnTo>
                      <a:pt x="17034" y="751"/>
                    </a:lnTo>
                    <a:lnTo>
                      <a:pt x="17034" y="664"/>
                    </a:lnTo>
                    <a:lnTo>
                      <a:pt x="17108" y="664"/>
                    </a:lnTo>
                    <a:lnTo>
                      <a:pt x="17108" y="578"/>
                    </a:lnTo>
                    <a:lnTo>
                      <a:pt x="17197" y="578"/>
                    </a:lnTo>
                    <a:lnTo>
                      <a:pt x="17286" y="505"/>
                    </a:lnTo>
                    <a:lnTo>
                      <a:pt x="17360" y="505"/>
                    </a:lnTo>
                    <a:lnTo>
                      <a:pt x="17360" y="419"/>
                    </a:lnTo>
                    <a:lnTo>
                      <a:pt x="17449" y="419"/>
                    </a:lnTo>
                    <a:lnTo>
                      <a:pt x="17449" y="332"/>
                    </a:lnTo>
                    <a:lnTo>
                      <a:pt x="17538" y="332"/>
                    </a:lnTo>
                    <a:lnTo>
                      <a:pt x="17627" y="245"/>
                    </a:lnTo>
                    <a:lnTo>
                      <a:pt x="17701" y="245"/>
                    </a:lnTo>
                    <a:lnTo>
                      <a:pt x="17701" y="173"/>
                    </a:lnTo>
                    <a:lnTo>
                      <a:pt x="17879" y="173"/>
                    </a:lnTo>
                    <a:lnTo>
                      <a:pt x="17953" y="87"/>
                    </a:lnTo>
                    <a:lnTo>
                      <a:pt x="18220" y="87"/>
                    </a:lnTo>
                    <a:lnTo>
                      <a:pt x="18294" y="0"/>
                    </a:lnTo>
                    <a:lnTo>
                      <a:pt x="18383" y="0"/>
                    </a:lnTo>
                    <a:lnTo>
                      <a:pt x="18383" y="87"/>
                    </a:lnTo>
                    <a:lnTo>
                      <a:pt x="18724" y="87"/>
                    </a:lnTo>
                    <a:lnTo>
                      <a:pt x="18724" y="173"/>
                    </a:lnTo>
                    <a:lnTo>
                      <a:pt x="18813" y="173"/>
                    </a:lnTo>
                    <a:lnTo>
                      <a:pt x="18887" y="245"/>
                    </a:lnTo>
                    <a:lnTo>
                      <a:pt x="18976" y="245"/>
                    </a:lnTo>
                    <a:lnTo>
                      <a:pt x="18976" y="419"/>
                    </a:lnTo>
                    <a:lnTo>
                      <a:pt x="19065" y="419"/>
                    </a:lnTo>
                    <a:lnTo>
                      <a:pt x="19065" y="505"/>
                    </a:lnTo>
                    <a:lnTo>
                      <a:pt x="18976" y="505"/>
                    </a:lnTo>
                    <a:lnTo>
                      <a:pt x="19065" y="505"/>
                    </a:lnTo>
                    <a:lnTo>
                      <a:pt x="19065" y="578"/>
                    </a:lnTo>
                    <a:lnTo>
                      <a:pt x="19139" y="578"/>
                    </a:lnTo>
                    <a:lnTo>
                      <a:pt x="19139" y="751"/>
                    </a:lnTo>
                    <a:lnTo>
                      <a:pt x="19228" y="751"/>
                    </a:lnTo>
                    <a:lnTo>
                      <a:pt x="19228" y="823"/>
                    </a:lnTo>
                    <a:lnTo>
                      <a:pt x="19317" y="823"/>
                    </a:lnTo>
                    <a:lnTo>
                      <a:pt x="19228" y="823"/>
                    </a:lnTo>
                    <a:lnTo>
                      <a:pt x="19228" y="751"/>
                    </a:lnTo>
                    <a:lnTo>
                      <a:pt x="19480" y="751"/>
                    </a:lnTo>
                    <a:lnTo>
                      <a:pt x="19480" y="664"/>
                    </a:lnTo>
                    <a:lnTo>
                      <a:pt x="19658" y="664"/>
                    </a:lnTo>
                    <a:lnTo>
                      <a:pt x="19732" y="751"/>
                    </a:lnTo>
                    <a:lnTo>
                      <a:pt x="19732" y="578"/>
                    </a:lnTo>
                    <a:lnTo>
                      <a:pt x="19821" y="664"/>
                    </a:lnTo>
                    <a:lnTo>
                      <a:pt x="19821" y="751"/>
                    </a:lnTo>
                    <a:lnTo>
                      <a:pt x="19910" y="751"/>
                    </a:lnTo>
                    <a:lnTo>
                      <a:pt x="19910" y="823"/>
                    </a:lnTo>
                    <a:lnTo>
                      <a:pt x="19999" y="823"/>
                    </a:lnTo>
                    <a:lnTo>
                      <a:pt x="19999" y="751"/>
                    </a:lnTo>
                    <a:lnTo>
                      <a:pt x="19910" y="751"/>
                    </a:lnTo>
                    <a:lnTo>
                      <a:pt x="19910" y="578"/>
                    </a:lnTo>
                    <a:lnTo>
                      <a:pt x="19999" y="578"/>
                    </a:lnTo>
                    <a:lnTo>
                      <a:pt x="19999" y="664"/>
                    </a:lnTo>
                    <a:lnTo>
                      <a:pt x="20073" y="664"/>
                    </a:lnTo>
                    <a:lnTo>
                      <a:pt x="20073" y="751"/>
                    </a:lnTo>
                    <a:lnTo>
                      <a:pt x="20162" y="751"/>
                    </a:lnTo>
                    <a:lnTo>
                      <a:pt x="20162" y="823"/>
                    </a:lnTo>
                    <a:lnTo>
                      <a:pt x="20162" y="751"/>
                    </a:lnTo>
                    <a:lnTo>
                      <a:pt x="20073" y="751"/>
                    </a:lnTo>
                    <a:lnTo>
                      <a:pt x="20073" y="173"/>
                    </a:lnTo>
                    <a:lnTo>
                      <a:pt x="20162" y="173"/>
                    </a:lnTo>
                    <a:lnTo>
                      <a:pt x="20162" y="332"/>
                    </a:lnTo>
                    <a:lnTo>
                      <a:pt x="20325" y="332"/>
                    </a:lnTo>
                    <a:lnTo>
                      <a:pt x="20325" y="419"/>
                    </a:lnTo>
                    <a:lnTo>
                      <a:pt x="20592" y="419"/>
                    </a:lnTo>
                    <a:lnTo>
                      <a:pt x="20592" y="664"/>
                    </a:lnTo>
                    <a:lnTo>
                      <a:pt x="20844" y="664"/>
                    </a:lnTo>
                    <a:lnTo>
                      <a:pt x="20844" y="751"/>
                    </a:lnTo>
                    <a:lnTo>
                      <a:pt x="20918" y="751"/>
                    </a:lnTo>
                    <a:lnTo>
                      <a:pt x="20918" y="823"/>
                    </a:lnTo>
                    <a:lnTo>
                      <a:pt x="20844" y="823"/>
                    </a:lnTo>
                    <a:lnTo>
                      <a:pt x="20918" y="823"/>
                    </a:lnTo>
                    <a:lnTo>
                      <a:pt x="20918" y="910"/>
                    </a:lnTo>
                    <a:lnTo>
                      <a:pt x="21096" y="910"/>
                    </a:lnTo>
                    <a:lnTo>
                      <a:pt x="21096" y="1083"/>
                    </a:lnTo>
                    <a:lnTo>
                      <a:pt x="21185" y="1083"/>
                    </a:lnTo>
                    <a:lnTo>
                      <a:pt x="21185" y="1328"/>
                    </a:lnTo>
                    <a:lnTo>
                      <a:pt x="21007" y="1328"/>
                    </a:lnTo>
                    <a:lnTo>
                      <a:pt x="21007" y="1401"/>
                    </a:lnTo>
                    <a:lnTo>
                      <a:pt x="20844" y="1401"/>
                    </a:lnTo>
                    <a:lnTo>
                      <a:pt x="20844" y="1487"/>
                    </a:lnTo>
                    <a:lnTo>
                      <a:pt x="20755" y="1487"/>
                    </a:lnTo>
                    <a:lnTo>
                      <a:pt x="20755" y="1733"/>
                    </a:lnTo>
                    <a:lnTo>
                      <a:pt x="20666" y="1733"/>
                    </a:lnTo>
                    <a:lnTo>
                      <a:pt x="20666" y="1819"/>
                    </a:lnTo>
                    <a:lnTo>
                      <a:pt x="20592" y="1819"/>
                    </a:lnTo>
                    <a:lnTo>
                      <a:pt x="20592" y="1906"/>
                    </a:lnTo>
                    <a:lnTo>
                      <a:pt x="20503" y="1906"/>
                    </a:lnTo>
                    <a:lnTo>
                      <a:pt x="20503" y="1978"/>
                    </a:lnTo>
                    <a:lnTo>
                      <a:pt x="20414" y="1978"/>
                    </a:lnTo>
                    <a:lnTo>
                      <a:pt x="20414" y="2065"/>
                    </a:lnTo>
                    <a:lnTo>
                      <a:pt x="20503" y="2065"/>
                    </a:lnTo>
                    <a:lnTo>
                      <a:pt x="20414" y="2151"/>
                    </a:lnTo>
                    <a:lnTo>
                      <a:pt x="20325" y="2151"/>
                    </a:lnTo>
                    <a:lnTo>
                      <a:pt x="20325" y="2224"/>
                    </a:lnTo>
                    <a:lnTo>
                      <a:pt x="20251" y="2224"/>
                    </a:lnTo>
                    <a:lnTo>
                      <a:pt x="20325" y="2224"/>
                    </a:lnTo>
                    <a:lnTo>
                      <a:pt x="20251" y="2224"/>
                    </a:lnTo>
                    <a:lnTo>
                      <a:pt x="20251" y="2397"/>
                    </a:lnTo>
                    <a:lnTo>
                      <a:pt x="20162" y="2397"/>
                    </a:lnTo>
                    <a:lnTo>
                      <a:pt x="20162" y="2483"/>
                    </a:lnTo>
                    <a:lnTo>
                      <a:pt x="20073" y="2556"/>
                    </a:lnTo>
                    <a:lnTo>
                      <a:pt x="20073" y="2642"/>
                    </a:lnTo>
                    <a:lnTo>
                      <a:pt x="20162" y="2642"/>
                    </a:lnTo>
                    <a:lnTo>
                      <a:pt x="20162" y="2801"/>
                    </a:lnTo>
                    <a:lnTo>
                      <a:pt x="20251" y="2801"/>
                    </a:lnTo>
                    <a:lnTo>
                      <a:pt x="20251" y="2888"/>
                    </a:lnTo>
                    <a:lnTo>
                      <a:pt x="20251" y="2801"/>
                    </a:lnTo>
                    <a:lnTo>
                      <a:pt x="20325" y="2801"/>
                    </a:lnTo>
                    <a:lnTo>
                      <a:pt x="20325" y="2974"/>
                    </a:lnTo>
                    <a:lnTo>
                      <a:pt x="20251" y="2974"/>
                    </a:lnTo>
                    <a:lnTo>
                      <a:pt x="20251" y="3133"/>
                    </a:lnTo>
                    <a:lnTo>
                      <a:pt x="20325" y="3133"/>
                    </a:lnTo>
                    <a:lnTo>
                      <a:pt x="20325" y="3220"/>
                    </a:lnTo>
                    <a:lnTo>
                      <a:pt x="20414" y="3220"/>
                    </a:lnTo>
                    <a:lnTo>
                      <a:pt x="20414" y="3306"/>
                    </a:lnTo>
                    <a:lnTo>
                      <a:pt x="20503" y="3306"/>
                    </a:lnTo>
                    <a:lnTo>
                      <a:pt x="20503" y="3379"/>
                    </a:lnTo>
                    <a:lnTo>
                      <a:pt x="20844" y="3379"/>
                    </a:lnTo>
                    <a:lnTo>
                      <a:pt x="20918" y="3306"/>
                    </a:lnTo>
                    <a:lnTo>
                      <a:pt x="21007" y="3306"/>
                    </a:lnTo>
                    <a:lnTo>
                      <a:pt x="21007" y="3379"/>
                    </a:lnTo>
                    <a:lnTo>
                      <a:pt x="21096" y="3379"/>
                    </a:lnTo>
                    <a:lnTo>
                      <a:pt x="21185" y="3465"/>
                    </a:lnTo>
                    <a:lnTo>
                      <a:pt x="21259" y="3465"/>
                    </a:lnTo>
                    <a:lnTo>
                      <a:pt x="21259" y="3797"/>
                    </a:lnTo>
                    <a:lnTo>
                      <a:pt x="21348" y="3797"/>
                    </a:lnTo>
                    <a:lnTo>
                      <a:pt x="21348" y="3956"/>
                    </a:lnTo>
                    <a:lnTo>
                      <a:pt x="21437" y="3956"/>
                    </a:lnTo>
                    <a:lnTo>
                      <a:pt x="21437" y="4043"/>
                    </a:lnTo>
                    <a:lnTo>
                      <a:pt x="21511" y="4043"/>
                    </a:lnTo>
                    <a:lnTo>
                      <a:pt x="21437" y="4043"/>
                    </a:lnTo>
                    <a:lnTo>
                      <a:pt x="21437" y="4129"/>
                    </a:lnTo>
                    <a:lnTo>
                      <a:pt x="21600" y="4129"/>
                    </a:lnTo>
                    <a:lnTo>
                      <a:pt x="21600" y="4216"/>
                    </a:lnTo>
                    <a:lnTo>
                      <a:pt x="21437" y="4216"/>
                    </a:lnTo>
                    <a:lnTo>
                      <a:pt x="21437" y="4288"/>
                    </a:lnTo>
                    <a:lnTo>
                      <a:pt x="21348" y="4375"/>
                    </a:lnTo>
                    <a:lnTo>
                      <a:pt x="21348" y="4707"/>
                    </a:lnTo>
                    <a:lnTo>
                      <a:pt x="21185" y="4707"/>
                    </a:lnTo>
                    <a:lnTo>
                      <a:pt x="21185" y="4620"/>
                    </a:lnTo>
                    <a:lnTo>
                      <a:pt x="20918" y="4620"/>
                    </a:lnTo>
                    <a:lnTo>
                      <a:pt x="20918" y="4779"/>
                    </a:lnTo>
                    <a:lnTo>
                      <a:pt x="20844" y="4779"/>
                    </a:lnTo>
                    <a:lnTo>
                      <a:pt x="20844" y="4866"/>
                    </a:lnTo>
                    <a:lnTo>
                      <a:pt x="20592" y="4866"/>
                    </a:lnTo>
                    <a:lnTo>
                      <a:pt x="20592" y="4952"/>
                    </a:lnTo>
                    <a:lnTo>
                      <a:pt x="20503" y="4952"/>
                    </a:lnTo>
                    <a:lnTo>
                      <a:pt x="20503" y="5039"/>
                    </a:lnTo>
                    <a:lnTo>
                      <a:pt x="20414" y="5039"/>
                    </a:lnTo>
                    <a:lnTo>
                      <a:pt x="20325" y="5111"/>
                    </a:lnTo>
                    <a:lnTo>
                      <a:pt x="20414" y="5111"/>
                    </a:lnTo>
                    <a:lnTo>
                      <a:pt x="20251" y="5111"/>
                    </a:lnTo>
                    <a:lnTo>
                      <a:pt x="20251" y="5198"/>
                    </a:lnTo>
                    <a:lnTo>
                      <a:pt x="20162" y="5198"/>
                    </a:lnTo>
                    <a:lnTo>
                      <a:pt x="20162" y="5111"/>
                    </a:lnTo>
                    <a:lnTo>
                      <a:pt x="20162" y="5357"/>
                    </a:lnTo>
                    <a:lnTo>
                      <a:pt x="20251" y="5357"/>
                    </a:lnTo>
                    <a:lnTo>
                      <a:pt x="20251" y="5443"/>
                    </a:lnTo>
                    <a:lnTo>
                      <a:pt x="20325" y="5443"/>
                    </a:lnTo>
                    <a:lnTo>
                      <a:pt x="20325" y="5689"/>
                    </a:lnTo>
                    <a:lnTo>
                      <a:pt x="20251" y="5689"/>
                    </a:lnTo>
                    <a:lnTo>
                      <a:pt x="20251" y="5617"/>
                    </a:lnTo>
                    <a:lnTo>
                      <a:pt x="20162" y="5617"/>
                    </a:lnTo>
                    <a:lnTo>
                      <a:pt x="20162" y="5689"/>
                    </a:lnTo>
                    <a:lnTo>
                      <a:pt x="20073" y="5689"/>
                    </a:lnTo>
                    <a:lnTo>
                      <a:pt x="20073" y="5862"/>
                    </a:lnTo>
                    <a:lnTo>
                      <a:pt x="20162" y="5862"/>
                    </a:lnTo>
                    <a:lnTo>
                      <a:pt x="20162" y="5934"/>
                    </a:lnTo>
                    <a:lnTo>
                      <a:pt x="20251" y="6021"/>
                    </a:lnTo>
                    <a:lnTo>
                      <a:pt x="20251" y="6107"/>
                    </a:lnTo>
                    <a:lnTo>
                      <a:pt x="20325" y="6107"/>
                    </a:lnTo>
                    <a:lnTo>
                      <a:pt x="20414" y="6194"/>
                    </a:lnTo>
                    <a:lnTo>
                      <a:pt x="20325" y="6194"/>
                    </a:lnTo>
                    <a:lnTo>
                      <a:pt x="20325" y="6353"/>
                    </a:lnTo>
                    <a:lnTo>
                      <a:pt x="20251" y="6353"/>
                    </a:lnTo>
                    <a:lnTo>
                      <a:pt x="20251" y="6512"/>
                    </a:lnTo>
                    <a:lnTo>
                      <a:pt x="20162" y="6512"/>
                    </a:lnTo>
                    <a:lnTo>
                      <a:pt x="20162" y="6598"/>
                    </a:lnTo>
                    <a:lnTo>
                      <a:pt x="20251" y="6598"/>
                    </a:lnTo>
                    <a:lnTo>
                      <a:pt x="20251" y="6772"/>
                    </a:lnTo>
                    <a:lnTo>
                      <a:pt x="20325" y="6772"/>
                    </a:lnTo>
                    <a:lnTo>
                      <a:pt x="20325" y="6844"/>
                    </a:lnTo>
                    <a:lnTo>
                      <a:pt x="20414" y="6844"/>
                    </a:lnTo>
                    <a:lnTo>
                      <a:pt x="20414" y="6930"/>
                    </a:lnTo>
                    <a:lnTo>
                      <a:pt x="20414" y="6844"/>
                    </a:lnTo>
                    <a:lnTo>
                      <a:pt x="20503" y="6844"/>
                    </a:lnTo>
                    <a:lnTo>
                      <a:pt x="20592" y="6930"/>
                    </a:lnTo>
                    <a:lnTo>
                      <a:pt x="20592" y="7176"/>
                    </a:lnTo>
                    <a:lnTo>
                      <a:pt x="20503" y="7176"/>
                    </a:lnTo>
                    <a:lnTo>
                      <a:pt x="20592" y="7176"/>
                    </a:lnTo>
                    <a:lnTo>
                      <a:pt x="20592" y="7263"/>
                    </a:lnTo>
                    <a:lnTo>
                      <a:pt x="20666" y="7263"/>
                    </a:lnTo>
                    <a:lnTo>
                      <a:pt x="20592" y="7335"/>
                    </a:lnTo>
                    <a:lnTo>
                      <a:pt x="20592" y="7421"/>
                    </a:lnTo>
                    <a:lnTo>
                      <a:pt x="20503" y="7421"/>
                    </a:lnTo>
                    <a:lnTo>
                      <a:pt x="20503" y="7335"/>
                    </a:lnTo>
                    <a:lnTo>
                      <a:pt x="20325" y="7335"/>
                    </a:lnTo>
                    <a:lnTo>
                      <a:pt x="20325" y="7508"/>
                    </a:lnTo>
                    <a:lnTo>
                      <a:pt x="20251" y="7508"/>
                    </a:lnTo>
                    <a:lnTo>
                      <a:pt x="20325" y="7595"/>
                    </a:lnTo>
                    <a:lnTo>
                      <a:pt x="20325" y="7667"/>
                    </a:lnTo>
                    <a:lnTo>
                      <a:pt x="20251" y="7667"/>
                    </a:lnTo>
                    <a:lnTo>
                      <a:pt x="20251" y="7595"/>
                    </a:lnTo>
                    <a:lnTo>
                      <a:pt x="20251" y="7667"/>
                    </a:lnTo>
                    <a:lnTo>
                      <a:pt x="20162" y="7667"/>
                    </a:lnTo>
                    <a:lnTo>
                      <a:pt x="20162" y="7753"/>
                    </a:lnTo>
                    <a:lnTo>
                      <a:pt x="20073" y="7753"/>
                    </a:lnTo>
                    <a:lnTo>
                      <a:pt x="19999" y="7840"/>
                    </a:lnTo>
                    <a:lnTo>
                      <a:pt x="20073" y="7912"/>
                    </a:lnTo>
                    <a:lnTo>
                      <a:pt x="20073" y="7999"/>
                    </a:lnTo>
                    <a:lnTo>
                      <a:pt x="19910" y="7999"/>
                    </a:lnTo>
                    <a:lnTo>
                      <a:pt x="19910" y="8086"/>
                    </a:lnTo>
                    <a:lnTo>
                      <a:pt x="19910" y="7999"/>
                    </a:lnTo>
                    <a:lnTo>
                      <a:pt x="19732" y="7999"/>
                    </a:lnTo>
                    <a:lnTo>
                      <a:pt x="19732" y="7840"/>
                    </a:lnTo>
                    <a:lnTo>
                      <a:pt x="19569" y="7840"/>
                    </a:lnTo>
                    <a:lnTo>
                      <a:pt x="19569" y="7912"/>
                    </a:lnTo>
                    <a:lnTo>
                      <a:pt x="19480" y="7912"/>
                    </a:lnTo>
                    <a:lnTo>
                      <a:pt x="19480" y="8086"/>
                    </a:lnTo>
                    <a:lnTo>
                      <a:pt x="19406" y="8086"/>
                    </a:lnTo>
                    <a:lnTo>
                      <a:pt x="19406" y="8172"/>
                    </a:lnTo>
                    <a:lnTo>
                      <a:pt x="19480" y="8172"/>
                    </a:lnTo>
                    <a:lnTo>
                      <a:pt x="19317" y="8172"/>
                    </a:lnTo>
                    <a:lnTo>
                      <a:pt x="19317" y="8244"/>
                    </a:lnTo>
                    <a:lnTo>
                      <a:pt x="18976" y="8244"/>
                    </a:lnTo>
                    <a:lnTo>
                      <a:pt x="18976" y="8490"/>
                    </a:lnTo>
                    <a:lnTo>
                      <a:pt x="19139" y="8490"/>
                    </a:lnTo>
                    <a:lnTo>
                      <a:pt x="19139" y="8750"/>
                    </a:lnTo>
                    <a:lnTo>
                      <a:pt x="19228" y="8750"/>
                    </a:lnTo>
                    <a:lnTo>
                      <a:pt x="19228" y="8909"/>
                    </a:lnTo>
                    <a:lnTo>
                      <a:pt x="19065" y="8909"/>
                    </a:lnTo>
                    <a:lnTo>
                      <a:pt x="18976" y="8822"/>
                    </a:lnTo>
                    <a:lnTo>
                      <a:pt x="18976" y="8750"/>
                    </a:lnTo>
                    <a:lnTo>
                      <a:pt x="18887" y="8822"/>
                    </a:lnTo>
                    <a:lnTo>
                      <a:pt x="18887" y="8995"/>
                    </a:lnTo>
                    <a:lnTo>
                      <a:pt x="18546" y="8995"/>
                    </a:lnTo>
                    <a:lnTo>
                      <a:pt x="18546" y="9067"/>
                    </a:lnTo>
                    <a:lnTo>
                      <a:pt x="18472" y="9067"/>
                    </a:lnTo>
                    <a:lnTo>
                      <a:pt x="18472" y="9486"/>
                    </a:lnTo>
                    <a:lnTo>
                      <a:pt x="18383" y="9486"/>
                    </a:lnTo>
                    <a:lnTo>
                      <a:pt x="18383" y="9573"/>
                    </a:lnTo>
                    <a:lnTo>
                      <a:pt x="18294" y="9645"/>
                    </a:lnTo>
                    <a:lnTo>
                      <a:pt x="18383" y="9645"/>
                    </a:lnTo>
                    <a:lnTo>
                      <a:pt x="18472" y="9732"/>
                    </a:lnTo>
                    <a:lnTo>
                      <a:pt x="18472" y="9977"/>
                    </a:lnTo>
                    <a:lnTo>
                      <a:pt x="18546" y="9977"/>
                    </a:lnTo>
                    <a:lnTo>
                      <a:pt x="18546" y="10222"/>
                    </a:lnTo>
                    <a:lnTo>
                      <a:pt x="18635" y="10309"/>
                    </a:lnTo>
                    <a:lnTo>
                      <a:pt x="18635" y="10396"/>
                    </a:lnTo>
                    <a:lnTo>
                      <a:pt x="18724" y="10396"/>
                    </a:lnTo>
                    <a:lnTo>
                      <a:pt x="18724" y="10468"/>
                    </a:lnTo>
                    <a:lnTo>
                      <a:pt x="18813" y="10468"/>
                    </a:lnTo>
                    <a:lnTo>
                      <a:pt x="18813" y="10641"/>
                    </a:lnTo>
                    <a:lnTo>
                      <a:pt x="18887" y="10641"/>
                    </a:lnTo>
                    <a:lnTo>
                      <a:pt x="18887" y="10728"/>
                    </a:lnTo>
                    <a:lnTo>
                      <a:pt x="19065" y="10728"/>
                    </a:lnTo>
                    <a:lnTo>
                      <a:pt x="19065" y="108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/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35" name="Shape 2960"/>
              <p:cNvSpPr/>
              <p:nvPr/>
            </p:nvSpPr>
            <p:spPr>
              <a:xfrm>
                <a:off x="12339432" y="5683464"/>
                <a:ext cx="264302" cy="18919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1212"/>
                    </a:moveTo>
                    <a:lnTo>
                      <a:pt x="0" y="9398"/>
                    </a:lnTo>
                    <a:lnTo>
                      <a:pt x="1298" y="9398"/>
                    </a:lnTo>
                    <a:lnTo>
                      <a:pt x="1298" y="8409"/>
                    </a:lnTo>
                    <a:lnTo>
                      <a:pt x="708" y="8409"/>
                    </a:lnTo>
                    <a:lnTo>
                      <a:pt x="1298" y="8409"/>
                    </a:lnTo>
                    <a:lnTo>
                      <a:pt x="1298" y="5606"/>
                    </a:lnTo>
                    <a:lnTo>
                      <a:pt x="2007" y="5606"/>
                    </a:lnTo>
                    <a:lnTo>
                      <a:pt x="2007" y="4617"/>
                    </a:lnTo>
                    <a:lnTo>
                      <a:pt x="2007" y="5606"/>
                    </a:lnTo>
                    <a:lnTo>
                      <a:pt x="2715" y="5606"/>
                    </a:lnTo>
                    <a:lnTo>
                      <a:pt x="2715" y="4617"/>
                    </a:lnTo>
                    <a:lnTo>
                      <a:pt x="3305" y="4617"/>
                    </a:lnTo>
                    <a:lnTo>
                      <a:pt x="3305" y="3627"/>
                    </a:lnTo>
                    <a:lnTo>
                      <a:pt x="4013" y="3627"/>
                    </a:lnTo>
                    <a:lnTo>
                      <a:pt x="4013" y="2803"/>
                    </a:lnTo>
                    <a:lnTo>
                      <a:pt x="4721" y="2803"/>
                    </a:lnTo>
                    <a:lnTo>
                      <a:pt x="4721" y="3627"/>
                    </a:lnTo>
                    <a:lnTo>
                      <a:pt x="5430" y="3627"/>
                    </a:lnTo>
                    <a:lnTo>
                      <a:pt x="4721" y="2803"/>
                    </a:lnTo>
                    <a:lnTo>
                      <a:pt x="4721" y="824"/>
                    </a:lnTo>
                    <a:lnTo>
                      <a:pt x="5430" y="0"/>
                    </a:lnTo>
                    <a:lnTo>
                      <a:pt x="5430" y="824"/>
                    </a:lnTo>
                    <a:lnTo>
                      <a:pt x="6728" y="824"/>
                    </a:lnTo>
                    <a:lnTo>
                      <a:pt x="6728" y="1814"/>
                    </a:lnTo>
                    <a:lnTo>
                      <a:pt x="7436" y="1814"/>
                    </a:lnTo>
                    <a:lnTo>
                      <a:pt x="7436" y="824"/>
                    </a:lnTo>
                    <a:lnTo>
                      <a:pt x="8026" y="824"/>
                    </a:lnTo>
                    <a:lnTo>
                      <a:pt x="8026" y="0"/>
                    </a:lnTo>
                    <a:lnTo>
                      <a:pt x="8734" y="0"/>
                    </a:lnTo>
                    <a:lnTo>
                      <a:pt x="8734" y="824"/>
                    </a:lnTo>
                    <a:lnTo>
                      <a:pt x="10741" y="824"/>
                    </a:lnTo>
                    <a:lnTo>
                      <a:pt x="10741" y="0"/>
                    </a:lnTo>
                    <a:lnTo>
                      <a:pt x="11449" y="824"/>
                    </a:lnTo>
                    <a:lnTo>
                      <a:pt x="11449" y="1814"/>
                    </a:lnTo>
                    <a:lnTo>
                      <a:pt x="12157" y="1814"/>
                    </a:lnTo>
                    <a:lnTo>
                      <a:pt x="12157" y="2803"/>
                    </a:lnTo>
                    <a:lnTo>
                      <a:pt x="12748" y="2803"/>
                    </a:lnTo>
                    <a:lnTo>
                      <a:pt x="12748" y="3627"/>
                    </a:lnTo>
                    <a:lnTo>
                      <a:pt x="16170" y="3627"/>
                    </a:lnTo>
                    <a:lnTo>
                      <a:pt x="16879" y="2803"/>
                    </a:lnTo>
                    <a:lnTo>
                      <a:pt x="17469" y="2803"/>
                    </a:lnTo>
                    <a:lnTo>
                      <a:pt x="17469" y="1814"/>
                    </a:lnTo>
                    <a:lnTo>
                      <a:pt x="18177" y="1814"/>
                    </a:lnTo>
                    <a:lnTo>
                      <a:pt x="18177" y="824"/>
                    </a:lnTo>
                    <a:lnTo>
                      <a:pt x="18885" y="824"/>
                    </a:lnTo>
                    <a:lnTo>
                      <a:pt x="18885" y="1814"/>
                    </a:lnTo>
                    <a:lnTo>
                      <a:pt x="19593" y="1814"/>
                    </a:lnTo>
                    <a:lnTo>
                      <a:pt x="19593" y="824"/>
                    </a:lnTo>
                    <a:lnTo>
                      <a:pt x="19593" y="1814"/>
                    </a:lnTo>
                    <a:lnTo>
                      <a:pt x="20184" y="1814"/>
                    </a:lnTo>
                    <a:lnTo>
                      <a:pt x="20184" y="824"/>
                    </a:lnTo>
                    <a:lnTo>
                      <a:pt x="21600" y="824"/>
                    </a:lnTo>
                    <a:lnTo>
                      <a:pt x="21600" y="2803"/>
                    </a:lnTo>
                    <a:lnTo>
                      <a:pt x="20892" y="2803"/>
                    </a:lnTo>
                    <a:lnTo>
                      <a:pt x="20892" y="3627"/>
                    </a:lnTo>
                    <a:lnTo>
                      <a:pt x="19593" y="3627"/>
                    </a:lnTo>
                    <a:lnTo>
                      <a:pt x="19593" y="4617"/>
                    </a:lnTo>
                    <a:lnTo>
                      <a:pt x="18885" y="4617"/>
                    </a:lnTo>
                    <a:lnTo>
                      <a:pt x="18177" y="5606"/>
                    </a:lnTo>
                    <a:lnTo>
                      <a:pt x="17469" y="5606"/>
                    </a:lnTo>
                    <a:lnTo>
                      <a:pt x="17469" y="7420"/>
                    </a:lnTo>
                    <a:lnTo>
                      <a:pt x="16879" y="7420"/>
                    </a:lnTo>
                    <a:lnTo>
                      <a:pt x="16879" y="8409"/>
                    </a:lnTo>
                    <a:lnTo>
                      <a:pt x="16170" y="8409"/>
                    </a:lnTo>
                    <a:lnTo>
                      <a:pt x="16170" y="10223"/>
                    </a:lnTo>
                    <a:lnTo>
                      <a:pt x="14872" y="10223"/>
                    </a:lnTo>
                    <a:lnTo>
                      <a:pt x="14872" y="11212"/>
                    </a:lnTo>
                    <a:lnTo>
                      <a:pt x="14164" y="11212"/>
                    </a:lnTo>
                    <a:lnTo>
                      <a:pt x="14164" y="12202"/>
                    </a:lnTo>
                    <a:lnTo>
                      <a:pt x="13456" y="12202"/>
                    </a:lnTo>
                    <a:lnTo>
                      <a:pt x="13456" y="14015"/>
                    </a:lnTo>
                    <a:lnTo>
                      <a:pt x="12748" y="14015"/>
                    </a:lnTo>
                    <a:lnTo>
                      <a:pt x="12748" y="16818"/>
                    </a:lnTo>
                    <a:lnTo>
                      <a:pt x="11449" y="16818"/>
                    </a:lnTo>
                    <a:lnTo>
                      <a:pt x="11449" y="17808"/>
                    </a:lnTo>
                    <a:lnTo>
                      <a:pt x="10741" y="17808"/>
                    </a:lnTo>
                    <a:lnTo>
                      <a:pt x="10741" y="18797"/>
                    </a:lnTo>
                    <a:lnTo>
                      <a:pt x="10151" y="18797"/>
                    </a:lnTo>
                    <a:lnTo>
                      <a:pt x="10151" y="19786"/>
                    </a:lnTo>
                    <a:lnTo>
                      <a:pt x="8734" y="19786"/>
                    </a:lnTo>
                    <a:lnTo>
                      <a:pt x="8734" y="20611"/>
                    </a:lnTo>
                    <a:lnTo>
                      <a:pt x="8026" y="20611"/>
                    </a:lnTo>
                    <a:lnTo>
                      <a:pt x="7436" y="19786"/>
                    </a:lnTo>
                    <a:lnTo>
                      <a:pt x="7436" y="20611"/>
                    </a:lnTo>
                    <a:lnTo>
                      <a:pt x="6020" y="20611"/>
                    </a:lnTo>
                    <a:lnTo>
                      <a:pt x="6020" y="21600"/>
                    </a:lnTo>
                    <a:lnTo>
                      <a:pt x="4721" y="21600"/>
                    </a:lnTo>
                    <a:lnTo>
                      <a:pt x="4721" y="20611"/>
                    </a:lnTo>
                    <a:lnTo>
                      <a:pt x="4013" y="20611"/>
                    </a:lnTo>
                    <a:lnTo>
                      <a:pt x="4013" y="19786"/>
                    </a:lnTo>
                    <a:lnTo>
                      <a:pt x="2715" y="19786"/>
                    </a:lnTo>
                    <a:lnTo>
                      <a:pt x="2715" y="18797"/>
                    </a:lnTo>
                    <a:lnTo>
                      <a:pt x="2007" y="18797"/>
                    </a:lnTo>
                    <a:lnTo>
                      <a:pt x="2715" y="18797"/>
                    </a:lnTo>
                    <a:lnTo>
                      <a:pt x="2715" y="15994"/>
                    </a:lnTo>
                    <a:lnTo>
                      <a:pt x="2007" y="15994"/>
                    </a:lnTo>
                    <a:lnTo>
                      <a:pt x="2007" y="15005"/>
                    </a:lnTo>
                    <a:lnTo>
                      <a:pt x="708" y="15005"/>
                    </a:lnTo>
                    <a:lnTo>
                      <a:pt x="708" y="14015"/>
                    </a:lnTo>
                    <a:lnTo>
                      <a:pt x="0" y="14015"/>
                    </a:lnTo>
                    <a:lnTo>
                      <a:pt x="0" y="1121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36" name="Shape 2961"/>
              <p:cNvSpPr/>
              <p:nvPr/>
            </p:nvSpPr>
            <p:spPr>
              <a:xfrm>
                <a:off x="10919720" y="5130310"/>
                <a:ext cx="775571" cy="9893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263" y="17816"/>
                    </a:moveTo>
                    <a:lnTo>
                      <a:pt x="11464" y="17816"/>
                    </a:lnTo>
                    <a:lnTo>
                      <a:pt x="11464" y="17658"/>
                    </a:lnTo>
                    <a:lnTo>
                      <a:pt x="11946" y="17658"/>
                    </a:lnTo>
                    <a:lnTo>
                      <a:pt x="11946" y="17469"/>
                    </a:lnTo>
                    <a:lnTo>
                      <a:pt x="12389" y="17469"/>
                    </a:lnTo>
                    <a:lnTo>
                      <a:pt x="12389" y="17280"/>
                    </a:lnTo>
                    <a:lnTo>
                      <a:pt x="13073" y="17280"/>
                    </a:lnTo>
                    <a:lnTo>
                      <a:pt x="13073" y="16933"/>
                    </a:lnTo>
                    <a:lnTo>
                      <a:pt x="13314" y="16933"/>
                    </a:lnTo>
                    <a:lnTo>
                      <a:pt x="13314" y="17122"/>
                    </a:lnTo>
                    <a:lnTo>
                      <a:pt x="13314" y="16744"/>
                    </a:lnTo>
                    <a:lnTo>
                      <a:pt x="13073" y="16744"/>
                    </a:lnTo>
                    <a:lnTo>
                      <a:pt x="13073" y="16555"/>
                    </a:lnTo>
                    <a:lnTo>
                      <a:pt x="12872" y="16555"/>
                    </a:lnTo>
                    <a:lnTo>
                      <a:pt x="12872" y="16744"/>
                    </a:lnTo>
                    <a:lnTo>
                      <a:pt x="12389" y="16744"/>
                    </a:lnTo>
                    <a:lnTo>
                      <a:pt x="12389" y="16208"/>
                    </a:lnTo>
                    <a:lnTo>
                      <a:pt x="12630" y="16208"/>
                    </a:lnTo>
                    <a:lnTo>
                      <a:pt x="12630" y="16397"/>
                    </a:lnTo>
                    <a:lnTo>
                      <a:pt x="12872" y="16397"/>
                    </a:lnTo>
                    <a:lnTo>
                      <a:pt x="12872" y="16208"/>
                    </a:lnTo>
                    <a:lnTo>
                      <a:pt x="13073" y="16019"/>
                    </a:lnTo>
                    <a:lnTo>
                      <a:pt x="13073" y="15861"/>
                    </a:lnTo>
                    <a:lnTo>
                      <a:pt x="13314" y="15861"/>
                    </a:lnTo>
                    <a:lnTo>
                      <a:pt x="13314" y="15672"/>
                    </a:lnTo>
                    <a:lnTo>
                      <a:pt x="13073" y="15672"/>
                    </a:lnTo>
                    <a:lnTo>
                      <a:pt x="13073" y="15483"/>
                    </a:lnTo>
                    <a:lnTo>
                      <a:pt x="12872" y="15483"/>
                    </a:lnTo>
                    <a:lnTo>
                      <a:pt x="12872" y="15293"/>
                    </a:lnTo>
                    <a:lnTo>
                      <a:pt x="12630" y="15293"/>
                    </a:lnTo>
                    <a:lnTo>
                      <a:pt x="12630" y="15136"/>
                    </a:lnTo>
                    <a:lnTo>
                      <a:pt x="12389" y="15136"/>
                    </a:lnTo>
                    <a:lnTo>
                      <a:pt x="12389" y="15293"/>
                    </a:lnTo>
                    <a:lnTo>
                      <a:pt x="12389" y="15136"/>
                    </a:lnTo>
                    <a:lnTo>
                      <a:pt x="11705" y="15136"/>
                    </a:lnTo>
                    <a:lnTo>
                      <a:pt x="11705" y="14947"/>
                    </a:lnTo>
                    <a:lnTo>
                      <a:pt x="11705" y="15136"/>
                    </a:lnTo>
                    <a:lnTo>
                      <a:pt x="11263" y="15136"/>
                    </a:lnTo>
                    <a:lnTo>
                      <a:pt x="11263" y="15293"/>
                    </a:lnTo>
                    <a:lnTo>
                      <a:pt x="11021" y="15293"/>
                    </a:lnTo>
                    <a:lnTo>
                      <a:pt x="11021" y="15672"/>
                    </a:lnTo>
                    <a:lnTo>
                      <a:pt x="10780" y="15672"/>
                    </a:lnTo>
                    <a:lnTo>
                      <a:pt x="10780" y="16019"/>
                    </a:lnTo>
                    <a:lnTo>
                      <a:pt x="10579" y="16019"/>
                    </a:lnTo>
                    <a:lnTo>
                      <a:pt x="10579" y="16208"/>
                    </a:lnTo>
                    <a:lnTo>
                      <a:pt x="10579" y="16019"/>
                    </a:lnTo>
                    <a:lnTo>
                      <a:pt x="10337" y="16019"/>
                    </a:lnTo>
                    <a:lnTo>
                      <a:pt x="10337" y="15861"/>
                    </a:lnTo>
                    <a:lnTo>
                      <a:pt x="10337" y="16019"/>
                    </a:lnTo>
                    <a:lnTo>
                      <a:pt x="10096" y="16019"/>
                    </a:lnTo>
                    <a:lnTo>
                      <a:pt x="10096" y="15861"/>
                    </a:lnTo>
                    <a:lnTo>
                      <a:pt x="10096" y="16019"/>
                    </a:lnTo>
                    <a:lnTo>
                      <a:pt x="9855" y="16019"/>
                    </a:lnTo>
                    <a:lnTo>
                      <a:pt x="9855" y="16208"/>
                    </a:lnTo>
                    <a:lnTo>
                      <a:pt x="9654" y="16208"/>
                    </a:lnTo>
                    <a:lnTo>
                      <a:pt x="9654" y="16397"/>
                    </a:lnTo>
                    <a:lnTo>
                      <a:pt x="9855" y="16397"/>
                    </a:lnTo>
                    <a:lnTo>
                      <a:pt x="9855" y="16744"/>
                    </a:lnTo>
                    <a:lnTo>
                      <a:pt x="9412" y="16744"/>
                    </a:lnTo>
                    <a:lnTo>
                      <a:pt x="9412" y="16555"/>
                    </a:lnTo>
                    <a:lnTo>
                      <a:pt x="9171" y="16555"/>
                    </a:lnTo>
                    <a:lnTo>
                      <a:pt x="9171" y="16744"/>
                    </a:lnTo>
                    <a:lnTo>
                      <a:pt x="8970" y="16744"/>
                    </a:lnTo>
                    <a:lnTo>
                      <a:pt x="8970" y="16933"/>
                    </a:lnTo>
                    <a:lnTo>
                      <a:pt x="8728" y="16933"/>
                    </a:lnTo>
                    <a:lnTo>
                      <a:pt x="8728" y="17122"/>
                    </a:lnTo>
                    <a:lnTo>
                      <a:pt x="8246" y="17122"/>
                    </a:lnTo>
                    <a:lnTo>
                      <a:pt x="8246" y="16744"/>
                    </a:lnTo>
                    <a:lnTo>
                      <a:pt x="8045" y="16744"/>
                    </a:lnTo>
                    <a:lnTo>
                      <a:pt x="8045" y="16933"/>
                    </a:lnTo>
                    <a:lnTo>
                      <a:pt x="8045" y="16744"/>
                    </a:lnTo>
                    <a:lnTo>
                      <a:pt x="7803" y="16744"/>
                    </a:lnTo>
                    <a:lnTo>
                      <a:pt x="7803" y="17122"/>
                    </a:lnTo>
                    <a:lnTo>
                      <a:pt x="7562" y="17122"/>
                    </a:lnTo>
                    <a:lnTo>
                      <a:pt x="7562" y="17658"/>
                    </a:lnTo>
                    <a:lnTo>
                      <a:pt x="8246" y="17658"/>
                    </a:lnTo>
                    <a:lnTo>
                      <a:pt x="8246" y="18005"/>
                    </a:lnTo>
                    <a:lnTo>
                      <a:pt x="8728" y="18005"/>
                    </a:lnTo>
                    <a:lnTo>
                      <a:pt x="8728" y="17816"/>
                    </a:lnTo>
                    <a:lnTo>
                      <a:pt x="8728" y="18005"/>
                    </a:lnTo>
                    <a:lnTo>
                      <a:pt x="8970" y="18005"/>
                    </a:lnTo>
                    <a:lnTo>
                      <a:pt x="8970" y="17816"/>
                    </a:lnTo>
                    <a:lnTo>
                      <a:pt x="9171" y="17816"/>
                    </a:lnTo>
                    <a:lnTo>
                      <a:pt x="9171" y="18005"/>
                    </a:lnTo>
                    <a:lnTo>
                      <a:pt x="9412" y="18005"/>
                    </a:lnTo>
                    <a:lnTo>
                      <a:pt x="9412" y="18194"/>
                    </a:lnTo>
                    <a:lnTo>
                      <a:pt x="9654" y="18194"/>
                    </a:lnTo>
                    <a:lnTo>
                      <a:pt x="9654" y="18005"/>
                    </a:lnTo>
                    <a:lnTo>
                      <a:pt x="9855" y="18005"/>
                    </a:lnTo>
                    <a:lnTo>
                      <a:pt x="9855" y="17816"/>
                    </a:lnTo>
                    <a:lnTo>
                      <a:pt x="10337" y="17816"/>
                    </a:lnTo>
                    <a:lnTo>
                      <a:pt x="10337" y="18005"/>
                    </a:lnTo>
                    <a:lnTo>
                      <a:pt x="10579" y="18005"/>
                    </a:lnTo>
                    <a:lnTo>
                      <a:pt x="10579" y="17816"/>
                    </a:lnTo>
                    <a:lnTo>
                      <a:pt x="11263" y="17816"/>
                    </a:lnTo>
                    <a:close/>
                    <a:moveTo>
                      <a:pt x="14923" y="1987"/>
                    </a:moveTo>
                    <a:lnTo>
                      <a:pt x="14682" y="1987"/>
                    </a:lnTo>
                    <a:lnTo>
                      <a:pt x="14682" y="1797"/>
                    </a:lnTo>
                    <a:lnTo>
                      <a:pt x="14239" y="1797"/>
                    </a:lnTo>
                    <a:lnTo>
                      <a:pt x="14239" y="1261"/>
                    </a:lnTo>
                    <a:lnTo>
                      <a:pt x="13998" y="1261"/>
                    </a:lnTo>
                    <a:lnTo>
                      <a:pt x="13998" y="1640"/>
                    </a:lnTo>
                    <a:lnTo>
                      <a:pt x="13797" y="1640"/>
                    </a:lnTo>
                    <a:lnTo>
                      <a:pt x="13797" y="1072"/>
                    </a:lnTo>
                    <a:lnTo>
                      <a:pt x="13555" y="1072"/>
                    </a:lnTo>
                    <a:lnTo>
                      <a:pt x="13555" y="378"/>
                    </a:lnTo>
                    <a:lnTo>
                      <a:pt x="13314" y="378"/>
                    </a:lnTo>
                    <a:lnTo>
                      <a:pt x="13314" y="0"/>
                    </a:lnTo>
                    <a:lnTo>
                      <a:pt x="13073" y="0"/>
                    </a:lnTo>
                    <a:lnTo>
                      <a:pt x="12872" y="189"/>
                    </a:lnTo>
                    <a:lnTo>
                      <a:pt x="12630" y="189"/>
                    </a:lnTo>
                    <a:lnTo>
                      <a:pt x="12630" y="378"/>
                    </a:lnTo>
                    <a:lnTo>
                      <a:pt x="12389" y="378"/>
                    </a:lnTo>
                    <a:lnTo>
                      <a:pt x="12389" y="189"/>
                    </a:lnTo>
                    <a:lnTo>
                      <a:pt x="12389" y="378"/>
                    </a:lnTo>
                    <a:lnTo>
                      <a:pt x="12188" y="189"/>
                    </a:lnTo>
                    <a:lnTo>
                      <a:pt x="11946" y="189"/>
                    </a:lnTo>
                    <a:lnTo>
                      <a:pt x="11946" y="0"/>
                    </a:lnTo>
                    <a:lnTo>
                      <a:pt x="11705" y="0"/>
                    </a:lnTo>
                    <a:lnTo>
                      <a:pt x="11464" y="189"/>
                    </a:lnTo>
                    <a:lnTo>
                      <a:pt x="11464" y="0"/>
                    </a:lnTo>
                    <a:lnTo>
                      <a:pt x="11263" y="0"/>
                    </a:lnTo>
                    <a:lnTo>
                      <a:pt x="11021" y="189"/>
                    </a:lnTo>
                    <a:lnTo>
                      <a:pt x="10780" y="189"/>
                    </a:lnTo>
                    <a:lnTo>
                      <a:pt x="10780" y="378"/>
                    </a:lnTo>
                    <a:lnTo>
                      <a:pt x="11021" y="536"/>
                    </a:lnTo>
                    <a:lnTo>
                      <a:pt x="11021" y="725"/>
                    </a:lnTo>
                    <a:lnTo>
                      <a:pt x="10780" y="725"/>
                    </a:lnTo>
                    <a:lnTo>
                      <a:pt x="10780" y="1261"/>
                    </a:lnTo>
                    <a:lnTo>
                      <a:pt x="11021" y="1261"/>
                    </a:lnTo>
                    <a:lnTo>
                      <a:pt x="10780" y="1261"/>
                    </a:lnTo>
                    <a:lnTo>
                      <a:pt x="11021" y="1451"/>
                    </a:lnTo>
                    <a:lnTo>
                      <a:pt x="10579" y="1451"/>
                    </a:lnTo>
                    <a:lnTo>
                      <a:pt x="10579" y="1640"/>
                    </a:lnTo>
                    <a:lnTo>
                      <a:pt x="10780" y="1797"/>
                    </a:lnTo>
                    <a:lnTo>
                      <a:pt x="10780" y="1987"/>
                    </a:lnTo>
                    <a:lnTo>
                      <a:pt x="11021" y="1987"/>
                    </a:lnTo>
                    <a:lnTo>
                      <a:pt x="11021" y="2333"/>
                    </a:lnTo>
                    <a:lnTo>
                      <a:pt x="11263" y="2333"/>
                    </a:lnTo>
                    <a:lnTo>
                      <a:pt x="11263" y="2523"/>
                    </a:lnTo>
                    <a:lnTo>
                      <a:pt x="11464" y="2523"/>
                    </a:lnTo>
                    <a:lnTo>
                      <a:pt x="11464" y="2712"/>
                    </a:lnTo>
                    <a:lnTo>
                      <a:pt x="11705" y="2523"/>
                    </a:lnTo>
                    <a:lnTo>
                      <a:pt x="11946" y="2523"/>
                    </a:lnTo>
                    <a:lnTo>
                      <a:pt x="11946" y="2712"/>
                    </a:lnTo>
                    <a:lnTo>
                      <a:pt x="11705" y="2869"/>
                    </a:lnTo>
                    <a:lnTo>
                      <a:pt x="11946" y="2869"/>
                    </a:lnTo>
                    <a:lnTo>
                      <a:pt x="11946" y="3595"/>
                    </a:lnTo>
                    <a:lnTo>
                      <a:pt x="11705" y="3595"/>
                    </a:lnTo>
                    <a:lnTo>
                      <a:pt x="11705" y="3437"/>
                    </a:lnTo>
                    <a:lnTo>
                      <a:pt x="11464" y="3437"/>
                    </a:lnTo>
                    <a:lnTo>
                      <a:pt x="11464" y="3784"/>
                    </a:lnTo>
                    <a:lnTo>
                      <a:pt x="11021" y="3784"/>
                    </a:lnTo>
                    <a:lnTo>
                      <a:pt x="11021" y="3973"/>
                    </a:lnTo>
                    <a:lnTo>
                      <a:pt x="10337" y="3973"/>
                    </a:lnTo>
                    <a:lnTo>
                      <a:pt x="10096" y="3784"/>
                    </a:lnTo>
                    <a:lnTo>
                      <a:pt x="10096" y="3973"/>
                    </a:lnTo>
                    <a:lnTo>
                      <a:pt x="9855" y="3973"/>
                    </a:lnTo>
                    <a:lnTo>
                      <a:pt x="9654" y="3784"/>
                    </a:lnTo>
                    <a:lnTo>
                      <a:pt x="9654" y="3973"/>
                    </a:lnTo>
                    <a:lnTo>
                      <a:pt x="9412" y="3784"/>
                    </a:lnTo>
                    <a:lnTo>
                      <a:pt x="9171" y="3784"/>
                    </a:lnTo>
                    <a:lnTo>
                      <a:pt x="9171" y="4509"/>
                    </a:lnTo>
                    <a:lnTo>
                      <a:pt x="8970" y="4509"/>
                    </a:lnTo>
                    <a:lnTo>
                      <a:pt x="8970" y="4698"/>
                    </a:lnTo>
                    <a:lnTo>
                      <a:pt x="9412" y="4698"/>
                    </a:lnTo>
                    <a:lnTo>
                      <a:pt x="9654" y="4856"/>
                    </a:lnTo>
                    <a:lnTo>
                      <a:pt x="9654" y="5234"/>
                    </a:lnTo>
                    <a:lnTo>
                      <a:pt x="9855" y="5392"/>
                    </a:lnTo>
                    <a:lnTo>
                      <a:pt x="9855" y="5771"/>
                    </a:lnTo>
                    <a:lnTo>
                      <a:pt x="10096" y="5771"/>
                    </a:lnTo>
                    <a:lnTo>
                      <a:pt x="10096" y="6307"/>
                    </a:lnTo>
                    <a:lnTo>
                      <a:pt x="10337" y="6307"/>
                    </a:lnTo>
                    <a:lnTo>
                      <a:pt x="10337" y="6843"/>
                    </a:lnTo>
                    <a:lnTo>
                      <a:pt x="10579" y="6843"/>
                    </a:lnTo>
                    <a:lnTo>
                      <a:pt x="10579" y="7032"/>
                    </a:lnTo>
                    <a:lnTo>
                      <a:pt x="11464" y="7032"/>
                    </a:lnTo>
                    <a:lnTo>
                      <a:pt x="11464" y="7221"/>
                    </a:lnTo>
                    <a:lnTo>
                      <a:pt x="11705" y="7221"/>
                    </a:lnTo>
                    <a:lnTo>
                      <a:pt x="11705" y="7379"/>
                    </a:lnTo>
                    <a:lnTo>
                      <a:pt x="12188" y="7379"/>
                    </a:lnTo>
                    <a:lnTo>
                      <a:pt x="12188" y="7568"/>
                    </a:lnTo>
                    <a:lnTo>
                      <a:pt x="12389" y="7568"/>
                    </a:lnTo>
                    <a:lnTo>
                      <a:pt x="12389" y="7757"/>
                    </a:lnTo>
                    <a:lnTo>
                      <a:pt x="12188" y="7757"/>
                    </a:lnTo>
                    <a:lnTo>
                      <a:pt x="12389" y="7757"/>
                    </a:lnTo>
                    <a:lnTo>
                      <a:pt x="12389" y="8640"/>
                    </a:lnTo>
                    <a:lnTo>
                      <a:pt x="12188" y="8640"/>
                    </a:lnTo>
                    <a:lnTo>
                      <a:pt x="12188" y="8829"/>
                    </a:lnTo>
                    <a:lnTo>
                      <a:pt x="11464" y="8829"/>
                    </a:lnTo>
                    <a:lnTo>
                      <a:pt x="11464" y="9018"/>
                    </a:lnTo>
                    <a:lnTo>
                      <a:pt x="11021" y="9018"/>
                    </a:lnTo>
                    <a:lnTo>
                      <a:pt x="11021" y="9176"/>
                    </a:lnTo>
                    <a:lnTo>
                      <a:pt x="10780" y="9176"/>
                    </a:lnTo>
                    <a:lnTo>
                      <a:pt x="10579" y="9365"/>
                    </a:lnTo>
                    <a:lnTo>
                      <a:pt x="10579" y="9554"/>
                    </a:lnTo>
                    <a:lnTo>
                      <a:pt x="10337" y="9554"/>
                    </a:lnTo>
                    <a:lnTo>
                      <a:pt x="10337" y="9712"/>
                    </a:lnTo>
                    <a:lnTo>
                      <a:pt x="10096" y="9712"/>
                    </a:lnTo>
                    <a:lnTo>
                      <a:pt x="10096" y="10280"/>
                    </a:lnTo>
                    <a:lnTo>
                      <a:pt x="9855" y="10280"/>
                    </a:lnTo>
                    <a:lnTo>
                      <a:pt x="9855" y="10437"/>
                    </a:lnTo>
                    <a:lnTo>
                      <a:pt x="9412" y="10437"/>
                    </a:lnTo>
                    <a:lnTo>
                      <a:pt x="9412" y="10816"/>
                    </a:lnTo>
                    <a:lnTo>
                      <a:pt x="9171" y="10816"/>
                    </a:lnTo>
                    <a:lnTo>
                      <a:pt x="9171" y="10973"/>
                    </a:lnTo>
                    <a:lnTo>
                      <a:pt x="8728" y="10973"/>
                    </a:lnTo>
                    <a:lnTo>
                      <a:pt x="8728" y="11163"/>
                    </a:lnTo>
                    <a:lnTo>
                      <a:pt x="8487" y="11163"/>
                    </a:lnTo>
                    <a:lnTo>
                      <a:pt x="8487" y="11352"/>
                    </a:lnTo>
                    <a:lnTo>
                      <a:pt x="8728" y="11352"/>
                    </a:lnTo>
                    <a:lnTo>
                      <a:pt x="8246" y="11352"/>
                    </a:lnTo>
                    <a:lnTo>
                      <a:pt x="8246" y="11541"/>
                    </a:lnTo>
                    <a:lnTo>
                      <a:pt x="8487" y="11541"/>
                    </a:lnTo>
                    <a:lnTo>
                      <a:pt x="8487" y="11888"/>
                    </a:lnTo>
                    <a:lnTo>
                      <a:pt x="8728" y="11888"/>
                    </a:lnTo>
                    <a:lnTo>
                      <a:pt x="8728" y="12077"/>
                    </a:lnTo>
                    <a:lnTo>
                      <a:pt x="8970" y="12077"/>
                    </a:lnTo>
                    <a:lnTo>
                      <a:pt x="8970" y="12235"/>
                    </a:lnTo>
                    <a:lnTo>
                      <a:pt x="8970" y="12077"/>
                    </a:lnTo>
                    <a:lnTo>
                      <a:pt x="8970" y="12235"/>
                    </a:lnTo>
                    <a:lnTo>
                      <a:pt x="9171" y="12235"/>
                    </a:lnTo>
                    <a:lnTo>
                      <a:pt x="9171" y="12424"/>
                    </a:lnTo>
                    <a:lnTo>
                      <a:pt x="9412" y="12424"/>
                    </a:lnTo>
                    <a:lnTo>
                      <a:pt x="9412" y="12613"/>
                    </a:lnTo>
                    <a:lnTo>
                      <a:pt x="9654" y="12613"/>
                    </a:lnTo>
                    <a:lnTo>
                      <a:pt x="9412" y="12771"/>
                    </a:lnTo>
                    <a:lnTo>
                      <a:pt x="9412" y="12960"/>
                    </a:lnTo>
                    <a:lnTo>
                      <a:pt x="9654" y="12960"/>
                    </a:lnTo>
                    <a:lnTo>
                      <a:pt x="9412" y="12960"/>
                    </a:lnTo>
                    <a:lnTo>
                      <a:pt x="9412" y="13338"/>
                    </a:lnTo>
                    <a:lnTo>
                      <a:pt x="9171" y="13496"/>
                    </a:lnTo>
                    <a:lnTo>
                      <a:pt x="8970" y="13496"/>
                    </a:lnTo>
                    <a:lnTo>
                      <a:pt x="8970" y="13685"/>
                    </a:lnTo>
                    <a:lnTo>
                      <a:pt x="8728" y="13685"/>
                    </a:lnTo>
                    <a:lnTo>
                      <a:pt x="8728" y="13874"/>
                    </a:lnTo>
                    <a:lnTo>
                      <a:pt x="8246" y="13874"/>
                    </a:lnTo>
                    <a:lnTo>
                      <a:pt x="8246" y="14032"/>
                    </a:lnTo>
                    <a:lnTo>
                      <a:pt x="8045" y="14032"/>
                    </a:lnTo>
                    <a:lnTo>
                      <a:pt x="7803" y="14221"/>
                    </a:lnTo>
                    <a:lnTo>
                      <a:pt x="7803" y="14411"/>
                    </a:lnTo>
                    <a:lnTo>
                      <a:pt x="7120" y="14411"/>
                    </a:lnTo>
                    <a:lnTo>
                      <a:pt x="7120" y="14600"/>
                    </a:lnTo>
                    <a:lnTo>
                      <a:pt x="6878" y="14600"/>
                    </a:lnTo>
                    <a:lnTo>
                      <a:pt x="7120" y="14600"/>
                    </a:lnTo>
                    <a:lnTo>
                      <a:pt x="6878" y="14757"/>
                    </a:lnTo>
                    <a:lnTo>
                      <a:pt x="6637" y="14757"/>
                    </a:lnTo>
                    <a:lnTo>
                      <a:pt x="6436" y="14600"/>
                    </a:lnTo>
                    <a:lnTo>
                      <a:pt x="6436" y="14757"/>
                    </a:lnTo>
                    <a:lnTo>
                      <a:pt x="6194" y="14757"/>
                    </a:lnTo>
                    <a:lnTo>
                      <a:pt x="6194" y="15136"/>
                    </a:lnTo>
                    <a:lnTo>
                      <a:pt x="5953" y="15136"/>
                    </a:lnTo>
                    <a:lnTo>
                      <a:pt x="5953" y="15483"/>
                    </a:lnTo>
                    <a:lnTo>
                      <a:pt x="5752" y="15483"/>
                    </a:lnTo>
                    <a:lnTo>
                      <a:pt x="5511" y="15672"/>
                    </a:lnTo>
                    <a:lnTo>
                      <a:pt x="5269" y="15672"/>
                    </a:lnTo>
                    <a:lnTo>
                      <a:pt x="5269" y="15861"/>
                    </a:lnTo>
                    <a:lnTo>
                      <a:pt x="5028" y="15861"/>
                    </a:lnTo>
                    <a:lnTo>
                      <a:pt x="4827" y="16019"/>
                    </a:lnTo>
                    <a:lnTo>
                      <a:pt x="4827" y="16208"/>
                    </a:lnTo>
                    <a:lnTo>
                      <a:pt x="4585" y="16208"/>
                    </a:lnTo>
                    <a:lnTo>
                      <a:pt x="4585" y="16555"/>
                    </a:lnTo>
                    <a:lnTo>
                      <a:pt x="4344" y="16555"/>
                    </a:lnTo>
                    <a:lnTo>
                      <a:pt x="4585" y="16555"/>
                    </a:lnTo>
                    <a:lnTo>
                      <a:pt x="4344" y="16744"/>
                    </a:lnTo>
                    <a:lnTo>
                      <a:pt x="3902" y="16744"/>
                    </a:lnTo>
                    <a:lnTo>
                      <a:pt x="3902" y="16555"/>
                    </a:lnTo>
                    <a:lnTo>
                      <a:pt x="3218" y="16555"/>
                    </a:lnTo>
                    <a:lnTo>
                      <a:pt x="3218" y="16744"/>
                    </a:lnTo>
                    <a:lnTo>
                      <a:pt x="2977" y="16744"/>
                    </a:lnTo>
                    <a:lnTo>
                      <a:pt x="2977" y="16933"/>
                    </a:lnTo>
                    <a:lnTo>
                      <a:pt x="2735" y="16933"/>
                    </a:lnTo>
                    <a:lnTo>
                      <a:pt x="2735" y="17122"/>
                    </a:lnTo>
                    <a:lnTo>
                      <a:pt x="2293" y="17122"/>
                    </a:lnTo>
                    <a:lnTo>
                      <a:pt x="2293" y="17280"/>
                    </a:lnTo>
                    <a:lnTo>
                      <a:pt x="2293" y="17122"/>
                    </a:lnTo>
                    <a:lnTo>
                      <a:pt x="2293" y="17280"/>
                    </a:lnTo>
                    <a:lnTo>
                      <a:pt x="2051" y="17280"/>
                    </a:lnTo>
                    <a:lnTo>
                      <a:pt x="2051" y="17122"/>
                    </a:lnTo>
                    <a:lnTo>
                      <a:pt x="1810" y="17280"/>
                    </a:lnTo>
                    <a:lnTo>
                      <a:pt x="1810" y="16933"/>
                    </a:lnTo>
                    <a:lnTo>
                      <a:pt x="1609" y="16933"/>
                    </a:lnTo>
                    <a:lnTo>
                      <a:pt x="1609" y="17122"/>
                    </a:lnTo>
                    <a:lnTo>
                      <a:pt x="1368" y="17280"/>
                    </a:lnTo>
                    <a:lnTo>
                      <a:pt x="1368" y="17122"/>
                    </a:lnTo>
                    <a:lnTo>
                      <a:pt x="1368" y="17280"/>
                    </a:lnTo>
                    <a:lnTo>
                      <a:pt x="1126" y="17280"/>
                    </a:lnTo>
                    <a:lnTo>
                      <a:pt x="1126" y="17122"/>
                    </a:lnTo>
                    <a:lnTo>
                      <a:pt x="925" y="17122"/>
                    </a:lnTo>
                    <a:lnTo>
                      <a:pt x="925" y="17280"/>
                    </a:lnTo>
                    <a:lnTo>
                      <a:pt x="684" y="17469"/>
                    </a:lnTo>
                    <a:lnTo>
                      <a:pt x="684" y="17658"/>
                    </a:lnTo>
                    <a:lnTo>
                      <a:pt x="925" y="17816"/>
                    </a:lnTo>
                    <a:lnTo>
                      <a:pt x="1126" y="17816"/>
                    </a:lnTo>
                    <a:lnTo>
                      <a:pt x="925" y="18005"/>
                    </a:lnTo>
                    <a:lnTo>
                      <a:pt x="684" y="18005"/>
                    </a:lnTo>
                    <a:lnTo>
                      <a:pt x="684" y="18541"/>
                    </a:lnTo>
                    <a:lnTo>
                      <a:pt x="442" y="18731"/>
                    </a:lnTo>
                    <a:lnTo>
                      <a:pt x="684" y="18920"/>
                    </a:lnTo>
                    <a:lnTo>
                      <a:pt x="925" y="18920"/>
                    </a:lnTo>
                    <a:lnTo>
                      <a:pt x="925" y="19077"/>
                    </a:lnTo>
                    <a:lnTo>
                      <a:pt x="925" y="18920"/>
                    </a:lnTo>
                    <a:lnTo>
                      <a:pt x="1126" y="19077"/>
                    </a:lnTo>
                    <a:lnTo>
                      <a:pt x="1609" y="19077"/>
                    </a:lnTo>
                    <a:lnTo>
                      <a:pt x="1609" y="19267"/>
                    </a:lnTo>
                    <a:lnTo>
                      <a:pt x="1126" y="19267"/>
                    </a:lnTo>
                    <a:lnTo>
                      <a:pt x="1126" y="19456"/>
                    </a:lnTo>
                    <a:lnTo>
                      <a:pt x="684" y="19456"/>
                    </a:lnTo>
                    <a:lnTo>
                      <a:pt x="684" y="19613"/>
                    </a:lnTo>
                    <a:lnTo>
                      <a:pt x="442" y="19613"/>
                    </a:lnTo>
                    <a:lnTo>
                      <a:pt x="442" y="19803"/>
                    </a:lnTo>
                    <a:lnTo>
                      <a:pt x="201" y="19803"/>
                    </a:lnTo>
                    <a:lnTo>
                      <a:pt x="442" y="19992"/>
                    </a:lnTo>
                    <a:lnTo>
                      <a:pt x="201" y="19992"/>
                    </a:lnTo>
                    <a:lnTo>
                      <a:pt x="201" y="20181"/>
                    </a:lnTo>
                    <a:lnTo>
                      <a:pt x="0" y="20181"/>
                    </a:lnTo>
                    <a:lnTo>
                      <a:pt x="201" y="20181"/>
                    </a:lnTo>
                    <a:lnTo>
                      <a:pt x="201" y="20339"/>
                    </a:lnTo>
                    <a:lnTo>
                      <a:pt x="0" y="20528"/>
                    </a:lnTo>
                    <a:lnTo>
                      <a:pt x="442" y="20528"/>
                    </a:lnTo>
                    <a:lnTo>
                      <a:pt x="442" y="20717"/>
                    </a:lnTo>
                    <a:lnTo>
                      <a:pt x="684" y="20875"/>
                    </a:lnTo>
                    <a:lnTo>
                      <a:pt x="684" y="21064"/>
                    </a:lnTo>
                    <a:lnTo>
                      <a:pt x="925" y="21253"/>
                    </a:lnTo>
                    <a:lnTo>
                      <a:pt x="1368" y="21253"/>
                    </a:lnTo>
                    <a:lnTo>
                      <a:pt x="1368" y="21442"/>
                    </a:lnTo>
                    <a:lnTo>
                      <a:pt x="1609" y="21442"/>
                    </a:lnTo>
                    <a:lnTo>
                      <a:pt x="1609" y="21600"/>
                    </a:lnTo>
                    <a:lnTo>
                      <a:pt x="2735" y="21600"/>
                    </a:lnTo>
                    <a:lnTo>
                      <a:pt x="2735" y="21442"/>
                    </a:lnTo>
                    <a:lnTo>
                      <a:pt x="3218" y="21442"/>
                    </a:lnTo>
                    <a:lnTo>
                      <a:pt x="3218" y="21600"/>
                    </a:lnTo>
                    <a:lnTo>
                      <a:pt x="4827" y="21600"/>
                    </a:lnTo>
                    <a:lnTo>
                      <a:pt x="4827" y="21442"/>
                    </a:lnTo>
                    <a:lnTo>
                      <a:pt x="5269" y="21442"/>
                    </a:lnTo>
                    <a:lnTo>
                      <a:pt x="5269" y="21600"/>
                    </a:lnTo>
                    <a:lnTo>
                      <a:pt x="5752" y="21600"/>
                    </a:lnTo>
                    <a:lnTo>
                      <a:pt x="5953" y="21442"/>
                    </a:lnTo>
                    <a:lnTo>
                      <a:pt x="6194" y="21442"/>
                    </a:lnTo>
                    <a:lnTo>
                      <a:pt x="6194" y="21253"/>
                    </a:lnTo>
                    <a:lnTo>
                      <a:pt x="6436" y="21064"/>
                    </a:lnTo>
                    <a:lnTo>
                      <a:pt x="6637" y="21064"/>
                    </a:lnTo>
                    <a:lnTo>
                      <a:pt x="6637" y="20875"/>
                    </a:lnTo>
                    <a:lnTo>
                      <a:pt x="6878" y="20875"/>
                    </a:lnTo>
                    <a:lnTo>
                      <a:pt x="6878" y="21064"/>
                    </a:lnTo>
                    <a:lnTo>
                      <a:pt x="6878" y="20875"/>
                    </a:lnTo>
                    <a:lnTo>
                      <a:pt x="7361" y="20875"/>
                    </a:lnTo>
                    <a:lnTo>
                      <a:pt x="7361" y="20717"/>
                    </a:lnTo>
                    <a:lnTo>
                      <a:pt x="7803" y="20717"/>
                    </a:lnTo>
                    <a:lnTo>
                      <a:pt x="7803" y="20528"/>
                    </a:lnTo>
                    <a:lnTo>
                      <a:pt x="8045" y="20528"/>
                    </a:lnTo>
                    <a:lnTo>
                      <a:pt x="8246" y="20339"/>
                    </a:lnTo>
                    <a:lnTo>
                      <a:pt x="8970" y="20339"/>
                    </a:lnTo>
                    <a:lnTo>
                      <a:pt x="9171" y="20181"/>
                    </a:lnTo>
                    <a:lnTo>
                      <a:pt x="9171" y="19992"/>
                    </a:lnTo>
                    <a:lnTo>
                      <a:pt x="9412" y="19992"/>
                    </a:lnTo>
                    <a:lnTo>
                      <a:pt x="9412" y="19613"/>
                    </a:lnTo>
                    <a:lnTo>
                      <a:pt x="9654" y="19613"/>
                    </a:lnTo>
                    <a:lnTo>
                      <a:pt x="9654" y="19267"/>
                    </a:lnTo>
                    <a:lnTo>
                      <a:pt x="9855" y="19267"/>
                    </a:lnTo>
                    <a:lnTo>
                      <a:pt x="9855" y="19077"/>
                    </a:lnTo>
                    <a:lnTo>
                      <a:pt x="10337" y="19077"/>
                    </a:lnTo>
                    <a:lnTo>
                      <a:pt x="10337" y="18731"/>
                    </a:lnTo>
                    <a:lnTo>
                      <a:pt x="10579" y="18731"/>
                    </a:lnTo>
                    <a:lnTo>
                      <a:pt x="10579" y="18541"/>
                    </a:lnTo>
                    <a:lnTo>
                      <a:pt x="10780" y="18541"/>
                    </a:lnTo>
                    <a:lnTo>
                      <a:pt x="10780" y="18352"/>
                    </a:lnTo>
                    <a:lnTo>
                      <a:pt x="11021" y="18352"/>
                    </a:lnTo>
                    <a:lnTo>
                      <a:pt x="11021" y="18194"/>
                    </a:lnTo>
                    <a:lnTo>
                      <a:pt x="12389" y="18194"/>
                    </a:lnTo>
                    <a:lnTo>
                      <a:pt x="12389" y="18352"/>
                    </a:lnTo>
                    <a:lnTo>
                      <a:pt x="12630" y="18352"/>
                    </a:lnTo>
                    <a:lnTo>
                      <a:pt x="12630" y="18541"/>
                    </a:lnTo>
                    <a:lnTo>
                      <a:pt x="13073" y="18541"/>
                    </a:lnTo>
                    <a:lnTo>
                      <a:pt x="13073" y="18731"/>
                    </a:lnTo>
                    <a:lnTo>
                      <a:pt x="13314" y="18731"/>
                    </a:lnTo>
                    <a:lnTo>
                      <a:pt x="13314" y="18541"/>
                    </a:lnTo>
                    <a:lnTo>
                      <a:pt x="13797" y="18541"/>
                    </a:lnTo>
                    <a:lnTo>
                      <a:pt x="13797" y="18731"/>
                    </a:lnTo>
                    <a:lnTo>
                      <a:pt x="13797" y="18541"/>
                    </a:lnTo>
                    <a:lnTo>
                      <a:pt x="13998" y="18541"/>
                    </a:lnTo>
                    <a:lnTo>
                      <a:pt x="13998" y="18352"/>
                    </a:lnTo>
                    <a:lnTo>
                      <a:pt x="14239" y="18352"/>
                    </a:lnTo>
                    <a:lnTo>
                      <a:pt x="14239" y="18194"/>
                    </a:lnTo>
                    <a:lnTo>
                      <a:pt x="15406" y="18194"/>
                    </a:lnTo>
                    <a:lnTo>
                      <a:pt x="15406" y="18352"/>
                    </a:lnTo>
                    <a:lnTo>
                      <a:pt x="15607" y="18352"/>
                    </a:lnTo>
                    <a:lnTo>
                      <a:pt x="15607" y="18541"/>
                    </a:lnTo>
                    <a:lnTo>
                      <a:pt x="17015" y="18541"/>
                    </a:lnTo>
                    <a:lnTo>
                      <a:pt x="17216" y="18731"/>
                    </a:lnTo>
                    <a:lnTo>
                      <a:pt x="17698" y="18731"/>
                    </a:lnTo>
                    <a:lnTo>
                      <a:pt x="17698" y="18541"/>
                    </a:lnTo>
                    <a:lnTo>
                      <a:pt x="17940" y="18541"/>
                    </a:lnTo>
                    <a:lnTo>
                      <a:pt x="17940" y="18352"/>
                    </a:lnTo>
                    <a:lnTo>
                      <a:pt x="18141" y="18352"/>
                    </a:lnTo>
                    <a:lnTo>
                      <a:pt x="18141" y="18005"/>
                    </a:lnTo>
                    <a:lnTo>
                      <a:pt x="18382" y="18005"/>
                    </a:lnTo>
                    <a:lnTo>
                      <a:pt x="18623" y="17816"/>
                    </a:lnTo>
                    <a:lnTo>
                      <a:pt x="18623" y="17658"/>
                    </a:lnTo>
                    <a:lnTo>
                      <a:pt x="18825" y="17658"/>
                    </a:lnTo>
                    <a:lnTo>
                      <a:pt x="18825" y="17469"/>
                    </a:lnTo>
                    <a:lnTo>
                      <a:pt x="19066" y="17469"/>
                    </a:lnTo>
                    <a:lnTo>
                      <a:pt x="19307" y="17280"/>
                    </a:lnTo>
                    <a:lnTo>
                      <a:pt x="19549" y="17280"/>
                    </a:lnTo>
                    <a:lnTo>
                      <a:pt x="19549" y="16397"/>
                    </a:lnTo>
                    <a:lnTo>
                      <a:pt x="19307" y="16397"/>
                    </a:lnTo>
                    <a:lnTo>
                      <a:pt x="19307" y="15672"/>
                    </a:lnTo>
                    <a:lnTo>
                      <a:pt x="19549" y="15672"/>
                    </a:lnTo>
                    <a:lnTo>
                      <a:pt x="19549" y="15483"/>
                    </a:lnTo>
                    <a:lnTo>
                      <a:pt x="19307" y="15293"/>
                    </a:lnTo>
                    <a:lnTo>
                      <a:pt x="19307" y="15136"/>
                    </a:lnTo>
                    <a:lnTo>
                      <a:pt x="19549" y="15136"/>
                    </a:lnTo>
                    <a:lnTo>
                      <a:pt x="19549" y="14411"/>
                    </a:lnTo>
                    <a:lnTo>
                      <a:pt x="19750" y="14411"/>
                    </a:lnTo>
                    <a:lnTo>
                      <a:pt x="19549" y="14411"/>
                    </a:lnTo>
                    <a:lnTo>
                      <a:pt x="19549" y="14221"/>
                    </a:lnTo>
                    <a:lnTo>
                      <a:pt x="19750" y="14221"/>
                    </a:lnTo>
                    <a:lnTo>
                      <a:pt x="19750" y="13338"/>
                    </a:lnTo>
                    <a:lnTo>
                      <a:pt x="19991" y="13338"/>
                    </a:lnTo>
                    <a:lnTo>
                      <a:pt x="19991" y="13149"/>
                    </a:lnTo>
                    <a:lnTo>
                      <a:pt x="20232" y="12960"/>
                    </a:lnTo>
                    <a:lnTo>
                      <a:pt x="20232" y="12771"/>
                    </a:lnTo>
                    <a:lnTo>
                      <a:pt x="20434" y="12771"/>
                    </a:lnTo>
                    <a:lnTo>
                      <a:pt x="20434" y="12077"/>
                    </a:lnTo>
                    <a:lnTo>
                      <a:pt x="20232" y="12077"/>
                    </a:lnTo>
                    <a:lnTo>
                      <a:pt x="20232" y="11541"/>
                    </a:lnTo>
                    <a:lnTo>
                      <a:pt x="19991" y="11541"/>
                    </a:lnTo>
                    <a:lnTo>
                      <a:pt x="19991" y="11352"/>
                    </a:lnTo>
                    <a:lnTo>
                      <a:pt x="19307" y="11352"/>
                    </a:lnTo>
                    <a:lnTo>
                      <a:pt x="19307" y="11541"/>
                    </a:lnTo>
                    <a:lnTo>
                      <a:pt x="19066" y="11541"/>
                    </a:lnTo>
                    <a:lnTo>
                      <a:pt x="19066" y="11352"/>
                    </a:lnTo>
                    <a:lnTo>
                      <a:pt x="18825" y="11352"/>
                    </a:lnTo>
                    <a:lnTo>
                      <a:pt x="18825" y="11163"/>
                    </a:lnTo>
                    <a:lnTo>
                      <a:pt x="19066" y="10973"/>
                    </a:lnTo>
                    <a:lnTo>
                      <a:pt x="19066" y="10816"/>
                    </a:lnTo>
                    <a:lnTo>
                      <a:pt x="19307" y="10816"/>
                    </a:lnTo>
                    <a:lnTo>
                      <a:pt x="19307" y="10437"/>
                    </a:lnTo>
                    <a:lnTo>
                      <a:pt x="19549" y="10280"/>
                    </a:lnTo>
                    <a:lnTo>
                      <a:pt x="19549" y="9901"/>
                    </a:lnTo>
                    <a:lnTo>
                      <a:pt x="19750" y="9901"/>
                    </a:lnTo>
                    <a:lnTo>
                      <a:pt x="19750" y="9712"/>
                    </a:lnTo>
                    <a:lnTo>
                      <a:pt x="20434" y="9712"/>
                    </a:lnTo>
                    <a:lnTo>
                      <a:pt x="20434" y="9554"/>
                    </a:lnTo>
                    <a:lnTo>
                      <a:pt x="20675" y="9554"/>
                    </a:lnTo>
                    <a:lnTo>
                      <a:pt x="21158" y="9176"/>
                    </a:lnTo>
                    <a:lnTo>
                      <a:pt x="21359" y="9176"/>
                    </a:lnTo>
                    <a:lnTo>
                      <a:pt x="21359" y="9018"/>
                    </a:lnTo>
                    <a:lnTo>
                      <a:pt x="21600" y="9018"/>
                    </a:lnTo>
                    <a:lnTo>
                      <a:pt x="21359" y="9018"/>
                    </a:lnTo>
                    <a:lnTo>
                      <a:pt x="21359" y="8829"/>
                    </a:lnTo>
                    <a:lnTo>
                      <a:pt x="21158" y="8829"/>
                    </a:lnTo>
                    <a:lnTo>
                      <a:pt x="21158" y="8451"/>
                    </a:lnTo>
                    <a:lnTo>
                      <a:pt x="20916" y="8451"/>
                    </a:lnTo>
                    <a:lnTo>
                      <a:pt x="20916" y="8293"/>
                    </a:lnTo>
                    <a:lnTo>
                      <a:pt x="21158" y="8293"/>
                    </a:lnTo>
                    <a:lnTo>
                      <a:pt x="20916" y="8293"/>
                    </a:lnTo>
                    <a:lnTo>
                      <a:pt x="20916" y="8104"/>
                    </a:lnTo>
                    <a:lnTo>
                      <a:pt x="20434" y="8104"/>
                    </a:lnTo>
                    <a:lnTo>
                      <a:pt x="20434" y="7915"/>
                    </a:lnTo>
                    <a:lnTo>
                      <a:pt x="20232" y="7915"/>
                    </a:lnTo>
                    <a:lnTo>
                      <a:pt x="20232" y="7757"/>
                    </a:lnTo>
                    <a:lnTo>
                      <a:pt x="20434" y="7757"/>
                    </a:lnTo>
                    <a:lnTo>
                      <a:pt x="20434" y="7568"/>
                    </a:lnTo>
                    <a:lnTo>
                      <a:pt x="20232" y="7568"/>
                    </a:lnTo>
                    <a:lnTo>
                      <a:pt x="20232" y="7032"/>
                    </a:lnTo>
                    <a:lnTo>
                      <a:pt x="20434" y="7032"/>
                    </a:lnTo>
                    <a:lnTo>
                      <a:pt x="20434" y="7221"/>
                    </a:lnTo>
                    <a:lnTo>
                      <a:pt x="20675" y="7032"/>
                    </a:lnTo>
                    <a:lnTo>
                      <a:pt x="20675" y="6843"/>
                    </a:lnTo>
                    <a:lnTo>
                      <a:pt x="20434" y="6843"/>
                    </a:lnTo>
                    <a:lnTo>
                      <a:pt x="20434" y="6653"/>
                    </a:lnTo>
                    <a:lnTo>
                      <a:pt x="20232" y="6653"/>
                    </a:lnTo>
                    <a:lnTo>
                      <a:pt x="20232" y="6307"/>
                    </a:lnTo>
                    <a:lnTo>
                      <a:pt x="19991" y="6307"/>
                    </a:lnTo>
                    <a:lnTo>
                      <a:pt x="20232" y="6307"/>
                    </a:lnTo>
                    <a:lnTo>
                      <a:pt x="19991" y="6307"/>
                    </a:lnTo>
                    <a:lnTo>
                      <a:pt x="19991" y="6496"/>
                    </a:lnTo>
                    <a:lnTo>
                      <a:pt x="19750" y="6496"/>
                    </a:lnTo>
                    <a:lnTo>
                      <a:pt x="19750" y="6117"/>
                    </a:lnTo>
                    <a:lnTo>
                      <a:pt x="19991" y="6117"/>
                    </a:lnTo>
                    <a:lnTo>
                      <a:pt x="19750" y="5960"/>
                    </a:lnTo>
                    <a:lnTo>
                      <a:pt x="19991" y="5960"/>
                    </a:lnTo>
                    <a:lnTo>
                      <a:pt x="19991" y="5392"/>
                    </a:lnTo>
                    <a:lnTo>
                      <a:pt x="19750" y="5392"/>
                    </a:lnTo>
                    <a:lnTo>
                      <a:pt x="19750" y="4856"/>
                    </a:lnTo>
                    <a:lnTo>
                      <a:pt x="19549" y="4856"/>
                    </a:lnTo>
                    <a:lnTo>
                      <a:pt x="19549" y="4698"/>
                    </a:lnTo>
                    <a:lnTo>
                      <a:pt x="19066" y="4698"/>
                    </a:lnTo>
                    <a:lnTo>
                      <a:pt x="19066" y="5045"/>
                    </a:lnTo>
                    <a:lnTo>
                      <a:pt x="18623" y="5045"/>
                    </a:lnTo>
                    <a:lnTo>
                      <a:pt x="18623" y="4698"/>
                    </a:lnTo>
                    <a:lnTo>
                      <a:pt x="18382" y="4698"/>
                    </a:lnTo>
                    <a:lnTo>
                      <a:pt x="18382" y="4320"/>
                    </a:lnTo>
                    <a:lnTo>
                      <a:pt x="18141" y="4320"/>
                    </a:lnTo>
                    <a:lnTo>
                      <a:pt x="18141" y="3973"/>
                    </a:lnTo>
                    <a:lnTo>
                      <a:pt x="17940" y="3973"/>
                    </a:lnTo>
                    <a:lnTo>
                      <a:pt x="17940" y="4131"/>
                    </a:lnTo>
                    <a:lnTo>
                      <a:pt x="17457" y="4131"/>
                    </a:lnTo>
                    <a:lnTo>
                      <a:pt x="17457" y="4320"/>
                    </a:lnTo>
                    <a:lnTo>
                      <a:pt x="17216" y="4320"/>
                    </a:lnTo>
                    <a:lnTo>
                      <a:pt x="17216" y="4509"/>
                    </a:lnTo>
                    <a:lnTo>
                      <a:pt x="17216" y="4320"/>
                    </a:lnTo>
                    <a:lnTo>
                      <a:pt x="17216" y="4509"/>
                    </a:lnTo>
                    <a:lnTo>
                      <a:pt x="17015" y="4509"/>
                    </a:lnTo>
                    <a:lnTo>
                      <a:pt x="17015" y="4698"/>
                    </a:lnTo>
                    <a:lnTo>
                      <a:pt x="16773" y="4509"/>
                    </a:lnTo>
                    <a:lnTo>
                      <a:pt x="16773" y="4698"/>
                    </a:lnTo>
                    <a:lnTo>
                      <a:pt x="16532" y="4698"/>
                    </a:lnTo>
                    <a:lnTo>
                      <a:pt x="16532" y="4509"/>
                    </a:lnTo>
                    <a:lnTo>
                      <a:pt x="16331" y="4320"/>
                    </a:lnTo>
                    <a:lnTo>
                      <a:pt x="16331" y="3973"/>
                    </a:lnTo>
                    <a:lnTo>
                      <a:pt x="16773" y="3973"/>
                    </a:lnTo>
                    <a:lnTo>
                      <a:pt x="16773" y="3595"/>
                    </a:lnTo>
                    <a:lnTo>
                      <a:pt x="16331" y="3595"/>
                    </a:lnTo>
                    <a:lnTo>
                      <a:pt x="16331" y="3437"/>
                    </a:lnTo>
                    <a:lnTo>
                      <a:pt x="15607" y="3437"/>
                    </a:lnTo>
                    <a:lnTo>
                      <a:pt x="15607" y="3248"/>
                    </a:lnTo>
                    <a:lnTo>
                      <a:pt x="15406" y="3248"/>
                    </a:lnTo>
                    <a:lnTo>
                      <a:pt x="15607" y="3248"/>
                    </a:lnTo>
                    <a:lnTo>
                      <a:pt x="15607" y="3059"/>
                    </a:lnTo>
                    <a:lnTo>
                      <a:pt x="15164" y="3059"/>
                    </a:lnTo>
                    <a:lnTo>
                      <a:pt x="15164" y="2869"/>
                    </a:lnTo>
                    <a:lnTo>
                      <a:pt x="15406" y="2712"/>
                    </a:lnTo>
                    <a:lnTo>
                      <a:pt x="14923" y="1987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>
                      <a:lumMod val="75000"/>
                    </a:srgbClr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37" name="Shape 2962"/>
              <p:cNvSpPr/>
              <p:nvPr/>
            </p:nvSpPr>
            <p:spPr>
              <a:xfrm>
                <a:off x="11191241" y="5814890"/>
                <a:ext cx="206531" cy="1487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897" y="19083"/>
                    </a:moveTo>
                    <a:lnTo>
                      <a:pt x="14652" y="19083"/>
                    </a:lnTo>
                    <a:lnTo>
                      <a:pt x="14652" y="18035"/>
                    </a:lnTo>
                    <a:lnTo>
                      <a:pt x="16464" y="18035"/>
                    </a:lnTo>
                    <a:lnTo>
                      <a:pt x="16464" y="16777"/>
                    </a:lnTo>
                    <a:lnTo>
                      <a:pt x="18126" y="16777"/>
                    </a:lnTo>
                    <a:lnTo>
                      <a:pt x="18126" y="15518"/>
                    </a:lnTo>
                    <a:lnTo>
                      <a:pt x="20694" y="15518"/>
                    </a:lnTo>
                    <a:lnTo>
                      <a:pt x="20694" y="13212"/>
                    </a:lnTo>
                    <a:lnTo>
                      <a:pt x="21600" y="13212"/>
                    </a:lnTo>
                    <a:lnTo>
                      <a:pt x="21600" y="14470"/>
                    </a:lnTo>
                    <a:lnTo>
                      <a:pt x="21600" y="11953"/>
                    </a:lnTo>
                    <a:lnTo>
                      <a:pt x="20694" y="11953"/>
                    </a:lnTo>
                    <a:lnTo>
                      <a:pt x="20694" y="10695"/>
                    </a:lnTo>
                    <a:lnTo>
                      <a:pt x="19938" y="10695"/>
                    </a:lnTo>
                    <a:lnTo>
                      <a:pt x="19938" y="11953"/>
                    </a:lnTo>
                    <a:lnTo>
                      <a:pt x="18126" y="11953"/>
                    </a:lnTo>
                    <a:lnTo>
                      <a:pt x="18126" y="8388"/>
                    </a:lnTo>
                    <a:lnTo>
                      <a:pt x="19032" y="8388"/>
                    </a:lnTo>
                    <a:lnTo>
                      <a:pt x="19032" y="9647"/>
                    </a:lnTo>
                    <a:lnTo>
                      <a:pt x="19938" y="9647"/>
                    </a:lnTo>
                    <a:lnTo>
                      <a:pt x="19938" y="8388"/>
                    </a:lnTo>
                    <a:lnTo>
                      <a:pt x="20694" y="7130"/>
                    </a:lnTo>
                    <a:lnTo>
                      <a:pt x="20694" y="6082"/>
                    </a:lnTo>
                    <a:lnTo>
                      <a:pt x="21600" y="6082"/>
                    </a:lnTo>
                    <a:lnTo>
                      <a:pt x="21600" y="4823"/>
                    </a:lnTo>
                    <a:lnTo>
                      <a:pt x="20694" y="4823"/>
                    </a:lnTo>
                    <a:lnTo>
                      <a:pt x="20694" y="3565"/>
                    </a:lnTo>
                    <a:lnTo>
                      <a:pt x="19938" y="3565"/>
                    </a:lnTo>
                    <a:lnTo>
                      <a:pt x="19938" y="2307"/>
                    </a:lnTo>
                    <a:lnTo>
                      <a:pt x="19032" y="2307"/>
                    </a:lnTo>
                    <a:lnTo>
                      <a:pt x="19032" y="1258"/>
                    </a:lnTo>
                    <a:lnTo>
                      <a:pt x="18126" y="1258"/>
                    </a:lnTo>
                    <a:lnTo>
                      <a:pt x="18126" y="2307"/>
                    </a:lnTo>
                    <a:lnTo>
                      <a:pt x="18126" y="1258"/>
                    </a:lnTo>
                    <a:lnTo>
                      <a:pt x="15558" y="1258"/>
                    </a:lnTo>
                    <a:lnTo>
                      <a:pt x="15558" y="0"/>
                    </a:lnTo>
                    <a:lnTo>
                      <a:pt x="15558" y="1258"/>
                    </a:lnTo>
                    <a:lnTo>
                      <a:pt x="13897" y="1258"/>
                    </a:lnTo>
                    <a:lnTo>
                      <a:pt x="13897" y="2307"/>
                    </a:lnTo>
                    <a:lnTo>
                      <a:pt x="12990" y="2307"/>
                    </a:lnTo>
                    <a:lnTo>
                      <a:pt x="12990" y="4823"/>
                    </a:lnTo>
                    <a:lnTo>
                      <a:pt x="12084" y="4823"/>
                    </a:lnTo>
                    <a:lnTo>
                      <a:pt x="12084" y="7130"/>
                    </a:lnTo>
                    <a:lnTo>
                      <a:pt x="11329" y="7130"/>
                    </a:lnTo>
                    <a:lnTo>
                      <a:pt x="11329" y="8388"/>
                    </a:lnTo>
                    <a:lnTo>
                      <a:pt x="11329" y="7130"/>
                    </a:lnTo>
                    <a:lnTo>
                      <a:pt x="10422" y="7130"/>
                    </a:lnTo>
                    <a:lnTo>
                      <a:pt x="10422" y="6082"/>
                    </a:lnTo>
                    <a:lnTo>
                      <a:pt x="10422" y="7130"/>
                    </a:lnTo>
                    <a:lnTo>
                      <a:pt x="9516" y="7130"/>
                    </a:lnTo>
                    <a:lnTo>
                      <a:pt x="9516" y="6082"/>
                    </a:lnTo>
                    <a:lnTo>
                      <a:pt x="9516" y="7130"/>
                    </a:lnTo>
                    <a:lnTo>
                      <a:pt x="8610" y="7130"/>
                    </a:lnTo>
                    <a:lnTo>
                      <a:pt x="8610" y="8388"/>
                    </a:lnTo>
                    <a:lnTo>
                      <a:pt x="7855" y="8388"/>
                    </a:lnTo>
                    <a:lnTo>
                      <a:pt x="7855" y="9647"/>
                    </a:lnTo>
                    <a:lnTo>
                      <a:pt x="8610" y="9647"/>
                    </a:lnTo>
                    <a:lnTo>
                      <a:pt x="8610" y="11953"/>
                    </a:lnTo>
                    <a:lnTo>
                      <a:pt x="6948" y="11953"/>
                    </a:lnTo>
                    <a:lnTo>
                      <a:pt x="6948" y="10695"/>
                    </a:lnTo>
                    <a:lnTo>
                      <a:pt x="6042" y="10695"/>
                    </a:lnTo>
                    <a:lnTo>
                      <a:pt x="6042" y="11953"/>
                    </a:lnTo>
                    <a:lnTo>
                      <a:pt x="5287" y="11953"/>
                    </a:lnTo>
                    <a:lnTo>
                      <a:pt x="5287" y="13212"/>
                    </a:lnTo>
                    <a:lnTo>
                      <a:pt x="4380" y="13212"/>
                    </a:lnTo>
                    <a:lnTo>
                      <a:pt x="4380" y="14470"/>
                    </a:lnTo>
                    <a:lnTo>
                      <a:pt x="2568" y="14470"/>
                    </a:lnTo>
                    <a:lnTo>
                      <a:pt x="2568" y="11953"/>
                    </a:lnTo>
                    <a:lnTo>
                      <a:pt x="1813" y="11953"/>
                    </a:lnTo>
                    <a:lnTo>
                      <a:pt x="1813" y="13212"/>
                    </a:lnTo>
                    <a:lnTo>
                      <a:pt x="1813" y="11953"/>
                    </a:lnTo>
                    <a:lnTo>
                      <a:pt x="906" y="11953"/>
                    </a:lnTo>
                    <a:lnTo>
                      <a:pt x="906" y="14470"/>
                    </a:lnTo>
                    <a:lnTo>
                      <a:pt x="0" y="14470"/>
                    </a:lnTo>
                    <a:lnTo>
                      <a:pt x="0" y="18035"/>
                    </a:lnTo>
                    <a:lnTo>
                      <a:pt x="2568" y="18035"/>
                    </a:lnTo>
                    <a:lnTo>
                      <a:pt x="2568" y="20342"/>
                    </a:lnTo>
                    <a:lnTo>
                      <a:pt x="4380" y="20342"/>
                    </a:lnTo>
                    <a:lnTo>
                      <a:pt x="4380" y="19083"/>
                    </a:lnTo>
                    <a:lnTo>
                      <a:pt x="4380" y="20342"/>
                    </a:lnTo>
                    <a:lnTo>
                      <a:pt x="5287" y="20342"/>
                    </a:lnTo>
                    <a:lnTo>
                      <a:pt x="5287" y="19083"/>
                    </a:lnTo>
                    <a:lnTo>
                      <a:pt x="6042" y="19083"/>
                    </a:lnTo>
                    <a:lnTo>
                      <a:pt x="6042" y="20342"/>
                    </a:lnTo>
                    <a:lnTo>
                      <a:pt x="6948" y="20342"/>
                    </a:lnTo>
                    <a:lnTo>
                      <a:pt x="6948" y="21600"/>
                    </a:lnTo>
                    <a:lnTo>
                      <a:pt x="7855" y="21600"/>
                    </a:lnTo>
                    <a:lnTo>
                      <a:pt x="7855" y="20342"/>
                    </a:lnTo>
                    <a:lnTo>
                      <a:pt x="8610" y="20342"/>
                    </a:lnTo>
                    <a:lnTo>
                      <a:pt x="8610" y="19083"/>
                    </a:lnTo>
                    <a:lnTo>
                      <a:pt x="10422" y="19083"/>
                    </a:lnTo>
                    <a:lnTo>
                      <a:pt x="10422" y="20342"/>
                    </a:lnTo>
                    <a:lnTo>
                      <a:pt x="11329" y="20342"/>
                    </a:lnTo>
                    <a:lnTo>
                      <a:pt x="11329" y="19083"/>
                    </a:lnTo>
                    <a:lnTo>
                      <a:pt x="13897" y="1908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>
                      <a:lumMod val="75000"/>
                    </a:srgbClr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38" name="Shape 2963"/>
              <p:cNvSpPr/>
              <p:nvPr/>
            </p:nvSpPr>
            <p:spPr>
              <a:xfrm>
                <a:off x="10349237" y="5270403"/>
                <a:ext cx="1015318" cy="81600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07" y="14833"/>
                    </a:moveTo>
                    <a:lnTo>
                      <a:pt x="707" y="14642"/>
                    </a:lnTo>
                    <a:lnTo>
                      <a:pt x="891" y="14642"/>
                    </a:lnTo>
                    <a:lnTo>
                      <a:pt x="891" y="14183"/>
                    </a:lnTo>
                    <a:lnTo>
                      <a:pt x="1229" y="14183"/>
                    </a:lnTo>
                    <a:lnTo>
                      <a:pt x="1413" y="13992"/>
                    </a:lnTo>
                    <a:lnTo>
                      <a:pt x="1413" y="13763"/>
                    </a:lnTo>
                    <a:lnTo>
                      <a:pt x="1751" y="13763"/>
                    </a:lnTo>
                    <a:lnTo>
                      <a:pt x="1751" y="13533"/>
                    </a:lnTo>
                    <a:lnTo>
                      <a:pt x="1936" y="13533"/>
                    </a:lnTo>
                    <a:lnTo>
                      <a:pt x="1936" y="13763"/>
                    </a:lnTo>
                    <a:lnTo>
                      <a:pt x="2120" y="13763"/>
                    </a:lnTo>
                    <a:lnTo>
                      <a:pt x="2120" y="14413"/>
                    </a:lnTo>
                    <a:lnTo>
                      <a:pt x="2304" y="14413"/>
                    </a:lnTo>
                    <a:lnTo>
                      <a:pt x="2304" y="14642"/>
                    </a:lnTo>
                    <a:lnTo>
                      <a:pt x="2458" y="14642"/>
                    </a:lnTo>
                    <a:lnTo>
                      <a:pt x="2458" y="14833"/>
                    </a:lnTo>
                    <a:lnTo>
                      <a:pt x="2642" y="14833"/>
                    </a:lnTo>
                    <a:lnTo>
                      <a:pt x="2642" y="15063"/>
                    </a:lnTo>
                    <a:lnTo>
                      <a:pt x="2980" y="15063"/>
                    </a:lnTo>
                    <a:lnTo>
                      <a:pt x="2980" y="15292"/>
                    </a:lnTo>
                    <a:lnTo>
                      <a:pt x="3349" y="15292"/>
                    </a:lnTo>
                    <a:lnTo>
                      <a:pt x="3349" y="15521"/>
                    </a:lnTo>
                    <a:lnTo>
                      <a:pt x="3533" y="15521"/>
                    </a:lnTo>
                    <a:lnTo>
                      <a:pt x="3687" y="15713"/>
                    </a:lnTo>
                    <a:lnTo>
                      <a:pt x="3871" y="15713"/>
                    </a:lnTo>
                    <a:lnTo>
                      <a:pt x="3871" y="15942"/>
                    </a:lnTo>
                    <a:lnTo>
                      <a:pt x="4056" y="16171"/>
                    </a:lnTo>
                    <a:lnTo>
                      <a:pt x="4209" y="16171"/>
                    </a:lnTo>
                    <a:lnTo>
                      <a:pt x="4209" y="16362"/>
                    </a:lnTo>
                    <a:lnTo>
                      <a:pt x="4394" y="16362"/>
                    </a:lnTo>
                    <a:lnTo>
                      <a:pt x="4394" y="16171"/>
                    </a:lnTo>
                    <a:lnTo>
                      <a:pt x="4578" y="16171"/>
                    </a:lnTo>
                    <a:lnTo>
                      <a:pt x="4578" y="16362"/>
                    </a:lnTo>
                    <a:lnTo>
                      <a:pt x="4578" y="16171"/>
                    </a:lnTo>
                    <a:lnTo>
                      <a:pt x="4578" y="16362"/>
                    </a:lnTo>
                    <a:lnTo>
                      <a:pt x="4762" y="16362"/>
                    </a:lnTo>
                    <a:lnTo>
                      <a:pt x="4762" y="16171"/>
                    </a:lnTo>
                    <a:lnTo>
                      <a:pt x="4916" y="16362"/>
                    </a:lnTo>
                    <a:lnTo>
                      <a:pt x="4916" y="16592"/>
                    </a:lnTo>
                    <a:lnTo>
                      <a:pt x="5100" y="16592"/>
                    </a:lnTo>
                    <a:lnTo>
                      <a:pt x="5100" y="16821"/>
                    </a:lnTo>
                    <a:lnTo>
                      <a:pt x="5285" y="16821"/>
                    </a:lnTo>
                    <a:lnTo>
                      <a:pt x="5438" y="17051"/>
                    </a:lnTo>
                    <a:lnTo>
                      <a:pt x="5623" y="17051"/>
                    </a:lnTo>
                    <a:lnTo>
                      <a:pt x="5623" y="17242"/>
                    </a:lnTo>
                    <a:lnTo>
                      <a:pt x="5807" y="17242"/>
                    </a:lnTo>
                    <a:lnTo>
                      <a:pt x="5807" y="17471"/>
                    </a:lnTo>
                    <a:lnTo>
                      <a:pt x="5991" y="17701"/>
                    </a:lnTo>
                    <a:lnTo>
                      <a:pt x="5991" y="18121"/>
                    </a:lnTo>
                    <a:lnTo>
                      <a:pt x="6145" y="18121"/>
                    </a:lnTo>
                    <a:lnTo>
                      <a:pt x="6145" y="18350"/>
                    </a:lnTo>
                    <a:lnTo>
                      <a:pt x="6145" y="18121"/>
                    </a:lnTo>
                    <a:lnTo>
                      <a:pt x="6667" y="18121"/>
                    </a:lnTo>
                    <a:lnTo>
                      <a:pt x="6852" y="19000"/>
                    </a:lnTo>
                    <a:lnTo>
                      <a:pt x="7036" y="18771"/>
                    </a:lnTo>
                    <a:lnTo>
                      <a:pt x="7220" y="18771"/>
                    </a:lnTo>
                    <a:lnTo>
                      <a:pt x="7220" y="18542"/>
                    </a:lnTo>
                    <a:lnTo>
                      <a:pt x="7558" y="18542"/>
                    </a:lnTo>
                    <a:lnTo>
                      <a:pt x="7558" y="18350"/>
                    </a:lnTo>
                    <a:lnTo>
                      <a:pt x="7896" y="18350"/>
                    </a:lnTo>
                    <a:lnTo>
                      <a:pt x="7896" y="18121"/>
                    </a:lnTo>
                    <a:lnTo>
                      <a:pt x="7743" y="18121"/>
                    </a:lnTo>
                    <a:lnTo>
                      <a:pt x="7743" y="17892"/>
                    </a:lnTo>
                    <a:lnTo>
                      <a:pt x="9494" y="15521"/>
                    </a:lnTo>
                    <a:lnTo>
                      <a:pt x="10908" y="13533"/>
                    </a:lnTo>
                    <a:lnTo>
                      <a:pt x="11614" y="12463"/>
                    </a:lnTo>
                    <a:lnTo>
                      <a:pt x="12137" y="10284"/>
                    </a:lnTo>
                    <a:lnTo>
                      <a:pt x="11952" y="9175"/>
                    </a:lnTo>
                    <a:lnTo>
                      <a:pt x="11768" y="9175"/>
                    </a:lnTo>
                    <a:lnTo>
                      <a:pt x="11768" y="8946"/>
                    </a:lnTo>
                    <a:lnTo>
                      <a:pt x="11952" y="8946"/>
                    </a:lnTo>
                    <a:lnTo>
                      <a:pt x="11952" y="8525"/>
                    </a:lnTo>
                    <a:lnTo>
                      <a:pt x="11768" y="8525"/>
                    </a:lnTo>
                    <a:lnTo>
                      <a:pt x="11768" y="8296"/>
                    </a:lnTo>
                    <a:lnTo>
                      <a:pt x="11952" y="8296"/>
                    </a:lnTo>
                    <a:lnTo>
                      <a:pt x="11768" y="8067"/>
                    </a:lnTo>
                    <a:lnTo>
                      <a:pt x="11768" y="7225"/>
                    </a:lnTo>
                    <a:lnTo>
                      <a:pt x="11614" y="7225"/>
                    </a:lnTo>
                    <a:lnTo>
                      <a:pt x="11614" y="6346"/>
                    </a:lnTo>
                    <a:lnTo>
                      <a:pt x="11768" y="6346"/>
                    </a:lnTo>
                    <a:lnTo>
                      <a:pt x="11614" y="6346"/>
                    </a:lnTo>
                    <a:lnTo>
                      <a:pt x="11614" y="5887"/>
                    </a:lnTo>
                    <a:lnTo>
                      <a:pt x="11768" y="5696"/>
                    </a:lnTo>
                    <a:lnTo>
                      <a:pt x="11768" y="5467"/>
                    </a:lnTo>
                    <a:lnTo>
                      <a:pt x="12137" y="5467"/>
                    </a:lnTo>
                    <a:lnTo>
                      <a:pt x="12137" y="5238"/>
                    </a:lnTo>
                    <a:lnTo>
                      <a:pt x="11768" y="5238"/>
                    </a:lnTo>
                    <a:lnTo>
                      <a:pt x="11614" y="5046"/>
                    </a:lnTo>
                    <a:lnTo>
                      <a:pt x="11614" y="4817"/>
                    </a:lnTo>
                    <a:lnTo>
                      <a:pt x="11246" y="4817"/>
                    </a:lnTo>
                    <a:lnTo>
                      <a:pt x="11246" y="4167"/>
                    </a:lnTo>
                    <a:lnTo>
                      <a:pt x="11430" y="4167"/>
                    </a:lnTo>
                    <a:lnTo>
                      <a:pt x="11246" y="3938"/>
                    </a:lnTo>
                    <a:lnTo>
                      <a:pt x="11430" y="3938"/>
                    </a:lnTo>
                    <a:lnTo>
                      <a:pt x="11430" y="3708"/>
                    </a:lnTo>
                    <a:lnTo>
                      <a:pt x="11768" y="3708"/>
                    </a:lnTo>
                    <a:lnTo>
                      <a:pt x="11768" y="3517"/>
                    </a:lnTo>
                    <a:lnTo>
                      <a:pt x="11952" y="3517"/>
                    </a:lnTo>
                    <a:lnTo>
                      <a:pt x="12137" y="3288"/>
                    </a:lnTo>
                    <a:lnTo>
                      <a:pt x="12475" y="3288"/>
                    </a:lnTo>
                    <a:lnTo>
                      <a:pt x="12475" y="3058"/>
                    </a:lnTo>
                    <a:lnTo>
                      <a:pt x="12659" y="3058"/>
                    </a:lnTo>
                    <a:lnTo>
                      <a:pt x="12659" y="2408"/>
                    </a:lnTo>
                    <a:lnTo>
                      <a:pt x="12843" y="2408"/>
                    </a:lnTo>
                    <a:lnTo>
                      <a:pt x="12997" y="2638"/>
                    </a:lnTo>
                    <a:lnTo>
                      <a:pt x="13181" y="2408"/>
                    </a:lnTo>
                    <a:lnTo>
                      <a:pt x="13181" y="2638"/>
                    </a:lnTo>
                    <a:lnTo>
                      <a:pt x="13366" y="2829"/>
                    </a:lnTo>
                    <a:lnTo>
                      <a:pt x="13519" y="2638"/>
                    </a:lnTo>
                    <a:lnTo>
                      <a:pt x="14072" y="2638"/>
                    </a:lnTo>
                    <a:lnTo>
                      <a:pt x="14226" y="2408"/>
                    </a:lnTo>
                    <a:lnTo>
                      <a:pt x="14226" y="1759"/>
                    </a:lnTo>
                    <a:lnTo>
                      <a:pt x="14410" y="1759"/>
                    </a:lnTo>
                    <a:lnTo>
                      <a:pt x="14410" y="1988"/>
                    </a:lnTo>
                    <a:lnTo>
                      <a:pt x="14595" y="1988"/>
                    </a:lnTo>
                    <a:lnTo>
                      <a:pt x="14595" y="2179"/>
                    </a:lnTo>
                    <a:lnTo>
                      <a:pt x="14933" y="2179"/>
                    </a:lnTo>
                    <a:lnTo>
                      <a:pt x="14933" y="1988"/>
                    </a:lnTo>
                    <a:lnTo>
                      <a:pt x="15117" y="1988"/>
                    </a:lnTo>
                    <a:lnTo>
                      <a:pt x="15117" y="2179"/>
                    </a:lnTo>
                    <a:lnTo>
                      <a:pt x="15455" y="2179"/>
                    </a:lnTo>
                    <a:lnTo>
                      <a:pt x="15455" y="1988"/>
                    </a:lnTo>
                    <a:lnTo>
                      <a:pt x="15824" y="1988"/>
                    </a:lnTo>
                    <a:lnTo>
                      <a:pt x="15824" y="2179"/>
                    </a:lnTo>
                    <a:lnTo>
                      <a:pt x="15977" y="2179"/>
                    </a:lnTo>
                    <a:lnTo>
                      <a:pt x="15824" y="2408"/>
                    </a:lnTo>
                    <a:lnTo>
                      <a:pt x="15977" y="2408"/>
                    </a:lnTo>
                    <a:lnTo>
                      <a:pt x="16162" y="2638"/>
                    </a:lnTo>
                    <a:lnTo>
                      <a:pt x="16162" y="2408"/>
                    </a:lnTo>
                    <a:lnTo>
                      <a:pt x="16346" y="2408"/>
                    </a:lnTo>
                    <a:lnTo>
                      <a:pt x="16530" y="2638"/>
                    </a:lnTo>
                    <a:lnTo>
                      <a:pt x="16684" y="2638"/>
                    </a:lnTo>
                    <a:lnTo>
                      <a:pt x="16684" y="2408"/>
                    </a:lnTo>
                    <a:lnTo>
                      <a:pt x="17206" y="2408"/>
                    </a:lnTo>
                    <a:lnTo>
                      <a:pt x="17206" y="2638"/>
                    </a:lnTo>
                    <a:lnTo>
                      <a:pt x="17391" y="2638"/>
                    </a:lnTo>
                    <a:lnTo>
                      <a:pt x="17391" y="2408"/>
                    </a:lnTo>
                    <a:lnTo>
                      <a:pt x="17575" y="2179"/>
                    </a:lnTo>
                    <a:lnTo>
                      <a:pt x="17759" y="1988"/>
                    </a:lnTo>
                    <a:lnTo>
                      <a:pt x="17759" y="2179"/>
                    </a:lnTo>
                    <a:lnTo>
                      <a:pt x="17913" y="2179"/>
                    </a:lnTo>
                    <a:lnTo>
                      <a:pt x="17913" y="1988"/>
                    </a:lnTo>
                    <a:lnTo>
                      <a:pt x="18282" y="1988"/>
                    </a:lnTo>
                    <a:lnTo>
                      <a:pt x="18282" y="1300"/>
                    </a:lnTo>
                    <a:lnTo>
                      <a:pt x="18435" y="1300"/>
                    </a:lnTo>
                    <a:lnTo>
                      <a:pt x="18435" y="650"/>
                    </a:lnTo>
                    <a:lnTo>
                      <a:pt x="18988" y="650"/>
                    </a:lnTo>
                    <a:lnTo>
                      <a:pt x="18988" y="459"/>
                    </a:lnTo>
                    <a:lnTo>
                      <a:pt x="19142" y="459"/>
                    </a:lnTo>
                    <a:lnTo>
                      <a:pt x="19142" y="229"/>
                    </a:lnTo>
                    <a:lnTo>
                      <a:pt x="19326" y="229"/>
                    </a:lnTo>
                    <a:lnTo>
                      <a:pt x="19326" y="0"/>
                    </a:lnTo>
                    <a:lnTo>
                      <a:pt x="19326" y="229"/>
                    </a:lnTo>
                    <a:lnTo>
                      <a:pt x="19511" y="229"/>
                    </a:lnTo>
                    <a:lnTo>
                      <a:pt x="19511" y="0"/>
                    </a:lnTo>
                    <a:lnTo>
                      <a:pt x="19664" y="229"/>
                    </a:lnTo>
                    <a:lnTo>
                      <a:pt x="19664" y="459"/>
                    </a:lnTo>
                    <a:lnTo>
                      <a:pt x="19511" y="459"/>
                    </a:lnTo>
                    <a:lnTo>
                      <a:pt x="19511" y="650"/>
                    </a:lnTo>
                    <a:lnTo>
                      <a:pt x="19326" y="650"/>
                    </a:lnTo>
                    <a:lnTo>
                      <a:pt x="19326" y="879"/>
                    </a:lnTo>
                    <a:lnTo>
                      <a:pt x="19142" y="879"/>
                    </a:lnTo>
                    <a:lnTo>
                      <a:pt x="19142" y="1759"/>
                    </a:lnTo>
                    <a:lnTo>
                      <a:pt x="18988" y="1759"/>
                    </a:lnTo>
                    <a:lnTo>
                      <a:pt x="18988" y="1988"/>
                    </a:lnTo>
                    <a:lnTo>
                      <a:pt x="19326" y="1988"/>
                    </a:lnTo>
                    <a:lnTo>
                      <a:pt x="19511" y="2179"/>
                    </a:lnTo>
                    <a:lnTo>
                      <a:pt x="19511" y="2638"/>
                    </a:lnTo>
                    <a:lnTo>
                      <a:pt x="19664" y="2829"/>
                    </a:lnTo>
                    <a:lnTo>
                      <a:pt x="19664" y="3288"/>
                    </a:lnTo>
                    <a:lnTo>
                      <a:pt x="19849" y="3288"/>
                    </a:lnTo>
                    <a:lnTo>
                      <a:pt x="19849" y="3938"/>
                    </a:lnTo>
                    <a:lnTo>
                      <a:pt x="20033" y="3938"/>
                    </a:lnTo>
                    <a:lnTo>
                      <a:pt x="20033" y="4588"/>
                    </a:lnTo>
                    <a:lnTo>
                      <a:pt x="20217" y="4588"/>
                    </a:lnTo>
                    <a:lnTo>
                      <a:pt x="20217" y="4817"/>
                    </a:lnTo>
                    <a:lnTo>
                      <a:pt x="20893" y="4817"/>
                    </a:lnTo>
                    <a:lnTo>
                      <a:pt x="20893" y="5046"/>
                    </a:lnTo>
                    <a:lnTo>
                      <a:pt x="21078" y="5046"/>
                    </a:lnTo>
                    <a:lnTo>
                      <a:pt x="21078" y="5238"/>
                    </a:lnTo>
                    <a:lnTo>
                      <a:pt x="21446" y="5238"/>
                    </a:lnTo>
                    <a:lnTo>
                      <a:pt x="21446" y="5467"/>
                    </a:lnTo>
                    <a:lnTo>
                      <a:pt x="21600" y="5467"/>
                    </a:lnTo>
                    <a:lnTo>
                      <a:pt x="21600" y="5696"/>
                    </a:lnTo>
                    <a:lnTo>
                      <a:pt x="21446" y="5696"/>
                    </a:lnTo>
                    <a:lnTo>
                      <a:pt x="21600" y="5696"/>
                    </a:lnTo>
                    <a:lnTo>
                      <a:pt x="21600" y="6767"/>
                    </a:lnTo>
                    <a:lnTo>
                      <a:pt x="21446" y="6767"/>
                    </a:lnTo>
                    <a:lnTo>
                      <a:pt x="21446" y="6996"/>
                    </a:lnTo>
                    <a:lnTo>
                      <a:pt x="20893" y="6996"/>
                    </a:lnTo>
                    <a:lnTo>
                      <a:pt x="20893" y="7225"/>
                    </a:lnTo>
                    <a:lnTo>
                      <a:pt x="20555" y="7225"/>
                    </a:lnTo>
                    <a:lnTo>
                      <a:pt x="20555" y="7417"/>
                    </a:lnTo>
                    <a:lnTo>
                      <a:pt x="20371" y="7417"/>
                    </a:lnTo>
                    <a:lnTo>
                      <a:pt x="20217" y="7646"/>
                    </a:lnTo>
                    <a:lnTo>
                      <a:pt x="20217" y="7875"/>
                    </a:lnTo>
                    <a:lnTo>
                      <a:pt x="20033" y="7875"/>
                    </a:lnTo>
                    <a:lnTo>
                      <a:pt x="20033" y="8067"/>
                    </a:lnTo>
                    <a:lnTo>
                      <a:pt x="19849" y="8067"/>
                    </a:lnTo>
                    <a:lnTo>
                      <a:pt x="19849" y="8755"/>
                    </a:lnTo>
                    <a:lnTo>
                      <a:pt x="19664" y="8755"/>
                    </a:lnTo>
                    <a:lnTo>
                      <a:pt x="19664" y="8946"/>
                    </a:lnTo>
                    <a:lnTo>
                      <a:pt x="19326" y="8946"/>
                    </a:lnTo>
                    <a:lnTo>
                      <a:pt x="19326" y="9405"/>
                    </a:lnTo>
                    <a:lnTo>
                      <a:pt x="19142" y="9405"/>
                    </a:lnTo>
                    <a:lnTo>
                      <a:pt x="19142" y="9596"/>
                    </a:lnTo>
                    <a:lnTo>
                      <a:pt x="18804" y="9596"/>
                    </a:lnTo>
                    <a:lnTo>
                      <a:pt x="18804" y="9825"/>
                    </a:lnTo>
                    <a:lnTo>
                      <a:pt x="18620" y="9825"/>
                    </a:lnTo>
                    <a:lnTo>
                      <a:pt x="18620" y="10055"/>
                    </a:lnTo>
                    <a:lnTo>
                      <a:pt x="18804" y="10055"/>
                    </a:lnTo>
                    <a:lnTo>
                      <a:pt x="18435" y="10055"/>
                    </a:lnTo>
                    <a:lnTo>
                      <a:pt x="18435" y="10284"/>
                    </a:lnTo>
                    <a:lnTo>
                      <a:pt x="18620" y="10284"/>
                    </a:lnTo>
                    <a:lnTo>
                      <a:pt x="18620" y="10704"/>
                    </a:lnTo>
                    <a:lnTo>
                      <a:pt x="18804" y="10704"/>
                    </a:lnTo>
                    <a:lnTo>
                      <a:pt x="18804" y="10934"/>
                    </a:lnTo>
                    <a:lnTo>
                      <a:pt x="18988" y="10934"/>
                    </a:lnTo>
                    <a:lnTo>
                      <a:pt x="18988" y="11125"/>
                    </a:lnTo>
                    <a:lnTo>
                      <a:pt x="18988" y="10934"/>
                    </a:lnTo>
                    <a:lnTo>
                      <a:pt x="18988" y="11125"/>
                    </a:lnTo>
                    <a:lnTo>
                      <a:pt x="19142" y="11125"/>
                    </a:lnTo>
                    <a:lnTo>
                      <a:pt x="19142" y="11354"/>
                    </a:lnTo>
                    <a:lnTo>
                      <a:pt x="19326" y="11354"/>
                    </a:lnTo>
                    <a:lnTo>
                      <a:pt x="19326" y="11584"/>
                    </a:lnTo>
                    <a:lnTo>
                      <a:pt x="19511" y="11584"/>
                    </a:lnTo>
                    <a:lnTo>
                      <a:pt x="19326" y="11775"/>
                    </a:lnTo>
                    <a:lnTo>
                      <a:pt x="19326" y="12004"/>
                    </a:lnTo>
                    <a:lnTo>
                      <a:pt x="19511" y="12004"/>
                    </a:lnTo>
                    <a:lnTo>
                      <a:pt x="19326" y="12004"/>
                    </a:lnTo>
                    <a:lnTo>
                      <a:pt x="19326" y="12463"/>
                    </a:lnTo>
                    <a:lnTo>
                      <a:pt x="19142" y="12654"/>
                    </a:lnTo>
                    <a:lnTo>
                      <a:pt x="18988" y="12654"/>
                    </a:lnTo>
                    <a:lnTo>
                      <a:pt x="18988" y="12884"/>
                    </a:lnTo>
                    <a:lnTo>
                      <a:pt x="18804" y="12884"/>
                    </a:lnTo>
                    <a:lnTo>
                      <a:pt x="18804" y="13113"/>
                    </a:lnTo>
                    <a:lnTo>
                      <a:pt x="18435" y="13113"/>
                    </a:lnTo>
                    <a:lnTo>
                      <a:pt x="18435" y="13304"/>
                    </a:lnTo>
                    <a:lnTo>
                      <a:pt x="18282" y="13304"/>
                    </a:lnTo>
                    <a:lnTo>
                      <a:pt x="18097" y="13533"/>
                    </a:lnTo>
                    <a:lnTo>
                      <a:pt x="18097" y="13763"/>
                    </a:lnTo>
                    <a:lnTo>
                      <a:pt x="17575" y="13763"/>
                    </a:lnTo>
                    <a:lnTo>
                      <a:pt x="17575" y="13992"/>
                    </a:lnTo>
                    <a:lnTo>
                      <a:pt x="17391" y="13992"/>
                    </a:lnTo>
                    <a:lnTo>
                      <a:pt x="17575" y="13992"/>
                    </a:lnTo>
                    <a:lnTo>
                      <a:pt x="17391" y="14183"/>
                    </a:lnTo>
                    <a:lnTo>
                      <a:pt x="17206" y="14183"/>
                    </a:lnTo>
                    <a:lnTo>
                      <a:pt x="17053" y="13992"/>
                    </a:lnTo>
                    <a:lnTo>
                      <a:pt x="17053" y="14183"/>
                    </a:lnTo>
                    <a:lnTo>
                      <a:pt x="16868" y="14183"/>
                    </a:lnTo>
                    <a:lnTo>
                      <a:pt x="16868" y="14642"/>
                    </a:lnTo>
                    <a:lnTo>
                      <a:pt x="16684" y="14642"/>
                    </a:lnTo>
                    <a:lnTo>
                      <a:pt x="16684" y="15063"/>
                    </a:lnTo>
                    <a:lnTo>
                      <a:pt x="16530" y="15063"/>
                    </a:lnTo>
                    <a:lnTo>
                      <a:pt x="16346" y="15292"/>
                    </a:lnTo>
                    <a:lnTo>
                      <a:pt x="16162" y="15292"/>
                    </a:lnTo>
                    <a:lnTo>
                      <a:pt x="16162" y="15521"/>
                    </a:lnTo>
                    <a:lnTo>
                      <a:pt x="15977" y="15521"/>
                    </a:lnTo>
                    <a:lnTo>
                      <a:pt x="15824" y="15713"/>
                    </a:lnTo>
                    <a:lnTo>
                      <a:pt x="15824" y="15942"/>
                    </a:lnTo>
                    <a:lnTo>
                      <a:pt x="15639" y="15942"/>
                    </a:lnTo>
                    <a:lnTo>
                      <a:pt x="15639" y="16362"/>
                    </a:lnTo>
                    <a:lnTo>
                      <a:pt x="15455" y="16362"/>
                    </a:lnTo>
                    <a:lnTo>
                      <a:pt x="15639" y="16362"/>
                    </a:lnTo>
                    <a:lnTo>
                      <a:pt x="15455" y="16592"/>
                    </a:lnTo>
                    <a:lnTo>
                      <a:pt x="15117" y="16592"/>
                    </a:lnTo>
                    <a:lnTo>
                      <a:pt x="15117" y="16362"/>
                    </a:lnTo>
                    <a:lnTo>
                      <a:pt x="14595" y="16362"/>
                    </a:lnTo>
                    <a:lnTo>
                      <a:pt x="14595" y="16592"/>
                    </a:lnTo>
                    <a:lnTo>
                      <a:pt x="14410" y="16592"/>
                    </a:lnTo>
                    <a:lnTo>
                      <a:pt x="14410" y="16821"/>
                    </a:lnTo>
                    <a:lnTo>
                      <a:pt x="14226" y="16821"/>
                    </a:lnTo>
                    <a:lnTo>
                      <a:pt x="14226" y="17051"/>
                    </a:lnTo>
                    <a:lnTo>
                      <a:pt x="13888" y="17051"/>
                    </a:lnTo>
                    <a:lnTo>
                      <a:pt x="13888" y="17242"/>
                    </a:lnTo>
                    <a:lnTo>
                      <a:pt x="13888" y="17051"/>
                    </a:lnTo>
                    <a:lnTo>
                      <a:pt x="13888" y="17242"/>
                    </a:lnTo>
                    <a:lnTo>
                      <a:pt x="13704" y="17242"/>
                    </a:lnTo>
                    <a:lnTo>
                      <a:pt x="13704" y="17051"/>
                    </a:lnTo>
                    <a:lnTo>
                      <a:pt x="13519" y="17242"/>
                    </a:lnTo>
                    <a:lnTo>
                      <a:pt x="13519" y="16821"/>
                    </a:lnTo>
                    <a:lnTo>
                      <a:pt x="13366" y="16821"/>
                    </a:lnTo>
                    <a:lnTo>
                      <a:pt x="13366" y="17051"/>
                    </a:lnTo>
                    <a:lnTo>
                      <a:pt x="13181" y="17242"/>
                    </a:lnTo>
                    <a:lnTo>
                      <a:pt x="13181" y="17051"/>
                    </a:lnTo>
                    <a:lnTo>
                      <a:pt x="13181" y="17242"/>
                    </a:lnTo>
                    <a:lnTo>
                      <a:pt x="12997" y="17242"/>
                    </a:lnTo>
                    <a:lnTo>
                      <a:pt x="12997" y="17051"/>
                    </a:lnTo>
                    <a:lnTo>
                      <a:pt x="12843" y="17051"/>
                    </a:lnTo>
                    <a:lnTo>
                      <a:pt x="12843" y="17242"/>
                    </a:lnTo>
                    <a:lnTo>
                      <a:pt x="12659" y="17471"/>
                    </a:lnTo>
                    <a:lnTo>
                      <a:pt x="12659" y="17701"/>
                    </a:lnTo>
                    <a:lnTo>
                      <a:pt x="12843" y="17892"/>
                    </a:lnTo>
                    <a:lnTo>
                      <a:pt x="12997" y="17892"/>
                    </a:lnTo>
                    <a:lnTo>
                      <a:pt x="12843" y="18121"/>
                    </a:lnTo>
                    <a:lnTo>
                      <a:pt x="12659" y="18121"/>
                    </a:lnTo>
                    <a:lnTo>
                      <a:pt x="12659" y="18771"/>
                    </a:lnTo>
                    <a:lnTo>
                      <a:pt x="12475" y="19000"/>
                    </a:lnTo>
                    <a:lnTo>
                      <a:pt x="12659" y="19230"/>
                    </a:lnTo>
                    <a:lnTo>
                      <a:pt x="12843" y="19230"/>
                    </a:lnTo>
                    <a:lnTo>
                      <a:pt x="12843" y="19421"/>
                    </a:lnTo>
                    <a:lnTo>
                      <a:pt x="12843" y="19230"/>
                    </a:lnTo>
                    <a:lnTo>
                      <a:pt x="12997" y="19421"/>
                    </a:lnTo>
                    <a:lnTo>
                      <a:pt x="13366" y="19421"/>
                    </a:lnTo>
                    <a:lnTo>
                      <a:pt x="13366" y="19650"/>
                    </a:lnTo>
                    <a:lnTo>
                      <a:pt x="12997" y="19650"/>
                    </a:lnTo>
                    <a:lnTo>
                      <a:pt x="12997" y="19880"/>
                    </a:lnTo>
                    <a:lnTo>
                      <a:pt x="12659" y="19880"/>
                    </a:lnTo>
                    <a:lnTo>
                      <a:pt x="12659" y="20071"/>
                    </a:lnTo>
                    <a:lnTo>
                      <a:pt x="12475" y="20071"/>
                    </a:lnTo>
                    <a:lnTo>
                      <a:pt x="12475" y="20300"/>
                    </a:lnTo>
                    <a:lnTo>
                      <a:pt x="12290" y="20300"/>
                    </a:lnTo>
                    <a:lnTo>
                      <a:pt x="12475" y="20530"/>
                    </a:lnTo>
                    <a:lnTo>
                      <a:pt x="12290" y="20530"/>
                    </a:lnTo>
                    <a:lnTo>
                      <a:pt x="12290" y="20759"/>
                    </a:lnTo>
                    <a:lnTo>
                      <a:pt x="12137" y="20759"/>
                    </a:lnTo>
                    <a:lnTo>
                      <a:pt x="12290" y="20759"/>
                    </a:lnTo>
                    <a:lnTo>
                      <a:pt x="12290" y="20950"/>
                    </a:lnTo>
                    <a:lnTo>
                      <a:pt x="12137" y="21179"/>
                    </a:lnTo>
                    <a:lnTo>
                      <a:pt x="11430" y="21179"/>
                    </a:lnTo>
                    <a:lnTo>
                      <a:pt x="11430" y="20950"/>
                    </a:lnTo>
                    <a:lnTo>
                      <a:pt x="11246" y="20950"/>
                    </a:lnTo>
                    <a:lnTo>
                      <a:pt x="11246" y="20759"/>
                    </a:lnTo>
                    <a:lnTo>
                      <a:pt x="11061" y="20759"/>
                    </a:lnTo>
                    <a:lnTo>
                      <a:pt x="11061" y="20530"/>
                    </a:lnTo>
                    <a:lnTo>
                      <a:pt x="9832" y="20530"/>
                    </a:lnTo>
                    <a:lnTo>
                      <a:pt x="9832" y="20300"/>
                    </a:lnTo>
                    <a:lnTo>
                      <a:pt x="9494" y="20300"/>
                    </a:lnTo>
                    <a:lnTo>
                      <a:pt x="9310" y="20530"/>
                    </a:lnTo>
                    <a:lnTo>
                      <a:pt x="9310" y="20300"/>
                    </a:lnTo>
                    <a:lnTo>
                      <a:pt x="8972" y="20300"/>
                    </a:lnTo>
                    <a:lnTo>
                      <a:pt x="8787" y="20530"/>
                    </a:lnTo>
                    <a:lnTo>
                      <a:pt x="8603" y="20530"/>
                    </a:lnTo>
                    <a:lnTo>
                      <a:pt x="8603" y="20759"/>
                    </a:lnTo>
                    <a:lnTo>
                      <a:pt x="8603" y="20530"/>
                    </a:lnTo>
                    <a:lnTo>
                      <a:pt x="8450" y="20759"/>
                    </a:lnTo>
                    <a:lnTo>
                      <a:pt x="8081" y="20759"/>
                    </a:lnTo>
                    <a:lnTo>
                      <a:pt x="8081" y="20950"/>
                    </a:lnTo>
                    <a:lnTo>
                      <a:pt x="7743" y="20950"/>
                    </a:lnTo>
                    <a:lnTo>
                      <a:pt x="7743" y="21179"/>
                    </a:lnTo>
                    <a:lnTo>
                      <a:pt x="7558" y="21179"/>
                    </a:lnTo>
                    <a:lnTo>
                      <a:pt x="7558" y="21409"/>
                    </a:lnTo>
                    <a:lnTo>
                      <a:pt x="6852" y="21409"/>
                    </a:lnTo>
                    <a:lnTo>
                      <a:pt x="6852" y="21600"/>
                    </a:lnTo>
                    <a:lnTo>
                      <a:pt x="6852" y="21409"/>
                    </a:lnTo>
                    <a:lnTo>
                      <a:pt x="6329" y="21409"/>
                    </a:lnTo>
                    <a:lnTo>
                      <a:pt x="6329" y="21179"/>
                    </a:lnTo>
                    <a:lnTo>
                      <a:pt x="5623" y="21179"/>
                    </a:lnTo>
                    <a:lnTo>
                      <a:pt x="5623" y="20950"/>
                    </a:lnTo>
                    <a:lnTo>
                      <a:pt x="5285" y="20950"/>
                    </a:lnTo>
                    <a:lnTo>
                      <a:pt x="5285" y="20759"/>
                    </a:lnTo>
                    <a:lnTo>
                      <a:pt x="5100" y="20759"/>
                    </a:lnTo>
                    <a:lnTo>
                      <a:pt x="4916" y="20530"/>
                    </a:lnTo>
                    <a:lnTo>
                      <a:pt x="4916" y="20071"/>
                    </a:lnTo>
                    <a:lnTo>
                      <a:pt x="4762" y="20071"/>
                    </a:lnTo>
                    <a:lnTo>
                      <a:pt x="4762" y="19230"/>
                    </a:lnTo>
                    <a:lnTo>
                      <a:pt x="4578" y="19230"/>
                    </a:lnTo>
                    <a:lnTo>
                      <a:pt x="4578" y="18542"/>
                    </a:lnTo>
                    <a:lnTo>
                      <a:pt x="4209" y="18542"/>
                    </a:lnTo>
                    <a:lnTo>
                      <a:pt x="4056" y="18350"/>
                    </a:lnTo>
                    <a:lnTo>
                      <a:pt x="4056" y="18542"/>
                    </a:lnTo>
                    <a:lnTo>
                      <a:pt x="3871" y="18542"/>
                    </a:lnTo>
                    <a:lnTo>
                      <a:pt x="3871" y="18350"/>
                    </a:lnTo>
                    <a:lnTo>
                      <a:pt x="3687" y="18350"/>
                    </a:lnTo>
                    <a:lnTo>
                      <a:pt x="3687" y="18542"/>
                    </a:lnTo>
                    <a:lnTo>
                      <a:pt x="3533" y="18350"/>
                    </a:lnTo>
                    <a:lnTo>
                      <a:pt x="3349" y="18350"/>
                    </a:lnTo>
                    <a:lnTo>
                      <a:pt x="3349" y="18121"/>
                    </a:lnTo>
                    <a:lnTo>
                      <a:pt x="2827" y="18121"/>
                    </a:lnTo>
                    <a:lnTo>
                      <a:pt x="2827" y="17892"/>
                    </a:lnTo>
                    <a:lnTo>
                      <a:pt x="1936" y="17892"/>
                    </a:lnTo>
                    <a:lnTo>
                      <a:pt x="1936" y="17701"/>
                    </a:lnTo>
                    <a:lnTo>
                      <a:pt x="1936" y="17892"/>
                    </a:lnTo>
                    <a:lnTo>
                      <a:pt x="1751" y="17892"/>
                    </a:lnTo>
                    <a:lnTo>
                      <a:pt x="1598" y="17701"/>
                    </a:lnTo>
                    <a:lnTo>
                      <a:pt x="1598" y="17471"/>
                    </a:lnTo>
                    <a:lnTo>
                      <a:pt x="1075" y="17471"/>
                    </a:lnTo>
                    <a:lnTo>
                      <a:pt x="1075" y="17242"/>
                    </a:lnTo>
                    <a:lnTo>
                      <a:pt x="1075" y="17471"/>
                    </a:lnTo>
                    <a:lnTo>
                      <a:pt x="891" y="17471"/>
                    </a:lnTo>
                    <a:lnTo>
                      <a:pt x="891" y="17242"/>
                    </a:lnTo>
                    <a:lnTo>
                      <a:pt x="707" y="17242"/>
                    </a:lnTo>
                    <a:lnTo>
                      <a:pt x="522" y="17051"/>
                    </a:lnTo>
                    <a:lnTo>
                      <a:pt x="369" y="16821"/>
                    </a:lnTo>
                    <a:lnTo>
                      <a:pt x="522" y="16821"/>
                    </a:lnTo>
                    <a:lnTo>
                      <a:pt x="184" y="16821"/>
                    </a:lnTo>
                    <a:lnTo>
                      <a:pt x="184" y="16592"/>
                    </a:lnTo>
                    <a:lnTo>
                      <a:pt x="0" y="16592"/>
                    </a:lnTo>
                    <a:lnTo>
                      <a:pt x="0" y="15942"/>
                    </a:lnTo>
                    <a:lnTo>
                      <a:pt x="184" y="15942"/>
                    </a:lnTo>
                    <a:lnTo>
                      <a:pt x="184" y="15521"/>
                    </a:lnTo>
                    <a:lnTo>
                      <a:pt x="369" y="15521"/>
                    </a:lnTo>
                    <a:lnTo>
                      <a:pt x="369" y="15292"/>
                    </a:lnTo>
                    <a:lnTo>
                      <a:pt x="184" y="15292"/>
                    </a:lnTo>
                    <a:lnTo>
                      <a:pt x="184" y="14833"/>
                    </a:lnTo>
                    <a:lnTo>
                      <a:pt x="522" y="14833"/>
                    </a:lnTo>
                    <a:lnTo>
                      <a:pt x="522" y="15063"/>
                    </a:lnTo>
                    <a:lnTo>
                      <a:pt x="707" y="15063"/>
                    </a:lnTo>
                    <a:lnTo>
                      <a:pt x="707" y="1483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39" name="Shape 2964"/>
              <p:cNvSpPr/>
              <p:nvPr/>
            </p:nvSpPr>
            <p:spPr>
              <a:xfrm>
                <a:off x="10167259" y="4627707"/>
                <a:ext cx="1230513" cy="13604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293" y="17541"/>
                    </a:moveTo>
                    <a:lnTo>
                      <a:pt x="10166" y="17541"/>
                    </a:lnTo>
                    <a:lnTo>
                      <a:pt x="10166" y="17679"/>
                    </a:lnTo>
                    <a:lnTo>
                      <a:pt x="10293" y="17679"/>
                    </a:lnTo>
                    <a:lnTo>
                      <a:pt x="10166" y="17794"/>
                    </a:lnTo>
                    <a:lnTo>
                      <a:pt x="9862" y="17794"/>
                    </a:lnTo>
                    <a:lnTo>
                      <a:pt x="9862" y="17931"/>
                    </a:lnTo>
                    <a:lnTo>
                      <a:pt x="9710" y="17794"/>
                    </a:lnTo>
                    <a:lnTo>
                      <a:pt x="9710" y="17931"/>
                    </a:lnTo>
                    <a:lnTo>
                      <a:pt x="9710" y="17794"/>
                    </a:lnTo>
                    <a:lnTo>
                      <a:pt x="9710" y="17931"/>
                    </a:lnTo>
                    <a:lnTo>
                      <a:pt x="9279" y="17931"/>
                    </a:lnTo>
                    <a:lnTo>
                      <a:pt x="9279" y="17794"/>
                    </a:lnTo>
                    <a:lnTo>
                      <a:pt x="9152" y="17679"/>
                    </a:lnTo>
                    <a:lnTo>
                      <a:pt x="9000" y="17679"/>
                    </a:lnTo>
                    <a:lnTo>
                      <a:pt x="9000" y="17404"/>
                    </a:lnTo>
                    <a:lnTo>
                      <a:pt x="8848" y="17404"/>
                    </a:lnTo>
                    <a:lnTo>
                      <a:pt x="8848" y="17014"/>
                    </a:lnTo>
                    <a:lnTo>
                      <a:pt x="8696" y="17014"/>
                    </a:lnTo>
                    <a:lnTo>
                      <a:pt x="8696" y="17152"/>
                    </a:lnTo>
                    <a:lnTo>
                      <a:pt x="8569" y="17152"/>
                    </a:lnTo>
                    <a:lnTo>
                      <a:pt x="8569" y="17266"/>
                    </a:lnTo>
                    <a:lnTo>
                      <a:pt x="8569" y="17152"/>
                    </a:lnTo>
                    <a:lnTo>
                      <a:pt x="8417" y="17152"/>
                    </a:lnTo>
                    <a:lnTo>
                      <a:pt x="8417" y="17404"/>
                    </a:lnTo>
                    <a:lnTo>
                      <a:pt x="8138" y="17404"/>
                    </a:lnTo>
                    <a:lnTo>
                      <a:pt x="8138" y="17541"/>
                    </a:lnTo>
                    <a:lnTo>
                      <a:pt x="8138" y="17404"/>
                    </a:lnTo>
                    <a:lnTo>
                      <a:pt x="7986" y="17404"/>
                    </a:lnTo>
                    <a:lnTo>
                      <a:pt x="7986" y="17541"/>
                    </a:lnTo>
                    <a:lnTo>
                      <a:pt x="8138" y="17679"/>
                    </a:lnTo>
                    <a:lnTo>
                      <a:pt x="7986" y="17679"/>
                    </a:lnTo>
                    <a:lnTo>
                      <a:pt x="8138" y="17679"/>
                    </a:lnTo>
                    <a:lnTo>
                      <a:pt x="7986" y="17679"/>
                    </a:lnTo>
                    <a:lnTo>
                      <a:pt x="7986" y="17794"/>
                    </a:lnTo>
                    <a:lnTo>
                      <a:pt x="7986" y="17679"/>
                    </a:lnTo>
                    <a:lnTo>
                      <a:pt x="7834" y="17679"/>
                    </a:lnTo>
                    <a:lnTo>
                      <a:pt x="7834" y="17404"/>
                    </a:lnTo>
                    <a:lnTo>
                      <a:pt x="7403" y="17404"/>
                    </a:lnTo>
                    <a:lnTo>
                      <a:pt x="7403" y="17152"/>
                    </a:lnTo>
                    <a:lnTo>
                      <a:pt x="7251" y="17152"/>
                    </a:lnTo>
                    <a:lnTo>
                      <a:pt x="7251" y="17266"/>
                    </a:lnTo>
                    <a:lnTo>
                      <a:pt x="6972" y="17266"/>
                    </a:lnTo>
                    <a:lnTo>
                      <a:pt x="6972" y="17404"/>
                    </a:lnTo>
                    <a:lnTo>
                      <a:pt x="6820" y="17404"/>
                    </a:lnTo>
                    <a:lnTo>
                      <a:pt x="6820" y="17541"/>
                    </a:lnTo>
                    <a:lnTo>
                      <a:pt x="6972" y="17541"/>
                    </a:lnTo>
                    <a:lnTo>
                      <a:pt x="7124" y="17679"/>
                    </a:lnTo>
                    <a:lnTo>
                      <a:pt x="6972" y="17679"/>
                    </a:lnTo>
                    <a:lnTo>
                      <a:pt x="7124" y="17794"/>
                    </a:lnTo>
                    <a:lnTo>
                      <a:pt x="7251" y="17794"/>
                    </a:lnTo>
                    <a:lnTo>
                      <a:pt x="7251" y="18069"/>
                    </a:lnTo>
                    <a:lnTo>
                      <a:pt x="7124" y="18069"/>
                    </a:lnTo>
                    <a:lnTo>
                      <a:pt x="7124" y="18183"/>
                    </a:lnTo>
                    <a:lnTo>
                      <a:pt x="6972" y="18183"/>
                    </a:lnTo>
                    <a:lnTo>
                      <a:pt x="6972" y="18321"/>
                    </a:lnTo>
                    <a:lnTo>
                      <a:pt x="6668" y="18321"/>
                    </a:lnTo>
                    <a:lnTo>
                      <a:pt x="6668" y="18459"/>
                    </a:lnTo>
                    <a:lnTo>
                      <a:pt x="6820" y="18459"/>
                    </a:lnTo>
                    <a:lnTo>
                      <a:pt x="6820" y="18596"/>
                    </a:lnTo>
                    <a:lnTo>
                      <a:pt x="6972" y="18596"/>
                    </a:lnTo>
                    <a:lnTo>
                      <a:pt x="7124" y="18711"/>
                    </a:lnTo>
                    <a:lnTo>
                      <a:pt x="7251" y="18711"/>
                    </a:lnTo>
                    <a:lnTo>
                      <a:pt x="7403" y="18848"/>
                    </a:lnTo>
                    <a:lnTo>
                      <a:pt x="7403" y="18459"/>
                    </a:lnTo>
                    <a:lnTo>
                      <a:pt x="7555" y="18459"/>
                    </a:lnTo>
                    <a:lnTo>
                      <a:pt x="7555" y="18321"/>
                    </a:lnTo>
                    <a:lnTo>
                      <a:pt x="7834" y="18321"/>
                    </a:lnTo>
                    <a:lnTo>
                      <a:pt x="7834" y="18183"/>
                    </a:lnTo>
                    <a:lnTo>
                      <a:pt x="7986" y="18183"/>
                    </a:lnTo>
                    <a:lnTo>
                      <a:pt x="7986" y="18711"/>
                    </a:lnTo>
                    <a:lnTo>
                      <a:pt x="8265" y="18711"/>
                    </a:lnTo>
                    <a:lnTo>
                      <a:pt x="8417" y="18848"/>
                    </a:lnTo>
                    <a:lnTo>
                      <a:pt x="8417" y="18986"/>
                    </a:lnTo>
                    <a:lnTo>
                      <a:pt x="8569" y="19101"/>
                    </a:lnTo>
                    <a:lnTo>
                      <a:pt x="8696" y="19101"/>
                    </a:lnTo>
                    <a:lnTo>
                      <a:pt x="8569" y="19101"/>
                    </a:lnTo>
                    <a:lnTo>
                      <a:pt x="8569" y="18986"/>
                    </a:lnTo>
                    <a:lnTo>
                      <a:pt x="8696" y="18986"/>
                    </a:lnTo>
                    <a:lnTo>
                      <a:pt x="8569" y="18986"/>
                    </a:lnTo>
                    <a:lnTo>
                      <a:pt x="8569" y="18711"/>
                    </a:lnTo>
                    <a:lnTo>
                      <a:pt x="8696" y="18711"/>
                    </a:lnTo>
                    <a:lnTo>
                      <a:pt x="8696" y="18596"/>
                    </a:lnTo>
                    <a:lnTo>
                      <a:pt x="9152" y="18596"/>
                    </a:lnTo>
                    <a:lnTo>
                      <a:pt x="9152" y="18711"/>
                    </a:lnTo>
                    <a:lnTo>
                      <a:pt x="9000" y="18711"/>
                    </a:lnTo>
                    <a:lnTo>
                      <a:pt x="9000" y="18848"/>
                    </a:lnTo>
                    <a:lnTo>
                      <a:pt x="9279" y="18848"/>
                    </a:lnTo>
                    <a:lnTo>
                      <a:pt x="9279" y="19101"/>
                    </a:lnTo>
                    <a:lnTo>
                      <a:pt x="9583" y="19376"/>
                    </a:lnTo>
                    <a:lnTo>
                      <a:pt x="9583" y="19513"/>
                    </a:lnTo>
                    <a:lnTo>
                      <a:pt x="9862" y="19513"/>
                    </a:lnTo>
                    <a:lnTo>
                      <a:pt x="9862" y="19376"/>
                    </a:lnTo>
                    <a:lnTo>
                      <a:pt x="10014" y="19376"/>
                    </a:lnTo>
                    <a:lnTo>
                      <a:pt x="10014" y="19238"/>
                    </a:lnTo>
                    <a:lnTo>
                      <a:pt x="10166" y="19101"/>
                    </a:lnTo>
                    <a:lnTo>
                      <a:pt x="10293" y="19101"/>
                    </a:lnTo>
                    <a:lnTo>
                      <a:pt x="10293" y="18848"/>
                    </a:lnTo>
                    <a:lnTo>
                      <a:pt x="10445" y="18848"/>
                    </a:lnTo>
                    <a:lnTo>
                      <a:pt x="10445" y="18711"/>
                    </a:lnTo>
                    <a:lnTo>
                      <a:pt x="10597" y="18711"/>
                    </a:lnTo>
                    <a:lnTo>
                      <a:pt x="10445" y="18596"/>
                    </a:lnTo>
                    <a:lnTo>
                      <a:pt x="10597" y="18596"/>
                    </a:lnTo>
                    <a:lnTo>
                      <a:pt x="10597" y="18183"/>
                    </a:lnTo>
                    <a:lnTo>
                      <a:pt x="10876" y="18183"/>
                    </a:lnTo>
                    <a:lnTo>
                      <a:pt x="10876" y="17931"/>
                    </a:lnTo>
                    <a:lnTo>
                      <a:pt x="10724" y="18069"/>
                    </a:lnTo>
                    <a:lnTo>
                      <a:pt x="10724" y="17794"/>
                    </a:lnTo>
                    <a:lnTo>
                      <a:pt x="10597" y="17794"/>
                    </a:lnTo>
                    <a:lnTo>
                      <a:pt x="10597" y="17931"/>
                    </a:lnTo>
                    <a:lnTo>
                      <a:pt x="10445" y="17931"/>
                    </a:lnTo>
                    <a:lnTo>
                      <a:pt x="10445" y="17541"/>
                    </a:lnTo>
                    <a:lnTo>
                      <a:pt x="10293" y="17541"/>
                    </a:lnTo>
                    <a:close/>
                    <a:moveTo>
                      <a:pt x="14349" y="7842"/>
                    </a:moveTo>
                    <a:lnTo>
                      <a:pt x="14070" y="7842"/>
                    </a:lnTo>
                    <a:lnTo>
                      <a:pt x="14070" y="7980"/>
                    </a:lnTo>
                    <a:lnTo>
                      <a:pt x="13487" y="7980"/>
                    </a:lnTo>
                    <a:lnTo>
                      <a:pt x="13487" y="8117"/>
                    </a:lnTo>
                    <a:lnTo>
                      <a:pt x="13639" y="8117"/>
                    </a:lnTo>
                    <a:lnTo>
                      <a:pt x="13487" y="8117"/>
                    </a:lnTo>
                    <a:lnTo>
                      <a:pt x="13487" y="8369"/>
                    </a:lnTo>
                    <a:lnTo>
                      <a:pt x="13335" y="8369"/>
                    </a:lnTo>
                    <a:lnTo>
                      <a:pt x="13335" y="8507"/>
                    </a:lnTo>
                    <a:lnTo>
                      <a:pt x="12777" y="8507"/>
                    </a:lnTo>
                    <a:lnTo>
                      <a:pt x="12777" y="8369"/>
                    </a:lnTo>
                    <a:lnTo>
                      <a:pt x="12777" y="8507"/>
                    </a:lnTo>
                    <a:lnTo>
                      <a:pt x="12777" y="8369"/>
                    </a:lnTo>
                    <a:lnTo>
                      <a:pt x="12625" y="8369"/>
                    </a:lnTo>
                    <a:lnTo>
                      <a:pt x="12625" y="8255"/>
                    </a:lnTo>
                    <a:lnTo>
                      <a:pt x="12473" y="8255"/>
                    </a:lnTo>
                    <a:lnTo>
                      <a:pt x="12473" y="8117"/>
                    </a:lnTo>
                    <a:lnTo>
                      <a:pt x="12321" y="8117"/>
                    </a:lnTo>
                    <a:lnTo>
                      <a:pt x="12321" y="7980"/>
                    </a:lnTo>
                    <a:lnTo>
                      <a:pt x="12194" y="7980"/>
                    </a:lnTo>
                    <a:lnTo>
                      <a:pt x="12321" y="7980"/>
                    </a:lnTo>
                    <a:lnTo>
                      <a:pt x="12321" y="7842"/>
                    </a:lnTo>
                    <a:lnTo>
                      <a:pt x="12194" y="7842"/>
                    </a:lnTo>
                    <a:lnTo>
                      <a:pt x="12321" y="7842"/>
                    </a:lnTo>
                    <a:lnTo>
                      <a:pt x="12321" y="7590"/>
                    </a:lnTo>
                    <a:lnTo>
                      <a:pt x="12473" y="7590"/>
                    </a:lnTo>
                    <a:lnTo>
                      <a:pt x="12473" y="7452"/>
                    </a:lnTo>
                    <a:lnTo>
                      <a:pt x="12321" y="7452"/>
                    </a:lnTo>
                    <a:lnTo>
                      <a:pt x="12321" y="7338"/>
                    </a:lnTo>
                    <a:lnTo>
                      <a:pt x="12473" y="7200"/>
                    </a:lnTo>
                    <a:lnTo>
                      <a:pt x="12473" y="6283"/>
                    </a:lnTo>
                    <a:lnTo>
                      <a:pt x="12625" y="6283"/>
                    </a:lnTo>
                    <a:lnTo>
                      <a:pt x="12625" y="6145"/>
                    </a:lnTo>
                    <a:lnTo>
                      <a:pt x="12473" y="6145"/>
                    </a:lnTo>
                    <a:lnTo>
                      <a:pt x="12625" y="6145"/>
                    </a:lnTo>
                    <a:lnTo>
                      <a:pt x="12625" y="5755"/>
                    </a:lnTo>
                    <a:lnTo>
                      <a:pt x="12777" y="5755"/>
                    </a:lnTo>
                    <a:lnTo>
                      <a:pt x="12777" y="5503"/>
                    </a:lnTo>
                    <a:lnTo>
                      <a:pt x="12625" y="5503"/>
                    </a:lnTo>
                    <a:lnTo>
                      <a:pt x="12777" y="5503"/>
                    </a:lnTo>
                    <a:lnTo>
                      <a:pt x="12777" y="5228"/>
                    </a:lnTo>
                    <a:lnTo>
                      <a:pt x="12904" y="5228"/>
                    </a:lnTo>
                    <a:lnTo>
                      <a:pt x="12904" y="4976"/>
                    </a:lnTo>
                    <a:lnTo>
                      <a:pt x="12777" y="4976"/>
                    </a:lnTo>
                    <a:lnTo>
                      <a:pt x="12777" y="4838"/>
                    </a:lnTo>
                    <a:lnTo>
                      <a:pt x="12777" y="4976"/>
                    </a:lnTo>
                    <a:lnTo>
                      <a:pt x="12473" y="4976"/>
                    </a:lnTo>
                    <a:lnTo>
                      <a:pt x="12473" y="4838"/>
                    </a:lnTo>
                    <a:lnTo>
                      <a:pt x="12321" y="4838"/>
                    </a:lnTo>
                    <a:lnTo>
                      <a:pt x="12321" y="4701"/>
                    </a:lnTo>
                    <a:lnTo>
                      <a:pt x="12321" y="4838"/>
                    </a:lnTo>
                    <a:lnTo>
                      <a:pt x="12321" y="4701"/>
                    </a:lnTo>
                    <a:lnTo>
                      <a:pt x="12194" y="4701"/>
                    </a:lnTo>
                    <a:lnTo>
                      <a:pt x="12194" y="4838"/>
                    </a:lnTo>
                    <a:lnTo>
                      <a:pt x="12194" y="4311"/>
                    </a:lnTo>
                    <a:lnTo>
                      <a:pt x="12042" y="4311"/>
                    </a:lnTo>
                    <a:lnTo>
                      <a:pt x="12042" y="4196"/>
                    </a:lnTo>
                    <a:lnTo>
                      <a:pt x="11890" y="4196"/>
                    </a:lnTo>
                    <a:lnTo>
                      <a:pt x="12042" y="4196"/>
                    </a:lnTo>
                    <a:lnTo>
                      <a:pt x="11890" y="4196"/>
                    </a:lnTo>
                    <a:lnTo>
                      <a:pt x="11890" y="4059"/>
                    </a:lnTo>
                    <a:lnTo>
                      <a:pt x="11763" y="4059"/>
                    </a:lnTo>
                    <a:lnTo>
                      <a:pt x="11890" y="4059"/>
                    </a:lnTo>
                    <a:lnTo>
                      <a:pt x="11763" y="3921"/>
                    </a:lnTo>
                    <a:lnTo>
                      <a:pt x="11763" y="3783"/>
                    </a:lnTo>
                    <a:lnTo>
                      <a:pt x="11890" y="3783"/>
                    </a:lnTo>
                    <a:lnTo>
                      <a:pt x="11890" y="3669"/>
                    </a:lnTo>
                    <a:lnTo>
                      <a:pt x="12042" y="3669"/>
                    </a:lnTo>
                    <a:lnTo>
                      <a:pt x="12042" y="3004"/>
                    </a:lnTo>
                    <a:lnTo>
                      <a:pt x="11890" y="3004"/>
                    </a:lnTo>
                    <a:lnTo>
                      <a:pt x="11890" y="2866"/>
                    </a:lnTo>
                    <a:lnTo>
                      <a:pt x="11890" y="3004"/>
                    </a:lnTo>
                    <a:lnTo>
                      <a:pt x="11459" y="3004"/>
                    </a:lnTo>
                    <a:lnTo>
                      <a:pt x="11459" y="2866"/>
                    </a:lnTo>
                    <a:lnTo>
                      <a:pt x="11307" y="2866"/>
                    </a:lnTo>
                    <a:lnTo>
                      <a:pt x="11307" y="2752"/>
                    </a:lnTo>
                    <a:lnTo>
                      <a:pt x="11459" y="2752"/>
                    </a:lnTo>
                    <a:lnTo>
                      <a:pt x="11459" y="2362"/>
                    </a:lnTo>
                    <a:lnTo>
                      <a:pt x="11611" y="2362"/>
                    </a:lnTo>
                    <a:lnTo>
                      <a:pt x="11611" y="2224"/>
                    </a:lnTo>
                    <a:lnTo>
                      <a:pt x="11459" y="2224"/>
                    </a:lnTo>
                    <a:lnTo>
                      <a:pt x="11459" y="1972"/>
                    </a:lnTo>
                    <a:lnTo>
                      <a:pt x="11307" y="1972"/>
                    </a:lnTo>
                    <a:lnTo>
                      <a:pt x="11459" y="1972"/>
                    </a:lnTo>
                    <a:lnTo>
                      <a:pt x="11307" y="1972"/>
                    </a:lnTo>
                    <a:lnTo>
                      <a:pt x="11307" y="1559"/>
                    </a:lnTo>
                    <a:lnTo>
                      <a:pt x="11180" y="1559"/>
                    </a:lnTo>
                    <a:lnTo>
                      <a:pt x="11180" y="1445"/>
                    </a:lnTo>
                    <a:lnTo>
                      <a:pt x="11028" y="1445"/>
                    </a:lnTo>
                    <a:lnTo>
                      <a:pt x="11028" y="1169"/>
                    </a:lnTo>
                    <a:lnTo>
                      <a:pt x="10166" y="1169"/>
                    </a:lnTo>
                    <a:lnTo>
                      <a:pt x="10166" y="780"/>
                    </a:lnTo>
                    <a:lnTo>
                      <a:pt x="10597" y="780"/>
                    </a:lnTo>
                    <a:lnTo>
                      <a:pt x="10597" y="642"/>
                    </a:lnTo>
                    <a:lnTo>
                      <a:pt x="10445" y="642"/>
                    </a:lnTo>
                    <a:lnTo>
                      <a:pt x="10445" y="390"/>
                    </a:lnTo>
                    <a:lnTo>
                      <a:pt x="10293" y="390"/>
                    </a:lnTo>
                    <a:lnTo>
                      <a:pt x="10293" y="138"/>
                    </a:lnTo>
                    <a:lnTo>
                      <a:pt x="10166" y="0"/>
                    </a:lnTo>
                    <a:lnTo>
                      <a:pt x="10166" y="527"/>
                    </a:lnTo>
                    <a:lnTo>
                      <a:pt x="9862" y="527"/>
                    </a:lnTo>
                    <a:lnTo>
                      <a:pt x="9862" y="642"/>
                    </a:lnTo>
                    <a:lnTo>
                      <a:pt x="9710" y="527"/>
                    </a:lnTo>
                    <a:lnTo>
                      <a:pt x="9710" y="642"/>
                    </a:lnTo>
                    <a:lnTo>
                      <a:pt x="9583" y="642"/>
                    </a:lnTo>
                    <a:lnTo>
                      <a:pt x="9583" y="780"/>
                    </a:lnTo>
                    <a:lnTo>
                      <a:pt x="9431" y="780"/>
                    </a:lnTo>
                    <a:lnTo>
                      <a:pt x="9431" y="642"/>
                    </a:lnTo>
                    <a:lnTo>
                      <a:pt x="9279" y="642"/>
                    </a:lnTo>
                    <a:lnTo>
                      <a:pt x="9279" y="780"/>
                    </a:lnTo>
                    <a:lnTo>
                      <a:pt x="9000" y="780"/>
                    </a:lnTo>
                    <a:lnTo>
                      <a:pt x="9000" y="642"/>
                    </a:lnTo>
                    <a:lnTo>
                      <a:pt x="9000" y="780"/>
                    </a:lnTo>
                    <a:lnTo>
                      <a:pt x="9000" y="642"/>
                    </a:lnTo>
                    <a:lnTo>
                      <a:pt x="8848" y="642"/>
                    </a:lnTo>
                    <a:lnTo>
                      <a:pt x="8848" y="917"/>
                    </a:lnTo>
                    <a:lnTo>
                      <a:pt x="9000" y="917"/>
                    </a:lnTo>
                    <a:lnTo>
                      <a:pt x="9000" y="1055"/>
                    </a:lnTo>
                    <a:lnTo>
                      <a:pt x="8848" y="1055"/>
                    </a:lnTo>
                    <a:lnTo>
                      <a:pt x="8848" y="1697"/>
                    </a:lnTo>
                    <a:lnTo>
                      <a:pt x="9000" y="1697"/>
                    </a:lnTo>
                    <a:lnTo>
                      <a:pt x="9000" y="1834"/>
                    </a:lnTo>
                    <a:lnTo>
                      <a:pt x="8696" y="1834"/>
                    </a:lnTo>
                    <a:lnTo>
                      <a:pt x="8696" y="1972"/>
                    </a:lnTo>
                    <a:lnTo>
                      <a:pt x="8848" y="1972"/>
                    </a:lnTo>
                    <a:lnTo>
                      <a:pt x="8848" y="2224"/>
                    </a:lnTo>
                    <a:lnTo>
                      <a:pt x="8569" y="2224"/>
                    </a:lnTo>
                    <a:lnTo>
                      <a:pt x="8569" y="2362"/>
                    </a:lnTo>
                    <a:lnTo>
                      <a:pt x="8696" y="2362"/>
                    </a:lnTo>
                    <a:lnTo>
                      <a:pt x="8696" y="2614"/>
                    </a:lnTo>
                    <a:lnTo>
                      <a:pt x="9000" y="2614"/>
                    </a:lnTo>
                    <a:lnTo>
                      <a:pt x="9000" y="2866"/>
                    </a:lnTo>
                    <a:lnTo>
                      <a:pt x="9152" y="2866"/>
                    </a:lnTo>
                    <a:lnTo>
                      <a:pt x="9152" y="3004"/>
                    </a:lnTo>
                    <a:lnTo>
                      <a:pt x="9279" y="3004"/>
                    </a:lnTo>
                    <a:lnTo>
                      <a:pt x="9279" y="3279"/>
                    </a:lnTo>
                    <a:lnTo>
                      <a:pt x="9152" y="3279"/>
                    </a:lnTo>
                    <a:lnTo>
                      <a:pt x="9152" y="3394"/>
                    </a:lnTo>
                    <a:lnTo>
                      <a:pt x="9000" y="3394"/>
                    </a:lnTo>
                    <a:lnTo>
                      <a:pt x="9152" y="3394"/>
                    </a:lnTo>
                    <a:lnTo>
                      <a:pt x="9152" y="3531"/>
                    </a:lnTo>
                    <a:lnTo>
                      <a:pt x="9000" y="3531"/>
                    </a:lnTo>
                    <a:lnTo>
                      <a:pt x="9000" y="3669"/>
                    </a:lnTo>
                    <a:lnTo>
                      <a:pt x="9152" y="3669"/>
                    </a:lnTo>
                    <a:lnTo>
                      <a:pt x="9000" y="3783"/>
                    </a:lnTo>
                    <a:lnTo>
                      <a:pt x="9152" y="3783"/>
                    </a:lnTo>
                    <a:lnTo>
                      <a:pt x="9000" y="3783"/>
                    </a:lnTo>
                    <a:lnTo>
                      <a:pt x="9000" y="3921"/>
                    </a:lnTo>
                    <a:lnTo>
                      <a:pt x="9152" y="3921"/>
                    </a:lnTo>
                    <a:lnTo>
                      <a:pt x="9000" y="4059"/>
                    </a:lnTo>
                    <a:lnTo>
                      <a:pt x="8848" y="4059"/>
                    </a:lnTo>
                    <a:lnTo>
                      <a:pt x="8848" y="4196"/>
                    </a:lnTo>
                    <a:lnTo>
                      <a:pt x="8696" y="4311"/>
                    </a:lnTo>
                    <a:lnTo>
                      <a:pt x="8696" y="4586"/>
                    </a:lnTo>
                    <a:lnTo>
                      <a:pt x="8848" y="4586"/>
                    </a:lnTo>
                    <a:lnTo>
                      <a:pt x="8696" y="4586"/>
                    </a:lnTo>
                    <a:lnTo>
                      <a:pt x="8696" y="4701"/>
                    </a:lnTo>
                    <a:lnTo>
                      <a:pt x="8569" y="4701"/>
                    </a:lnTo>
                    <a:lnTo>
                      <a:pt x="8417" y="4838"/>
                    </a:lnTo>
                    <a:lnTo>
                      <a:pt x="8265" y="4838"/>
                    </a:lnTo>
                    <a:lnTo>
                      <a:pt x="8265" y="5113"/>
                    </a:lnTo>
                    <a:lnTo>
                      <a:pt x="7986" y="5113"/>
                    </a:lnTo>
                    <a:lnTo>
                      <a:pt x="7986" y="5228"/>
                    </a:lnTo>
                    <a:lnTo>
                      <a:pt x="7834" y="5228"/>
                    </a:lnTo>
                    <a:lnTo>
                      <a:pt x="7986" y="5228"/>
                    </a:lnTo>
                    <a:lnTo>
                      <a:pt x="7986" y="5503"/>
                    </a:lnTo>
                    <a:lnTo>
                      <a:pt x="8138" y="5503"/>
                    </a:lnTo>
                    <a:lnTo>
                      <a:pt x="7986" y="5503"/>
                    </a:lnTo>
                    <a:lnTo>
                      <a:pt x="7986" y="5618"/>
                    </a:lnTo>
                    <a:lnTo>
                      <a:pt x="7834" y="5618"/>
                    </a:lnTo>
                    <a:lnTo>
                      <a:pt x="7834" y="5755"/>
                    </a:lnTo>
                    <a:lnTo>
                      <a:pt x="7682" y="5755"/>
                    </a:lnTo>
                    <a:lnTo>
                      <a:pt x="7834" y="5755"/>
                    </a:lnTo>
                    <a:lnTo>
                      <a:pt x="7834" y="5893"/>
                    </a:lnTo>
                    <a:lnTo>
                      <a:pt x="7682" y="5893"/>
                    </a:lnTo>
                    <a:lnTo>
                      <a:pt x="7834" y="5893"/>
                    </a:lnTo>
                    <a:lnTo>
                      <a:pt x="7682" y="5893"/>
                    </a:lnTo>
                    <a:lnTo>
                      <a:pt x="7682" y="6008"/>
                    </a:lnTo>
                    <a:lnTo>
                      <a:pt x="7834" y="6008"/>
                    </a:lnTo>
                    <a:lnTo>
                      <a:pt x="7682" y="6145"/>
                    </a:lnTo>
                    <a:lnTo>
                      <a:pt x="7682" y="6283"/>
                    </a:lnTo>
                    <a:lnTo>
                      <a:pt x="7834" y="6283"/>
                    </a:lnTo>
                    <a:lnTo>
                      <a:pt x="7834" y="6420"/>
                    </a:lnTo>
                    <a:lnTo>
                      <a:pt x="7682" y="6535"/>
                    </a:lnTo>
                    <a:lnTo>
                      <a:pt x="7834" y="6535"/>
                    </a:lnTo>
                    <a:lnTo>
                      <a:pt x="7834" y="6810"/>
                    </a:lnTo>
                    <a:lnTo>
                      <a:pt x="7986" y="6810"/>
                    </a:lnTo>
                    <a:lnTo>
                      <a:pt x="7834" y="6810"/>
                    </a:lnTo>
                    <a:lnTo>
                      <a:pt x="7986" y="6810"/>
                    </a:lnTo>
                    <a:lnTo>
                      <a:pt x="7986" y="6925"/>
                    </a:lnTo>
                    <a:lnTo>
                      <a:pt x="8569" y="6925"/>
                    </a:lnTo>
                    <a:lnTo>
                      <a:pt x="8569" y="7062"/>
                    </a:lnTo>
                    <a:lnTo>
                      <a:pt x="8569" y="6925"/>
                    </a:lnTo>
                    <a:lnTo>
                      <a:pt x="8696" y="7062"/>
                    </a:lnTo>
                    <a:lnTo>
                      <a:pt x="8696" y="7590"/>
                    </a:lnTo>
                    <a:lnTo>
                      <a:pt x="8848" y="7590"/>
                    </a:lnTo>
                    <a:lnTo>
                      <a:pt x="8848" y="7727"/>
                    </a:lnTo>
                    <a:lnTo>
                      <a:pt x="8569" y="7727"/>
                    </a:lnTo>
                    <a:lnTo>
                      <a:pt x="8569" y="7590"/>
                    </a:lnTo>
                    <a:lnTo>
                      <a:pt x="8569" y="7727"/>
                    </a:lnTo>
                    <a:lnTo>
                      <a:pt x="8569" y="7590"/>
                    </a:lnTo>
                    <a:lnTo>
                      <a:pt x="8417" y="7590"/>
                    </a:lnTo>
                    <a:lnTo>
                      <a:pt x="8417" y="7727"/>
                    </a:lnTo>
                    <a:lnTo>
                      <a:pt x="8265" y="7727"/>
                    </a:lnTo>
                    <a:lnTo>
                      <a:pt x="8417" y="7727"/>
                    </a:lnTo>
                    <a:lnTo>
                      <a:pt x="8417" y="7842"/>
                    </a:lnTo>
                    <a:lnTo>
                      <a:pt x="8265" y="7842"/>
                    </a:lnTo>
                    <a:lnTo>
                      <a:pt x="8138" y="7980"/>
                    </a:lnTo>
                    <a:lnTo>
                      <a:pt x="8265" y="7980"/>
                    </a:lnTo>
                    <a:lnTo>
                      <a:pt x="8138" y="7980"/>
                    </a:lnTo>
                    <a:lnTo>
                      <a:pt x="8265" y="8117"/>
                    </a:lnTo>
                    <a:lnTo>
                      <a:pt x="8265" y="8255"/>
                    </a:lnTo>
                    <a:lnTo>
                      <a:pt x="8417" y="8255"/>
                    </a:lnTo>
                    <a:lnTo>
                      <a:pt x="8417" y="8369"/>
                    </a:lnTo>
                    <a:lnTo>
                      <a:pt x="8569" y="8369"/>
                    </a:lnTo>
                    <a:lnTo>
                      <a:pt x="8569" y="8255"/>
                    </a:lnTo>
                    <a:lnTo>
                      <a:pt x="8569" y="8369"/>
                    </a:lnTo>
                    <a:lnTo>
                      <a:pt x="8696" y="8369"/>
                    </a:lnTo>
                    <a:lnTo>
                      <a:pt x="8569" y="8369"/>
                    </a:lnTo>
                    <a:lnTo>
                      <a:pt x="8696" y="8369"/>
                    </a:lnTo>
                    <a:lnTo>
                      <a:pt x="8696" y="8507"/>
                    </a:lnTo>
                    <a:lnTo>
                      <a:pt x="8569" y="8507"/>
                    </a:lnTo>
                    <a:lnTo>
                      <a:pt x="8696" y="8507"/>
                    </a:lnTo>
                    <a:lnTo>
                      <a:pt x="8569" y="8507"/>
                    </a:lnTo>
                    <a:lnTo>
                      <a:pt x="8696" y="8645"/>
                    </a:lnTo>
                    <a:lnTo>
                      <a:pt x="8569" y="8645"/>
                    </a:lnTo>
                    <a:lnTo>
                      <a:pt x="8696" y="8645"/>
                    </a:lnTo>
                    <a:lnTo>
                      <a:pt x="8696" y="8759"/>
                    </a:lnTo>
                    <a:lnTo>
                      <a:pt x="8848" y="8759"/>
                    </a:lnTo>
                    <a:lnTo>
                      <a:pt x="8848" y="8897"/>
                    </a:lnTo>
                    <a:lnTo>
                      <a:pt x="8696" y="8897"/>
                    </a:lnTo>
                    <a:lnTo>
                      <a:pt x="8696" y="9034"/>
                    </a:lnTo>
                    <a:lnTo>
                      <a:pt x="8569" y="9034"/>
                    </a:lnTo>
                    <a:lnTo>
                      <a:pt x="8569" y="9172"/>
                    </a:lnTo>
                    <a:lnTo>
                      <a:pt x="8417" y="9172"/>
                    </a:lnTo>
                    <a:lnTo>
                      <a:pt x="8417" y="9287"/>
                    </a:lnTo>
                    <a:lnTo>
                      <a:pt x="8265" y="9287"/>
                    </a:lnTo>
                    <a:lnTo>
                      <a:pt x="8265" y="9424"/>
                    </a:lnTo>
                    <a:lnTo>
                      <a:pt x="8417" y="9424"/>
                    </a:lnTo>
                    <a:lnTo>
                      <a:pt x="8417" y="9676"/>
                    </a:lnTo>
                    <a:lnTo>
                      <a:pt x="7986" y="9676"/>
                    </a:lnTo>
                    <a:lnTo>
                      <a:pt x="7986" y="9562"/>
                    </a:lnTo>
                    <a:lnTo>
                      <a:pt x="7834" y="9562"/>
                    </a:lnTo>
                    <a:lnTo>
                      <a:pt x="7834" y="9424"/>
                    </a:lnTo>
                    <a:lnTo>
                      <a:pt x="7555" y="9424"/>
                    </a:lnTo>
                    <a:lnTo>
                      <a:pt x="7555" y="9287"/>
                    </a:lnTo>
                    <a:lnTo>
                      <a:pt x="7251" y="9287"/>
                    </a:lnTo>
                    <a:lnTo>
                      <a:pt x="7251" y="9172"/>
                    </a:lnTo>
                    <a:lnTo>
                      <a:pt x="6972" y="9172"/>
                    </a:lnTo>
                    <a:lnTo>
                      <a:pt x="6972" y="9034"/>
                    </a:lnTo>
                    <a:lnTo>
                      <a:pt x="6820" y="8897"/>
                    </a:lnTo>
                    <a:lnTo>
                      <a:pt x="6820" y="8759"/>
                    </a:lnTo>
                    <a:lnTo>
                      <a:pt x="6972" y="8759"/>
                    </a:lnTo>
                    <a:lnTo>
                      <a:pt x="6541" y="8759"/>
                    </a:lnTo>
                    <a:lnTo>
                      <a:pt x="6541" y="8897"/>
                    </a:lnTo>
                    <a:lnTo>
                      <a:pt x="6237" y="8897"/>
                    </a:lnTo>
                    <a:lnTo>
                      <a:pt x="6237" y="9034"/>
                    </a:lnTo>
                    <a:lnTo>
                      <a:pt x="6110" y="9034"/>
                    </a:lnTo>
                    <a:lnTo>
                      <a:pt x="6110" y="9287"/>
                    </a:lnTo>
                    <a:lnTo>
                      <a:pt x="6237" y="9287"/>
                    </a:lnTo>
                    <a:lnTo>
                      <a:pt x="6110" y="9287"/>
                    </a:lnTo>
                    <a:lnTo>
                      <a:pt x="6237" y="9287"/>
                    </a:lnTo>
                    <a:lnTo>
                      <a:pt x="6237" y="9562"/>
                    </a:lnTo>
                    <a:lnTo>
                      <a:pt x="6389" y="9562"/>
                    </a:lnTo>
                    <a:lnTo>
                      <a:pt x="6389" y="9676"/>
                    </a:lnTo>
                    <a:lnTo>
                      <a:pt x="6237" y="9676"/>
                    </a:lnTo>
                    <a:lnTo>
                      <a:pt x="6237" y="9814"/>
                    </a:lnTo>
                    <a:lnTo>
                      <a:pt x="6110" y="9814"/>
                    </a:lnTo>
                    <a:lnTo>
                      <a:pt x="6110" y="10066"/>
                    </a:lnTo>
                    <a:lnTo>
                      <a:pt x="5806" y="10066"/>
                    </a:lnTo>
                    <a:lnTo>
                      <a:pt x="5806" y="10204"/>
                    </a:lnTo>
                    <a:lnTo>
                      <a:pt x="5654" y="10204"/>
                    </a:lnTo>
                    <a:lnTo>
                      <a:pt x="5527" y="10341"/>
                    </a:lnTo>
                    <a:lnTo>
                      <a:pt x="5527" y="10594"/>
                    </a:lnTo>
                    <a:lnTo>
                      <a:pt x="5223" y="10594"/>
                    </a:lnTo>
                    <a:lnTo>
                      <a:pt x="5223" y="10731"/>
                    </a:lnTo>
                    <a:lnTo>
                      <a:pt x="5096" y="10731"/>
                    </a:lnTo>
                    <a:lnTo>
                      <a:pt x="5096" y="10983"/>
                    </a:lnTo>
                    <a:lnTo>
                      <a:pt x="5223" y="10983"/>
                    </a:lnTo>
                    <a:lnTo>
                      <a:pt x="5096" y="10983"/>
                    </a:lnTo>
                    <a:lnTo>
                      <a:pt x="5096" y="11121"/>
                    </a:lnTo>
                    <a:lnTo>
                      <a:pt x="4944" y="11121"/>
                    </a:lnTo>
                    <a:lnTo>
                      <a:pt x="5096" y="11121"/>
                    </a:lnTo>
                    <a:lnTo>
                      <a:pt x="4944" y="11259"/>
                    </a:lnTo>
                    <a:lnTo>
                      <a:pt x="4944" y="11121"/>
                    </a:lnTo>
                    <a:lnTo>
                      <a:pt x="4792" y="11259"/>
                    </a:lnTo>
                    <a:lnTo>
                      <a:pt x="4792" y="11121"/>
                    </a:lnTo>
                    <a:lnTo>
                      <a:pt x="4792" y="11259"/>
                    </a:lnTo>
                    <a:lnTo>
                      <a:pt x="4944" y="11259"/>
                    </a:lnTo>
                    <a:lnTo>
                      <a:pt x="4792" y="11259"/>
                    </a:lnTo>
                    <a:lnTo>
                      <a:pt x="4944" y="11259"/>
                    </a:lnTo>
                    <a:lnTo>
                      <a:pt x="4944" y="11511"/>
                    </a:lnTo>
                    <a:lnTo>
                      <a:pt x="4792" y="11511"/>
                    </a:lnTo>
                    <a:lnTo>
                      <a:pt x="4944" y="11511"/>
                    </a:lnTo>
                    <a:lnTo>
                      <a:pt x="4792" y="11511"/>
                    </a:lnTo>
                    <a:lnTo>
                      <a:pt x="4944" y="11648"/>
                    </a:lnTo>
                    <a:lnTo>
                      <a:pt x="4944" y="11901"/>
                    </a:lnTo>
                    <a:lnTo>
                      <a:pt x="4792" y="11901"/>
                    </a:lnTo>
                    <a:lnTo>
                      <a:pt x="4639" y="11786"/>
                    </a:lnTo>
                    <a:lnTo>
                      <a:pt x="4513" y="11786"/>
                    </a:lnTo>
                    <a:lnTo>
                      <a:pt x="4513" y="11648"/>
                    </a:lnTo>
                    <a:lnTo>
                      <a:pt x="4361" y="11648"/>
                    </a:lnTo>
                    <a:lnTo>
                      <a:pt x="4361" y="11511"/>
                    </a:lnTo>
                    <a:lnTo>
                      <a:pt x="4513" y="11511"/>
                    </a:lnTo>
                    <a:lnTo>
                      <a:pt x="4361" y="11511"/>
                    </a:lnTo>
                    <a:lnTo>
                      <a:pt x="4513" y="11396"/>
                    </a:lnTo>
                    <a:lnTo>
                      <a:pt x="4361" y="11396"/>
                    </a:lnTo>
                    <a:lnTo>
                      <a:pt x="4361" y="11259"/>
                    </a:lnTo>
                    <a:lnTo>
                      <a:pt x="4208" y="11259"/>
                    </a:lnTo>
                    <a:lnTo>
                      <a:pt x="4208" y="11121"/>
                    </a:lnTo>
                    <a:lnTo>
                      <a:pt x="4082" y="11121"/>
                    </a:lnTo>
                    <a:lnTo>
                      <a:pt x="4082" y="10983"/>
                    </a:lnTo>
                    <a:lnTo>
                      <a:pt x="4208" y="10983"/>
                    </a:lnTo>
                    <a:lnTo>
                      <a:pt x="4082" y="10983"/>
                    </a:lnTo>
                    <a:lnTo>
                      <a:pt x="4082" y="10869"/>
                    </a:lnTo>
                    <a:lnTo>
                      <a:pt x="4082" y="10983"/>
                    </a:lnTo>
                    <a:lnTo>
                      <a:pt x="4082" y="10869"/>
                    </a:lnTo>
                    <a:lnTo>
                      <a:pt x="3930" y="10869"/>
                    </a:lnTo>
                    <a:lnTo>
                      <a:pt x="3930" y="10983"/>
                    </a:lnTo>
                    <a:lnTo>
                      <a:pt x="3777" y="10983"/>
                    </a:lnTo>
                    <a:lnTo>
                      <a:pt x="3777" y="10869"/>
                    </a:lnTo>
                    <a:lnTo>
                      <a:pt x="3777" y="10983"/>
                    </a:lnTo>
                    <a:lnTo>
                      <a:pt x="3625" y="10983"/>
                    </a:lnTo>
                    <a:lnTo>
                      <a:pt x="3777" y="11121"/>
                    </a:lnTo>
                    <a:lnTo>
                      <a:pt x="3625" y="11121"/>
                    </a:lnTo>
                    <a:lnTo>
                      <a:pt x="3625" y="11259"/>
                    </a:lnTo>
                    <a:lnTo>
                      <a:pt x="3499" y="11396"/>
                    </a:lnTo>
                    <a:lnTo>
                      <a:pt x="3346" y="11396"/>
                    </a:lnTo>
                    <a:lnTo>
                      <a:pt x="3346" y="11511"/>
                    </a:lnTo>
                    <a:lnTo>
                      <a:pt x="3194" y="11396"/>
                    </a:lnTo>
                    <a:lnTo>
                      <a:pt x="3194" y="11511"/>
                    </a:lnTo>
                    <a:lnTo>
                      <a:pt x="2915" y="11511"/>
                    </a:lnTo>
                    <a:lnTo>
                      <a:pt x="2915" y="11396"/>
                    </a:lnTo>
                    <a:lnTo>
                      <a:pt x="2915" y="11511"/>
                    </a:lnTo>
                    <a:lnTo>
                      <a:pt x="2763" y="11511"/>
                    </a:lnTo>
                    <a:lnTo>
                      <a:pt x="2763" y="11396"/>
                    </a:lnTo>
                    <a:lnTo>
                      <a:pt x="2180" y="11396"/>
                    </a:lnTo>
                    <a:lnTo>
                      <a:pt x="1597" y="12703"/>
                    </a:lnTo>
                    <a:lnTo>
                      <a:pt x="1597" y="12818"/>
                    </a:lnTo>
                    <a:lnTo>
                      <a:pt x="1749" y="12818"/>
                    </a:lnTo>
                    <a:lnTo>
                      <a:pt x="1749" y="12703"/>
                    </a:lnTo>
                    <a:lnTo>
                      <a:pt x="1749" y="12818"/>
                    </a:lnTo>
                    <a:lnTo>
                      <a:pt x="1901" y="12818"/>
                    </a:lnTo>
                    <a:lnTo>
                      <a:pt x="1749" y="12818"/>
                    </a:lnTo>
                    <a:lnTo>
                      <a:pt x="1749" y="13093"/>
                    </a:lnTo>
                    <a:lnTo>
                      <a:pt x="2054" y="13093"/>
                    </a:lnTo>
                    <a:lnTo>
                      <a:pt x="2054" y="13483"/>
                    </a:lnTo>
                    <a:lnTo>
                      <a:pt x="2180" y="13483"/>
                    </a:lnTo>
                    <a:lnTo>
                      <a:pt x="2180" y="13735"/>
                    </a:lnTo>
                    <a:lnTo>
                      <a:pt x="1901" y="13735"/>
                    </a:lnTo>
                    <a:lnTo>
                      <a:pt x="1901" y="14010"/>
                    </a:lnTo>
                    <a:lnTo>
                      <a:pt x="1749" y="14010"/>
                    </a:lnTo>
                    <a:lnTo>
                      <a:pt x="1749" y="14262"/>
                    </a:lnTo>
                    <a:lnTo>
                      <a:pt x="1597" y="14262"/>
                    </a:lnTo>
                    <a:lnTo>
                      <a:pt x="1597" y="14125"/>
                    </a:lnTo>
                    <a:lnTo>
                      <a:pt x="1470" y="14125"/>
                    </a:lnTo>
                    <a:lnTo>
                      <a:pt x="1318" y="14262"/>
                    </a:lnTo>
                    <a:lnTo>
                      <a:pt x="1318" y="14538"/>
                    </a:lnTo>
                    <a:lnTo>
                      <a:pt x="1166" y="14538"/>
                    </a:lnTo>
                    <a:lnTo>
                      <a:pt x="1166" y="14790"/>
                    </a:lnTo>
                    <a:lnTo>
                      <a:pt x="1039" y="14790"/>
                    </a:lnTo>
                    <a:lnTo>
                      <a:pt x="1166" y="14790"/>
                    </a:lnTo>
                    <a:lnTo>
                      <a:pt x="1039" y="14927"/>
                    </a:lnTo>
                    <a:lnTo>
                      <a:pt x="1166" y="14927"/>
                    </a:lnTo>
                    <a:lnTo>
                      <a:pt x="1166" y="15317"/>
                    </a:lnTo>
                    <a:lnTo>
                      <a:pt x="1318" y="15317"/>
                    </a:lnTo>
                    <a:lnTo>
                      <a:pt x="1318" y="15455"/>
                    </a:lnTo>
                    <a:lnTo>
                      <a:pt x="1039" y="15455"/>
                    </a:lnTo>
                    <a:lnTo>
                      <a:pt x="1039" y="15569"/>
                    </a:lnTo>
                    <a:lnTo>
                      <a:pt x="1039" y="15455"/>
                    </a:lnTo>
                    <a:lnTo>
                      <a:pt x="1039" y="15845"/>
                    </a:lnTo>
                    <a:lnTo>
                      <a:pt x="887" y="15845"/>
                    </a:lnTo>
                    <a:lnTo>
                      <a:pt x="887" y="15959"/>
                    </a:lnTo>
                    <a:lnTo>
                      <a:pt x="1039" y="15959"/>
                    </a:lnTo>
                    <a:lnTo>
                      <a:pt x="1039" y="16372"/>
                    </a:lnTo>
                    <a:lnTo>
                      <a:pt x="887" y="16372"/>
                    </a:lnTo>
                    <a:lnTo>
                      <a:pt x="887" y="16762"/>
                    </a:lnTo>
                    <a:lnTo>
                      <a:pt x="735" y="16624"/>
                    </a:lnTo>
                    <a:lnTo>
                      <a:pt x="456" y="16624"/>
                    </a:lnTo>
                    <a:lnTo>
                      <a:pt x="456" y="16762"/>
                    </a:lnTo>
                    <a:lnTo>
                      <a:pt x="304" y="16762"/>
                    </a:lnTo>
                    <a:lnTo>
                      <a:pt x="304" y="16876"/>
                    </a:lnTo>
                    <a:lnTo>
                      <a:pt x="0" y="16876"/>
                    </a:lnTo>
                    <a:lnTo>
                      <a:pt x="0" y="17152"/>
                    </a:lnTo>
                    <a:lnTo>
                      <a:pt x="152" y="17152"/>
                    </a:lnTo>
                    <a:lnTo>
                      <a:pt x="152" y="17266"/>
                    </a:lnTo>
                    <a:lnTo>
                      <a:pt x="304" y="17266"/>
                    </a:lnTo>
                    <a:lnTo>
                      <a:pt x="304" y="17404"/>
                    </a:lnTo>
                    <a:lnTo>
                      <a:pt x="456" y="17404"/>
                    </a:lnTo>
                    <a:lnTo>
                      <a:pt x="456" y="17541"/>
                    </a:lnTo>
                    <a:lnTo>
                      <a:pt x="583" y="17679"/>
                    </a:lnTo>
                    <a:lnTo>
                      <a:pt x="735" y="17794"/>
                    </a:lnTo>
                    <a:lnTo>
                      <a:pt x="735" y="17931"/>
                    </a:lnTo>
                    <a:lnTo>
                      <a:pt x="887" y="17931"/>
                    </a:lnTo>
                    <a:lnTo>
                      <a:pt x="887" y="18069"/>
                    </a:lnTo>
                    <a:lnTo>
                      <a:pt x="1166" y="18069"/>
                    </a:lnTo>
                    <a:lnTo>
                      <a:pt x="1166" y="17931"/>
                    </a:lnTo>
                    <a:lnTo>
                      <a:pt x="1318" y="17931"/>
                    </a:lnTo>
                    <a:lnTo>
                      <a:pt x="1318" y="18069"/>
                    </a:lnTo>
                    <a:lnTo>
                      <a:pt x="1597" y="18069"/>
                    </a:lnTo>
                    <a:lnTo>
                      <a:pt x="1597" y="18183"/>
                    </a:lnTo>
                    <a:lnTo>
                      <a:pt x="1597" y="18069"/>
                    </a:lnTo>
                    <a:lnTo>
                      <a:pt x="1597" y="18183"/>
                    </a:lnTo>
                    <a:lnTo>
                      <a:pt x="1749" y="18183"/>
                    </a:lnTo>
                    <a:lnTo>
                      <a:pt x="1901" y="18321"/>
                    </a:lnTo>
                    <a:lnTo>
                      <a:pt x="2054" y="18321"/>
                    </a:lnTo>
                    <a:lnTo>
                      <a:pt x="2054" y="18459"/>
                    </a:lnTo>
                    <a:lnTo>
                      <a:pt x="2485" y="18459"/>
                    </a:lnTo>
                    <a:lnTo>
                      <a:pt x="2485" y="18596"/>
                    </a:lnTo>
                    <a:lnTo>
                      <a:pt x="2332" y="18596"/>
                    </a:lnTo>
                    <a:lnTo>
                      <a:pt x="2485" y="18596"/>
                    </a:lnTo>
                    <a:lnTo>
                      <a:pt x="2485" y="18711"/>
                    </a:lnTo>
                    <a:lnTo>
                      <a:pt x="2485" y="18596"/>
                    </a:lnTo>
                    <a:lnTo>
                      <a:pt x="2485" y="18711"/>
                    </a:lnTo>
                    <a:lnTo>
                      <a:pt x="2763" y="18711"/>
                    </a:lnTo>
                    <a:lnTo>
                      <a:pt x="2763" y="18848"/>
                    </a:lnTo>
                    <a:lnTo>
                      <a:pt x="3346" y="18848"/>
                    </a:lnTo>
                    <a:lnTo>
                      <a:pt x="3346" y="18711"/>
                    </a:lnTo>
                    <a:lnTo>
                      <a:pt x="3499" y="18711"/>
                    </a:lnTo>
                    <a:lnTo>
                      <a:pt x="3499" y="18848"/>
                    </a:lnTo>
                    <a:lnTo>
                      <a:pt x="3625" y="18848"/>
                    </a:lnTo>
                    <a:lnTo>
                      <a:pt x="3499" y="18848"/>
                    </a:lnTo>
                    <a:lnTo>
                      <a:pt x="3499" y="18986"/>
                    </a:lnTo>
                    <a:lnTo>
                      <a:pt x="3625" y="18986"/>
                    </a:lnTo>
                    <a:lnTo>
                      <a:pt x="3777" y="19101"/>
                    </a:lnTo>
                    <a:lnTo>
                      <a:pt x="3777" y="18986"/>
                    </a:lnTo>
                    <a:lnTo>
                      <a:pt x="3930" y="18986"/>
                    </a:lnTo>
                    <a:lnTo>
                      <a:pt x="3930" y="18711"/>
                    </a:lnTo>
                    <a:lnTo>
                      <a:pt x="4208" y="18711"/>
                    </a:lnTo>
                    <a:lnTo>
                      <a:pt x="4361" y="18596"/>
                    </a:lnTo>
                    <a:lnTo>
                      <a:pt x="4361" y="18459"/>
                    </a:lnTo>
                    <a:lnTo>
                      <a:pt x="4639" y="18459"/>
                    </a:lnTo>
                    <a:lnTo>
                      <a:pt x="4639" y="18321"/>
                    </a:lnTo>
                    <a:lnTo>
                      <a:pt x="4792" y="18321"/>
                    </a:lnTo>
                    <a:lnTo>
                      <a:pt x="4792" y="18459"/>
                    </a:lnTo>
                    <a:lnTo>
                      <a:pt x="4944" y="18459"/>
                    </a:lnTo>
                    <a:lnTo>
                      <a:pt x="4944" y="18848"/>
                    </a:lnTo>
                    <a:lnTo>
                      <a:pt x="5096" y="18848"/>
                    </a:lnTo>
                    <a:lnTo>
                      <a:pt x="5096" y="18986"/>
                    </a:lnTo>
                    <a:lnTo>
                      <a:pt x="5223" y="18986"/>
                    </a:lnTo>
                    <a:lnTo>
                      <a:pt x="5223" y="19101"/>
                    </a:lnTo>
                    <a:lnTo>
                      <a:pt x="5375" y="19101"/>
                    </a:lnTo>
                    <a:lnTo>
                      <a:pt x="5375" y="19238"/>
                    </a:lnTo>
                    <a:lnTo>
                      <a:pt x="5654" y="19238"/>
                    </a:lnTo>
                    <a:lnTo>
                      <a:pt x="5654" y="19376"/>
                    </a:lnTo>
                    <a:lnTo>
                      <a:pt x="5958" y="19376"/>
                    </a:lnTo>
                    <a:lnTo>
                      <a:pt x="5958" y="19513"/>
                    </a:lnTo>
                    <a:lnTo>
                      <a:pt x="6110" y="19513"/>
                    </a:lnTo>
                    <a:lnTo>
                      <a:pt x="6237" y="19628"/>
                    </a:lnTo>
                    <a:lnTo>
                      <a:pt x="6389" y="19628"/>
                    </a:lnTo>
                    <a:lnTo>
                      <a:pt x="6389" y="19766"/>
                    </a:lnTo>
                    <a:lnTo>
                      <a:pt x="6541" y="19903"/>
                    </a:lnTo>
                    <a:lnTo>
                      <a:pt x="6668" y="19903"/>
                    </a:lnTo>
                    <a:lnTo>
                      <a:pt x="6668" y="20018"/>
                    </a:lnTo>
                    <a:lnTo>
                      <a:pt x="6820" y="20018"/>
                    </a:lnTo>
                    <a:lnTo>
                      <a:pt x="6820" y="19903"/>
                    </a:lnTo>
                    <a:lnTo>
                      <a:pt x="6972" y="19903"/>
                    </a:lnTo>
                    <a:lnTo>
                      <a:pt x="6972" y="20018"/>
                    </a:lnTo>
                    <a:lnTo>
                      <a:pt x="6972" y="19903"/>
                    </a:lnTo>
                    <a:lnTo>
                      <a:pt x="6972" y="20018"/>
                    </a:lnTo>
                    <a:lnTo>
                      <a:pt x="7124" y="20018"/>
                    </a:lnTo>
                    <a:lnTo>
                      <a:pt x="7124" y="19903"/>
                    </a:lnTo>
                    <a:lnTo>
                      <a:pt x="7251" y="20018"/>
                    </a:lnTo>
                    <a:lnTo>
                      <a:pt x="7251" y="20155"/>
                    </a:lnTo>
                    <a:lnTo>
                      <a:pt x="7403" y="20155"/>
                    </a:lnTo>
                    <a:lnTo>
                      <a:pt x="7403" y="20293"/>
                    </a:lnTo>
                    <a:lnTo>
                      <a:pt x="7555" y="20293"/>
                    </a:lnTo>
                    <a:lnTo>
                      <a:pt x="7682" y="20431"/>
                    </a:lnTo>
                    <a:lnTo>
                      <a:pt x="7834" y="20431"/>
                    </a:lnTo>
                    <a:lnTo>
                      <a:pt x="7834" y="20545"/>
                    </a:lnTo>
                    <a:lnTo>
                      <a:pt x="7986" y="20545"/>
                    </a:lnTo>
                    <a:lnTo>
                      <a:pt x="7986" y="20683"/>
                    </a:lnTo>
                    <a:lnTo>
                      <a:pt x="8138" y="20820"/>
                    </a:lnTo>
                    <a:lnTo>
                      <a:pt x="8138" y="21073"/>
                    </a:lnTo>
                    <a:lnTo>
                      <a:pt x="8265" y="21073"/>
                    </a:lnTo>
                    <a:lnTo>
                      <a:pt x="8265" y="21210"/>
                    </a:lnTo>
                    <a:lnTo>
                      <a:pt x="8265" y="21073"/>
                    </a:lnTo>
                    <a:lnTo>
                      <a:pt x="8696" y="21073"/>
                    </a:lnTo>
                    <a:lnTo>
                      <a:pt x="8848" y="21600"/>
                    </a:lnTo>
                    <a:lnTo>
                      <a:pt x="9000" y="21462"/>
                    </a:lnTo>
                    <a:lnTo>
                      <a:pt x="9152" y="21462"/>
                    </a:lnTo>
                    <a:lnTo>
                      <a:pt x="9152" y="21325"/>
                    </a:lnTo>
                    <a:lnTo>
                      <a:pt x="9431" y="21325"/>
                    </a:lnTo>
                    <a:lnTo>
                      <a:pt x="9431" y="21210"/>
                    </a:lnTo>
                    <a:lnTo>
                      <a:pt x="9710" y="21210"/>
                    </a:lnTo>
                    <a:lnTo>
                      <a:pt x="9710" y="21073"/>
                    </a:lnTo>
                    <a:lnTo>
                      <a:pt x="9583" y="21073"/>
                    </a:lnTo>
                    <a:lnTo>
                      <a:pt x="9583" y="20935"/>
                    </a:lnTo>
                    <a:lnTo>
                      <a:pt x="11028" y="19513"/>
                    </a:lnTo>
                    <a:lnTo>
                      <a:pt x="12194" y="18321"/>
                    </a:lnTo>
                    <a:lnTo>
                      <a:pt x="12777" y="17679"/>
                    </a:lnTo>
                    <a:lnTo>
                      <a:pt x="13208" y="16372"/>
                    </a:lnTo>
                    <a:lnTo>
                      <a:pt x="13056" y="15707"/>
                    </a:lnTo>
                    <a:lnTo>
                      <a:pt x="12904" y="15707"/>
                    </a:lnTo>
                    <a:lnTo>
                      <a:pt x="12904" y="15569"/>
                    </a:lnTo>
                    <a:lnTo>
                      <a:pt x="13056" y="15569"/>
                    </a:lnTo>
                    <a:lnTo>
                      <a:pt x="13056" y="15317"/>
                    </a:lnTo>
                    <a:lnTo>
                      <a:pt x="12904" y="15317"/>
                    </a:lnTo>
                    <a:lnTo>
                      <a:pt x="12904" y="15180"/>
                    </a:lnTo>
                    <a:lnTo>
                      <a:pt x="13056" y="15180"/>
                    </a:lnTo>
                    <a:lnTo>
                      <a:pt x="12904" y="15042"/>
                    </a:lnTo>
                    <a:lnTo>
                      <a:pt x="12904" y="14538"/>
                    </a:lnTo>
                    <a:lnTo>
                      <a:pt x="12777" y="14538"/>
                    </a:lnTo>
                    <a:lnTo>
                      <a:pt x="12777" y="14010"/>
                    </a:lnTo>
                    <a:lnTo>
                      <a:pt x="12904" y="14010"/>
                    </a:lnTo>
                    <a:lnTo>
                      <a:pt x="12777" y="14010"/>
                    </a:lnTo>
                    <a:lnTo>
                      <a:pt x="12777" y="13735"/>
                    </a:lnTo>
                    <a:lnTo>
                      <a:pt x="12904" y="13620"/>
                    </a:lnTo>
                    <a:lnTo>
                      <a:pt x="12904" y="13483"/>
                    </a:lnTo>
                    <a:lnTo>
                      <a:pt x="13208" y="13483"/>
                    </a:lnTo>
                    <a:lnTo>
                      <a:pt x="13208" y="13345"/>
                    </a:lnTo>
                    <a:lnTo>
                      <a:pt x="12904" y="13345"/>
                    </a:lnTo>
                    <a:lnTo>
                      <a:pt x="12777" y="13231"/>
                    </a:lnTo>
                    <a:lnTo>
                      <a:pt x="12777" y="13093"/>
                    </a:lnTo>
                    <a:lnTo>
                      <a:pt x="12473" y="13093"/>
                    </a:lnTo>
                    <a:lnTo>
                      <a:pt x="12473" y="12703"/>
                    </a:lnTo>
                    <a:lnTo>
                      <a:pt x="12625" y="12703"/>
                    </a:lnTo>
                    <a:lnTo>
                      <a:pt x="12473" y="12566"/>
                    </a:lnTo>
                    <a:lnTo>
                      <a:pt x="12625" y="12566"/>
                    </a:lnTo>
                    <a:lnTo>
                      <a:pt x="12625" y="12428"/>
                    </a:lnTo>
                    <a:lnTo>
                      <a:pt x="12904" y="12428"/>
                    </a:lnTo>
                    <a:lnTo>
                      <a:pt x="12904" y="12313"/>
                    </a:lnTo>
                    <a:lnTo>
                      <a:pt x="13056" y="12313"/>
                    </a:lnTo>
                    <a:lnTo>
                      <a:pt x="13208" y="12176"/>
                    </a:lnTo>
                    <a:lnTo>
                      <a:pt x="13487" y="12176"/>
                    </a:lnTo>
                    <a:lnTo>
                      <a:pt x="13487" y="12038"/>
                    </a:lnTo>
                    <a:lnTo>
                      <a:pt x="13639" y="12038"/>
                    </a:lnTo>
                    <a:lnTo>
                      <a:pt x="13639" y="11648"/>
                    </a:lnTo>
                    <a:lnTo>
                      <a:pt x="13792" y="11648"/>
                    </a:lnTo>
                    <a:lnTo>
                      <a:pt x="13918" y="11786"/>
                    </a:lnTo>
                    <a:lnTo>
                      <a:pt x="14070" y="11648"/>
                    </a:lnTo>
                    <a:lnTo>
                      <a:pt x="14070" y="11786"/>
                    </a:lnTo>
                    <a:lnTo>
                      <a:pt x="14223" y="11901"/>
                    </a:lnTo>
                    <a:lnTo>
                      <a:pt x="14349" y="11786"/>
                    </a:lnTo>
                    <a:lnTo>
                      <a:pt x="14806" y="11786"/>
                    </a:lnTo>
                    <a:lnTo>
                      <a:pt x="14932" y="11648"/>
                    </a:lnTo>
                    <a:lnTo>
                      <a:pt x="14932" y="11259"/>
                    </a:lnTo>
                    <a:lnTo>
                      <a:pt x="15085" y="11259"/>
                    </a:lnTo>
                    <a:lnTo>
                      <a:pt x="15085" y="11396"/>
                    </a:lnTo>
                    <a:lnTo>
                      <a:pt x="15237" y="11396"/>
                    </a:lnTo>
                    <a:lnTo>
                      <a:pt x="15237" y="11511"/>
                    </a:lnTo>
                    <a:lnTo>
                      <a:pt x="15515" y="11511"/>
                    </a:lnTo>
                    <a:lnTo>
                      <a:pt x="15515" y="11396"/>
                    </a:lnTo>
                    <a:lnTo>
                      <a:pt x="15668" y="11396"/>
                    </a:lnTo>
                    <a:lnTo>
                      <a:pt x="15668" y="11511"/>
                    </a:lnTo>
                    <a:lnTo>
                      <a:pt x="15946" y="11511"/>
                    </a:lnTo>
                    <a:lnTo>
                      <a:pt x="15946" y="11396"/>
                    </a:lnTo>
                    <a:lnTo>
                      <a:pt x="16251" y="11396"/>
                    </a:lnTo>
                    <a:lnTo>
                      <a:pt x="16251" y="11511"/>
                    </a:lnTo>
                    <a:lnTo>
                      <a:pt x="16377" y="11511"/>
                    </a:lnTo>
                    <a:lnTo>
                      <a:pt x="16251" y="11648"/>
                    </a:lnTo>
                    <a:lnTo>
                      <a:pt x="16377" y="11648"/>
                    </a:lnTo>
                    <a:lnTo>
                      <a:pt x="16530" y="11786"/>
                    </a:lnTo>
                    <a:lnTo>
                      <a:pt x="16530" y="11648"/>
                    </a:lnTo>
                    <a:lnTo>
                      <a:pt x="16682" y="11648"/>
                    </a:lnTo>
                    <a:lnTo>
                      <a:pt x="16834" y="11786"/>
                    </a:lnTo>
                    <a:lnTo>
                      <a:pt x="16961" y="11786"/>
                    </a:lnTo>
                    <a:lnTo>
                      <a:pt x="16961" y="11648"/>
                    </a:lnTo>
                    <a:lnTo>
                      <a:pt x="17392" y="11648"/>
                    </a:lnTo>
                    <a:lnTo>
                      <a:pt x="17392" y="11786"/>
                    </a:lnTo>
                    <a:lnTo>
                      <a:pt x="17544" y="11786"/>
                    </a:lnTo>
                    <a:lnTo>
                      <a:pt x="17544" y="11648"/>
                    </a:lnTo>
                    <a:lnTo>
                      <a:pt x="17696" y="11511"/>
                    </a:lnTo>
                    <a:lnTo>
                      <a:pt x="17848" y="11396"/>
                    </a:lnTo>
                    <a:lnTo>
                      <a:pt x="17848" y="11511"/>
                    </a:lnTo>
                    <a:lnTo>
                      <a:pt x="17975" y="11511"/>
                    </a:lnTo>
                    <a:lnTo>
                      <a:pt x="17975" y="11396"/>
                    </a:lnTo>
                    <a:lnTo>
                      <a:pt x="18279" y="11396"/>
                    </a:lnTo>
                    <a:lnTo>
                      <a:pt x="18279" y="10983"/>
                    </a:lnTo>
                    <a:lnTo>
                      <a:pt x="18406" y="10983"/>
                    </a:lnTo>
                    <a:lnTo>
                      <a:pt x="18406" y="10594"/>
                    </a:lnTo>
                    <a:lnTo>
                      <a:pt x="18862" y="10594"/>
                    </a:lnTo>
                    <a:lnTo>
                      <a:pt x="18862" y="10479"/>
                    </a:lnTo>
                    <a:lnTo>
                      <a:pt x="18989" y="10479"/>
                    </a:lnTo>
                    <a:lnTo>
                      <a:pt x="18989" y="10341"/>
                    </a:lnTo>
                    <a:lnTo>
                      <a:pt x="19141" y="10341"/>
                    </a:lnTo>
                    <a:lnTo>
                      <a:pt x="19141" y="10204"/>
                    </a:lnTo>
                    <a:lnTo>
                      <a:pt x="19141" y="10341"/>
                    </a:lnTo>
                    <a:lnTo>
                      <a:pt x="19293" y="10341"/>
                    </a:lnTo>
                    <a:lnTo>
                      <a:pt x="19293" y="10204"/>
                    </a:lnTo>
                    <a:lnTo>
                      <a:pt x="19420" y="10341"/>
                    </a:lnTo>
                    <a:lnTo>
                      <a:pt x="19420" y="10479"/>
                    </a:lnTo>
                    <a:lnTo>
                      <a:pt x="19293" y="10479"/>
                    </a:lnTo>
                    <a:lnTo>
                      <a:pt x="19293" y="10594"/>
                    </a:lnTo>
                    <a:lnTo>
                      <a:pt x="19141" y="10594"/>
                    </a:lnTo>
                    <a:lnTo>
                      <a:pt x="19141" y="10731"/>
                    </a:lnTo>
                    <a:lnTo>
                      <a:pt x="19293" y="10869"/>
                    </a:lnTo>
                    <a:lnTo>
                      <a:pt x="19293" y="10731"/>
                    </a:lnTo>
                    <a:lnTo>
                      <a:pt x="19420" y="10869"/>
                    </a:lnTo>
                    <a:lnTo>
                      <a:pt x="19572" y="10869"/>
                    </a:lnTo>
                    <a:lnTo>
                      <a:pt x="19572" y="10731"/>
                    </a:lnTo>
                    <a:lnTo>
                      <a:pt x="19724" y="10869"/>
                    </a:lnTo>
                    <a:lnTo>
                      <a:pt x="20155" y="10869"/>
                    </a:lnTo>
                    <a:lnTo>
                      <a:pt x="20155" y="10731"/>
                    </a:lnTo>
                    <a:lnTo>
                      <a:pt x="20434" y="10731"/>
                    </a:lnTo>
                    <a:lnTo>
                      <a:pt x="20434" y="10479"/>
                    </a:lnTo>
                    <a:lnTo>
                      <a:pt x="20586" y="10479"/>
                    </a:lnTo>
                    <a:lnTo>
                      <a:pt x="20586" y="10594"/>
                    </a:lnTo>
                    <a:lnTo>
                      <a:pt x="20738" y="10594"/>
                    </a:lnTo>
                    <a:lnTo>
                      <a:pt x="20738" y="10066"/>
                    </a:lnTo>
                    <a:lnTo>
                      <a:pt x="20586" y="10066"/>
                    </a:lnTo>
                    <a:lnTo>
                      <a:pt x="20738" y="9952"/>
                    </a:lnTo>
                    <a:lnTo>
                      <a:pt x="20738" y="9814"/>
                    </a:lnTo>
                    <a:lnTo>
                      <a:pt x="20586" y="9814"/>
                    </a:lnTo>
                    <a:lnTo>
                      <a:pt x="20434" y="9952"/>
                    </a:lnTo>
                    <a:lnTo>
                      <a:pt x="20434" y="9814"/>
                    </a:lnTo>
                    <a:lnTo>
                      <a:pt x="20307" y="9814"/>
                    </a:lnTo>
                    <a:lnTo>
                      <a:pt x="20307" y="9676"/>
                    </a:lnTo>
                    <a:lnTo>
                      <a:pt x="20155" y="9676"/>
                    </a:lnTo>
                    <a:lnTo>
                      <a:pt x="20155" y="9424"/>
                    </a:lnTo>
                    <a:lnTo>
                      <a:pt x="20003" y="9424"/>
                    </a:lnTo>
                    <a:lnTo>
                      <a:pt x="20003" y="9287"/>
                    </a:lnTo>
                    <a:lnTo>
                      <a:pt x="19876" y="9172"/>
                    </a:lnTo>
                    <a:lnTo>
                      <a:pt x="19876" y="9034"/>
                    </a:lnTo>
                    <a:lnTo>
                      <a:pt x="20155" y="9034"/>
                    </a:lnTo>
                    <a:lnTo>
                      <a:pt x="20003" y="8897"/>
                    </a:lnTo>
                    <a:lnTo>
                      <a:pt x="20155" y="8897"/>
                    </a:lnTo>
                    <a:lnTo>
                      <a:pt x="20003" y="8897"/>
                    </a:lnTo>
                    <a:lnTo>
                      <a:pt x="20003" y="8507"/>
                    </a:lnTo>
                    <a:lnTo>
                      <a:pt x="20155" y="8507"/>
                    </a:lnTo>
                    <a:lnTo>
                      <a:pt x="20155" y="8369"/>
                    </a:lnTo>
                    <a:lnTo>
                      <a:pt x="20003" y="8255"/>
                    </a:lnTo>
                    <a:lnTo>
                      <a:pt x="20003" y="8117"/>
                    </a:lnTo>
                    <a:lnTo>
                      <a:pt x="20155" y="8117"/>
                    </a:lnTo>
                    <a:lnTo>
                      <a:pt x="20307" y="7980"/>
                    </a:lnTo>
                    <a:lnTo>
                      <a:pt x="20434" y="7980"/>
                    </a:lnTo>
                    <a:lnTo>
                      <a:pt x="20434" y="8117"/>
                    </a:lnTo>
                    <a:lnTo>
                      <a:pt x="20586" y="7980"/>
                    </a:lnTo>
                    <a:lnTo>
                      <a:pt x="20738" y="7980"/>
                    </a:lnTo>
                    <a:lnTo>
                      <a:pt x="20738" y="8117"/>
                    </a:lnTo>
                    <a:lnTo>
                      <a:pt x="20890" y="8117"/>
                    </a:lnTo>
                    <a:lnTo>
                      <a:pt x="21017" y="8255"/>
                    </a:lnTo>
                    <a:lnTo>
                      <a:pt x="21017" y="8117"/>
                    </a:lnTo>
                    <a:lnTo>
                      <a:pt x="21017" y="8255"/>
                    </a:lnTo>
                    <a:lnTo>
                      <a:pt x="21169" y="8255"/>
                    </a:lnTo>
                    <a:lnTo>
                      <a:pt x="21169" y="8117"/>
                    </a:lnTo>
                    <a:lnTo>
                      <a:pt x="21321" y="8117"/>
                    </a:lnTo>
                    <a:lnTo>
                      <a:pt x="21448" y="7980"/>
                    </a:lnTo>
                    <a:lnTo>
                      <a:pt x="21600" y="7980"/>
                    </a:lnTo>
                    <a:lnTo>
                      <a:pt x="21600" y="7842"/>
                    </a:lnTo>
                    <a:lnTo>
                      <a:pt x="21448" y="7842"/>
                    </a:lnTo>
                    <a:lnTo>
                      <a:pt x="21448" y="7590"/>
                    </a:lnTo>
                    <a:lnTo>
                      <a:pt x="21169" y="7590"/>
                    </a:lnTo>
                    <a:lnTo>
                      <a:pt x="21169" y="7452"/>
                    </a:lnTo>
                    <a:lnTo>
                      <a:pt x="21017" y="7452"/>
                    </a:lnTo>
                    <a:lnTo>
                      <a:pt x="21017" y="7338"/>
                    </a:lnTo>
                    <a:lnTo>
                      <a:pt x="21169" y="7338"/>
                    </a:lnTo>
                    <a:lnTo>
                      <a:pt x="21017" y="7338"/>
                    </a:lnTo>
                    <a:lnTo>
                      <a:pt x="21017" y="7062"/>
                    </a:lnTo>
                    <a:lnTo>
                      <a:pt x="20890" y="7062"/>
                    </a:lnTo>
                    <a:lnTo>
                      <a:pt x="20890" y="6925"/>
                    </a:lnTo>
                    <a:lnTo>
                      <a:pt x="21017" y="6925"/>
                    </a:lnTo>
                    <a:lnTo>
                      <a:pt x="20890" y="6810"/>
                    </a:lnTo>
                    <a:lnTo>
                      <a:pt x="20738" y="6810"/>
                    </a:lnTo>
                    <a:lnTo>
                      <a:pt x="20890" y="6810"/>
                    </a:lnTo>
                    <a:lnTo>
                      <a:pt x="20738" y="6810"/>
                    </a:lnTo>
                    <a:lnTo>
                      <a:pt x="20738" y="6283"/>
                    </a:lnTo>
                    <a:lnTo>
                      <a:pt x="20586" y="6283"/>
                    </a:lnTo>
                    <a:lnTo>
                      <a:pt x="20307" y="6145"/>
                    </a:lnTo>
                    <a:lnTo>
                      <a:pt x="20307" y="6008"/>
                    </a:lnTo>
                    <a:lnTo>
                      <a:pt x="20003" y="6008"/>
                    </a:lnTo>
                    <a:lnTo>
                      <a:pt x="20003" y="6145"/>
                    </a:lnTo>
                    <a:lnTo>
                      <a:pt x="20003" y="6008"/>
                    </a:lnTo>
                    <a:lnTo>
                      <a:pt x="20003" y="6145"/>
                    </a:lnTo>
                    <a:lnTo>
                      <a:pt x="19876" y="6145"/>
                    </a:lnTo>
                    <a:lnTo>
                      <a:pt x="19876" y="6283"/>
                    </a:lnTo>
                    <a:lnTo>
                      <a:pt x="20003" y="6283"/>
                    </a:lnTo>
                    <a:lnTo>
                      <a:pt x="19876" y="6283"/>
                    </a:lnTo>
                    <a:lnTo>
                      <a:pt x="19876" y="6420"/>
                    </a:lnTo>
                    <a:lnTo>
                      <a:pt x="19876" y="6283"/>
                    </a:lnTo>
                    <a:lnTo>
                      <a:pt x="19572" y="6283"/>
                    </a:lnTo>
                    <a:lnTo>
                      <a:pt x="19572" y="6420"/>
                    </a:lnTo>
                    <a:lnTo>
                      <a:pt x="19141" y="6420"/>
                    </a:lnTo>
                    <a:lnTo>
                      <a:pt x="19141" y="5893"/>
                    </a:lnTo>
                    <a:lnTo>
                      <a:pt x="18989" y="5893"/>
                    </a:lnTo>
                    <a:lnTo>
                      <a:pt x="18989" y="5755"/>
                    </a:lnTo>
                    <a:lnTo>
                      <a:pt x="19141" y="5755"/>
                    </a:lnTo>
                    <a:lnTo>
                      <a:pt x="19141" y="5503"/>
                    </a:lnTo>
                    <a:lnTo>
                      <a:pt x="18989" y="5503"/>
                    </a:lnTo>
                    <a:lnTo>
                      <a:pt x="18989" y="5618"/>
                    </a:lnTo>
                    <a:lnTo>
                      <a:pt x="18862" y="5618"/>
                    </a:lnTo>
                    <a:lnTo>
                      <a:pt x="18862" y="5503"/>
                    </a:lnTo>
                    <a:lnTo>
                      <a:pt x="18710" y="5503"/>
                    </a:lnTo>
                    <a:lnTo>
                      <a:pt x="18710" y="5366"/>
                    </a:lnTo>
                    <a:lnTo>
                      <a:pt x="18558" y="5366"/>
                    </a:lnTo>
                    <a:lnTo>
                      <a:pt x="18558" y="5228"/>
                    </a:lnTo>
                    <a:lnTo>
                      <a:pt x="17975" y="5228"/>
                    </a:lnTo>
                    <a:lnTo>
                      <a:pt x="17975" y="5113"/>
                    </a:lnTo>
                    <a:lnTo>
                      <a:pt x="17848" y="5113"/>
                    </a:lnTo>
                    <a:lnTo>
                      <a:pt x="17848" y="5228"/>
                    </a:lnTo>
                    <a:lnTo>
                      <a:pt x="17696" y="5228"/>
                    </a:lnTo>
                    <a:lnTo>
                      <a:pt x="17696" y="5113"/>
                    </a:lnTo>
                    <a:lnTo>
                      <a:pt x="17392" y="5113"/>
                    </a:lnTo>
                    <a:lnTo>
                      <a:pt x="17392" y="5228"/>
                    </a:lnTo>
                    <a:lnTo>
                      <a:pt x="17113" y="5228"/>
                    </a:lnTo>
                    <a:lnTo>
                      <a:pt x="17113" y="5755"/>
                    </a:lnTo>
                    <a:lnTo>
                      <a:pt x="16834" y="5755"/>
                    </a:lnTo>
                    <a:lnTo>
                      <a:pt x="16834" y="5893"/>
                    </a:lnTo>
                    <a:lnTo>
                      <a:pt x="16682" y="5893"/>
                    </a:lnTo>
                    <a:lnTo>
                      <a:pt x="16682" y="6145"/>
                    </a:lnTo>
                    <a:lnTo>
                      <a:pt x="16834" y="6145"/>
                    </a:lnTo>
                    <a:lnTo>
                      <a:pt x="16682" y="6145"/>
                    </a:lnTo>
                    <a:lnTo>
                      <a:pt x="16682" y="6283"/>
                    </a:lnTo>
                    <a:lnTo>
                      <a:pt x="16530" y="6283"/>
                    </a:lnTo>
                    <a:lnTo>
                      <a:pt x="16530" y="6673"/>
                    </a:lnTo>
                    <a:lnTo>
                      <a:pt x="16377" y="6673"/>
                    </a:lnTo>
                    <a:lnTo>
                      <a:pt x="16377" y="6810"/>
                    </a:lnTo>
                    <a:lnTo>
                      <a:pt x="16251" y="6810"/>
                    </a:lnTo>
                    <a:lnTo>
                      <a:pt x="16251" y="6925"/>
                    </a:lnTo>
                    <a:lnTo>
                      <a:pt x="16099" y="6925"/>
                    </a:lnTo>
                    <a:lnTo>
                      <a:pt x="16099" y="7200"/>
                    </a:lnTo>
                    <a:lnTo>
                      <a:pt x="15946" y="7200"/>
                    </a:lnTo>
                    <a:lnTo>
                      <a:pt x="15946" y="7338"/>
                    </a:lnTo>
                    <a:lnTo>
                      <a:pt x="16099" y="7338"/>
                    </a:lnTo>
                    <a:lnTo>
                      <a:pt x="16099" y="7590"/>
                    </a:lnTo>
                    <a:lnTo>
                      <a:pt x="15946" y="7590"/>
                    </a:lnTo>
                    <a:lnTo>
                      <a:pt x="15946" y="7727"/>
                    </a:lnTo>
                    <a:lnTo>
                      <a:pt x="15820" y="7727"/>
                    </a:lnTo>
                    <a:lnTo>
                      <a:pt x="15820" y="7842"/>
                    </a:lnTo>
                    <a:lnTo>
                      <a:pt x="15515" y="7842"/>
                    </a:lnTo>
                    <a:lnTo>
                      <a:pt x="15515" y="8117"/>
                    </a:lnTo>
                    <a:lnTo>
                      <a:pt x="15363" y="8117"/>
                    </a:lnTo>
                    <a:lnTo>
                      <a:pt x="15363" y="7980"/>
                    </a:lnTo>
                    <a:lnTo>
                      <a:pt x="15363" y="8369"/>
                    </a:lnTo>
                    <a:lnTo>
                      <a:pt x="15237" y="8255"/>
                    </a:lnTo>
                    <a:lnTo>
                      <a:pt x="15237" y="7727"/>
                    </a:lnTo>
                    <a:lnTo>
                      <a:pt x="15363" y="7727"/>
                    </a:lnTo>
                    <a:lnTo>
                      <a:pt x="15363" y="7590"/>
                    </a:lnTo>
                    <a:lnTo>
                      <a:pt x="14932" y="7590"/>
                    </a:lnTo>
                    <a:lnTo>
                      <a:pt x="14932" y="7338"/>
                    </a:lnTo>
                    <a:lnTo>
                      <a:pt x="14806" y="7452"/>
                    </a:lnTo>
                    <a:lnTo>
                      <a:pt x="14806" y="7590"/>
                    </a:lnTo>
                    <a:lnTo>
                      <a:pt x="14654" y="7727"/>
                    </a:lnTo>
                    <a:lnTo>
                      <a:pt x="14806" y="7727"/>
                    </a:lnTo>
                    <a:lnTo>
                      <a:pt x="14654" y="7727"/>
                    </a:lnTo>
                    <a:lnTo>
                      <a:pt x="14501" y="7842"/>
                    </a:lnTo>
                    <a:lnTo>
                      <a:pt x="14349" y="784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40" name="Shape 2965"/>
              <p:cNvSpPr/>
              <p:nvPr/>
            </p:nvSpPr>
            <p:spPr>
              <a:xfrm>
                <a:off x="10547101" y="5699350"/>
                <a:ext cx="239749" cy="15742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607" y="4558"/>
                    </a:moveTo>
                    <a:lnTo>
                      <a:pt x="17957" y="4558"/>
                    </a:lnTo>
                    <a:lnTo>
                      <a:pt x="17957" y="5747"/>
                    </a:lnTo>
                    <a:lnTo>
                      <a:pt x="18607" y="5747"/>
                    </a:lnTo>
                    <a:lnTo>
                      <a:pt x="17957" y="6738"/>
                    </a:lnTo>
                    <a:lnTo>
                      <a:pt x="16395" y="6738"/>
                    </a:lnTo>
                    <a:lnTo>
                      <a:pt x="16395" y="7927"/>
                    </a:lnTo>
                    <a:lnTo>
                      <a:pt x="15614" y="6738"/>
                    </a:lnTo>
                    <a:lnTo>
                      <a:pt x="15614" y="7927"/>
                    </a:lnTo>
                    <a:lnTo>
                      <a:pt x="15614" y="6738"/>
                    </a:lnTo>
                    <a:lnTo>
                      <a:pt x="15614" y="7927"/>
                    </a:lnTo>
                    <a:lnTo>
                      <a:pt x="13402" y="7927"/>
                    </a:lnTo>
                    <a:lnTo>
                      <a:pt x="13402" y="6738"/>
                    </a:lnTo>
                    <a:lnTo>
                      <a:pt x="12752" y="5747"/>
                    </a:lnTo>
                    <a:lnTo>
                      <a:pt x="11971" y="5747"/>
                    </a:lnTo>
                    <a:lnTo>
                      <a:pt x="11971" y="3369"/>
                    </a:lnTo>
                    <a:lnTo>
                      <a:pt x="11190" y="3369"/>
                    </a:lnTo>
                    <a:lnTo>
                      <a:pt x="11190" y="0"/>
                    </a:lnTo>
                    <a:lnTo>
                      <a:pt x="10410" y="0"/>
                    </a:lnTo>
                    <a:lnTo>
                      <a:pt x="10410" y="1189"/>
                    </a:lnTo>
                    <a:lnTo>
                      <a:pt x="9759" y="1189"/>
                    </a:lnTo>
                    <a:lnTo>
                      <a:pt x="9759" y="2180"/>
                    </a:lnTo>
                    <a:lnTo>
                      <a:pt x="9759" y="1189"/>
                    </a:lnTo>
                    <a:lnTo>
                      <a:pt x="8978" y="1189"/>
                    </a:lnTo>
                    <a:lnTo>
                      <a:pt x="8978" y="3369"/>
                    </a:lnTo>
                    <a:lnTo>
                      <a:pt x="7547" y="3369"/>
                    </a:lnTo>
                    <a:lnTo>
                      <a:pt x="7547" y="4558"/>
                    </a:lnTo>
                    <a:lnTo>
                      <a:pt x="7547" y="3369"/>
                    </a:lnTo>
                    <a:lnTo>
                      <a:pt x="6766" y="3369"/>
                    </a:lnTo>
                    <a:lnTo>
                      <a:pt x="6766" y="4558"/>
                    </a:lnTo>
                    <a:lnTo>
                      <a:pt x="7547" y="5747"/>
                    </a:lnTo>
                    <a:lnTo>
                      <a:pt x="6766" y="5747"/>
                    </a:lnTo>
                    <a:lnTo>
                      <a:pt x="7547" y="5747"/>
                    </a:lnTo>
                    <a:lnTo>
                      <a:pt x="6766" y="5747"/>
                    </a:lnTo>
                    <a:lnTo>
                      <a:pt x="6766" y="6738"/>
                    </a:lnTo>
                    <a:lnTo>
                      <a:pt x="6766" y="5747"/>
                    </a:lnTo>
                    <a:lnTo>
                      <a:pt x="5986" y="5747"/>
                    </a:lnTo>
                    <a:lnTo>
                      <a:pt x="5986" y="3369"/>
                    </a:lnTo>
                    <a:lnTo>
                      <a:pt x="3773" y="3369"/>
                    </a:lnTo>
                    <a:lnTo>
                      <a:pt x="3773" y="1189"/>
                    </a:lnTo>
                    <a:lnTo>
                      <a:pt x="2993" y="1189"/>
                    </a:lnTo>
                    <a:lnTo>
                      <a:pt x="2993" y="2180"/>
                    </a:lnTo>
                    <a:lnTo>
                      <a:pt x="1561" y="2180"/>
                    </a:lnTo>
                    <a:lnTo>
                      <a:pt x="1561" y="3369"/>
                    </a:lnTo>
                    <a:lnTo>
                      <a:pt x="781" y="3369"/>
                    </a:lnTo>
                    <a:lnTo>
                      <a:pt x="781" y="4558"/>
                    </a:lnTo>
                    <a:lnTo>
                      <a:pt x="1561" y="4558"/>
                    </a:lnTo>
                    <a:lnTo>
                      <a:pt x="2342" y="5747"/>
                    </a:lnTo>
                    <a:lnTo>
                      <a:pt x="1561" y="5747"/>
                    </a:lnTo>
                    <a:lnTo>
                      <a:pt x="2342" y="6738"/>
                    </a:lnTo>
                    <a:lnTo>
                      <a:pt x="2993" y="6738"/>
                    </a:lnTo>
                    <a:lnTo>
                      <a:pt x="2993" y="9116"/>
                    </a:lnTo>
                    <a:lnTo>
                      <a:pt x="2342" y="9116"/>
                    </a:lnTo>
                    <a:lnTo>
                      <a:pt x="2342" y="10106"/>
                    </a:lnTo>
                    <a:lnTo>
                      <a:pt x="1561" y="10106"/>
                    </a:lnTo>
                    <a:lnTo>
                      <a:pt x="1561" y="11295"/>
                    </a:lnTo>
                    <a:lnTo>
                      <a:pt x="0" y="11295"/>
                    </a:lnTo>
                    <a:lnTo>
                      <a:pt x="0" y="12484"/>
                    </a:lnTo>
                    <a:lnTo>
                      <a:pt x="781" y="12484"/>
                    </a:lnTo>
                    <a:lnTo>
                      <a:pt x="781" y="13673"/>
                    </a:lnTo>
                    <a:lnTo>
                      <a:pt x="1561" y="13673"/>
                    </a:lnTo>
                    <a:lnTo>
                      <a:pt x="2342" y="14664"/>
                    </a:lnTo>
                    <a:lnTo>
                      <a:pt x="2993" y="14664"/>
                    </a:lnTo>
                    <a:lnTo>
                      <a:pt x="3773" y="15853"/>
                    </a:lnTo>
                    <a:lnTo>
                      <a:pt x="3773" y="12484"/>
                    </a:lnTo>
                    <a:lnTo>
                      <a:pt x="4554" y="12484"/>
                    </a:lnTo>
                    <a:lnTo>
                      <a:pt x="4554" y="11295"/>
                    </a:lnTo>
                    <a:lnTo>
                      <a:pt x="5986" y="11295"/>
                    </a:lnTo>
                    <a:lnTo>
                      <a:pt x="5986" y="10106"/>
                    </a:lnTo>
                    <a:lnTo>
                      <a:pt x="6766" y="10106"/>
                    </a:lnTo>
                    <a:lnTo>
                      <a:pt x="6766" y="14664"/>
                    </a:lnTo>
                    <a:lnTo>
                      <a:pt x="8198" y="14664"/>
                    </a:lnTo>
                    <a:lnTo>
                      <a:pt x="8978" y="15853"/>
                    </a:lnTo>
                    <a:lnTo>
                      <a:pt x="8978" y="17042"/>
                    </a:lnTo>
                    <a:lnTo>
                      <a:pt x="9759" y="18033"/>
                    </a:lnTo>
                    <a:lnTo>
                      <a:pt x="10410" y="18033"/>
                    </a:lnTo>
                    <a:lnTo>
                      <a:pt x="9759" y="18033"/>
                    </a:lnTo>
                    <a:lnTo>
                      <a:pt x="9759" y="17042"/>
                    </a:lnTo>
                    <a:lnTo>
                      <a:pt x="10410" y="17042"/>
                    </a:lnTo>
                    <a:lnTo>
                      <a:pt x="9759" y="17042"/>
                    </a:lnTo>
                    <a:lnTo>
                      <a:pt x="9759" y="14664"/>
                    </a:lnTo>
                    <a:lnTo>
                      <a:pt x="10410" y="14664"/>
                    </a:lnTo>
                    <a:lnTo>
                      <a:pt x="10410" y="13673"/>
                    </a:lnTo>
                    <a:lnTo>
                      <a:pt x="12752" y="13673"/>
                    </a:lnTo>
                    <a:lnTo>
                      <a:pt x="12752" y="14664"/>
                    </a:lnTo>
                    <a:lnTo>
                      <a:pt x="11971" y="14664"/>
                    </a:lnTo>
                    <a:lnTo>
                      <a:pt x="11971" y="15853"/>
                    </a:lnTo>
                    <a:lnTo>
                      <a:pt x="13402" y="15853"/>
                    </a:lnTo>
                    <a:lnTo>
                      <a:pt x="13402" y="18033"/>
                    </a:lnTo>
                    <a:lnTo>
                      <a:pt x="14964" y="20411"/>
                    </a:lnTo>
                    <a:lnTo>
                      <a:pt x="14964" y="21600"/>
                    </a:lnTo>
                    <a:lnTo>
                      <a:pt x="16395" y="21600"/>
                    </a:lnTo>
                    <a:lnTo>
                      <a:pt x="16395" y="20411"/>
                    </a:lnTo>
                    <a:lnTo>
                      <a:pt x="17176" y="20411"/>
                    </a:lnTo>
                    <a:lnTo>
                      <a:pt x="17176" y="19222"/>
                    </a:lnTo>
                    <a:lnTo>
                      <a:pt x="17957" y="18033"/>
                    </a:lnTo>
                    <a:lnTo>
                      <a:pt x="18607" y="18033"/>
                    </a:lnTo>
                    <a:lnTo>
                      <a:pt x="18607" y="15853"/>
                    </a:lnTo>
                    <a:lnTo>
                      <a:pt x="19388" y="15853"/>
                    </a:lnTo>
                    <a:lnTo>
                      <a:pt x="19388" y="14664"/>
                    </a:lnTo>
                    <a:lnTo>
                      <a:pt x="20169" y="14664"/>
                    </a:lnTo>
                    <a:lnTo>
                      <a:pt x="19388" y="13673"/>
                    </a:lnTo>
                    <a:lnTo>
                      <a:pt x="20169" y="13673"/>
                    </a:lnTo>
                    <a:lnTo>
                      <a:pt x="20169" y="10106"/>
                    </a:lnTo>
                    <a:lnTo>
                      <a:pt x="21600" y="10106"/>
                    </a:lnTo>
                    <a:lnTo>
                      <a:pt x="21600" y="7927"/>
                    </a:lnTo>
                    <a:lnTo>
                      <a:pt x="20819" y="9116"/>
                    </a:lnTo>
                    <a:lnTo>
                      <a:pt x="20819" y="6738"/>
                    </a:lnTo>
                    <a:lnTo>
                      <a:pt x="20169" y="6738"/>
                    </a:lnTo>
                    <a:lnTo>
                      <a:pt x="20169" y="7927"/>
                    </a:lnTo>
                    <a:lnTo>
                      <a:pt x="19388" y="7927"/>
                    </a:lnTo>
                    <a:lnTo>
                      <a:pt x="19388" y="4558"/>
                    </a:lnTo>
                    <a:lnTo>
                      <a:pt x="18607" y="455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41" name="Shape 2966"/>
              <p:cNvSpPr/>
              <p:nvPr/>
            </p:nvSpPr>
            <p:spPr>
              <a:xfrm>
                <a:off x="11464208" y="5121644"/>
                <a:ext cx="957548" cy="668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029" y="2706"/>
                    </a:moveTo>
                    <a:lnTo>
                      <a:pt x="16029" y="2939"/>
                    </a:lnTo>
                    <a:lnTo>
                      <a:pt x="15833" y="2939"/>
                    </a:lnTo>
                    <a:lnTo>
                      <a:pt x="15833" y="3499"/>
                    </a:lnTo>
                    <a:lnTo>
                      <a:pt x="15638" y="3499"/>
                    </a:lnTo>
                    <a:lnTo>
                      <a:pt x="15638" y="3732"/>
                    </a:lnTo>
                    <a:lnTo>
                      <a:pt x="15443" y="3732"/>
                    </a:lnTo>
                    <a:lnTo>
                      <a:pt x="15443" y="5085"/>
                    </a:lnTo>
                    <a:lnTo>
                      <a:pt x="15638" y="5085"/>
                    </a:lnTo>
                    <a:lnTo>
                      <a:pt x="15443" y="5085"/>
                    </a:lnTo>
                    <a:lnTo>
                      <a:pt x="15443" y="5365"/>
                    </a:lnTo>
                    <a:lnTo>
                      <a:pt x="15443" y="5085"/>
                    </a:lnTo>
                    <a:lnTo>
                      <a:pt x="15280" y="5085"/>
                    </a:lnTo>
                    <a:lnTo>
                      <a:pt x="15280" y="5365"/>
                    </a:lnTo>
                    <a:lnTo>
                      <a:pt x="15084" y="5365"/>
                    </a:lnTo>
                    <a:lnTo>
                      <a:pt x="15084" y="6951"/>
                    </a:lnTo>
                    <a:lnTo>
                      <a:pt x="15280" y="6671"/>
                    </a:lnTo>
                    <a:lnTo>
                      <a:pt x="15280" y="6951"/>
                    </a:lnTo>
                    <a:lnTo>
                      <a:pt x="15280" y="6671"/>
                    </a:lnTo>
                    <a:lnTo>
                      <a:pt x="15443" y="6671"/>
                    </a:lnTo>
                    <a:lnTo>
                      <a:pt x="15638" y="6951"/>
                    </a:lnTo>
                    <a:lnTo>
                      <a:pt x="15638" y="6671"/>
                    </a:lnTo>
                    <a:lnTo>
                      <a:pt x="15833" y="6951"/>
                    </a:lnTo>
                    <a:lnTo>
                      <a:pt x="15833" y="6671"/>
                    </a:lnTo>
                    <a:lnTo>
                      <a:pt x="16192" y="6671"/>
                    </a:lnTo>
                    <a:lnTo>
                      <a:pt x="16192" y="6391"/>
                    </a:lnTo>
                    <a:lnTo>
                      <a:pt x="16387" y="6391"/>
                    </a:lnTo>
                    <a:lnTo>
                      <a:pt x="16387" y="6671"/>
                    </a:lnTo>
                    <a:lnTo>
                      <a:pt x="16583" y="6671"/>
                    </a:lnTo>
                    <a:lnTo>
                      <a:pt x="16583" y="6951"/>
                    </a:lnTo>
                    <a:lnTo>
                      <a:pt x="16746" y="7231"/>
                    </a:lnTo>
                    <a:lnTo>
                      <a:pt x="16746" y="7464"/>
                    </a:lnTo>
                    <a:lnTo>
                      <a:pt x="16941" y="7464"/>
                    </a:lnTo>
                    <a:lnTo>
                      <a:pt x="16941" y="8024"/>
                    </a:lnTo>
                    <a:lnTo>
                      <a:pt x="17137" y="8024"/>
                    </a:lnTo>
                    <a:lnTo>
                      <a:pt x="17332" y="7744"/>
                    </a:lnTo>
                    <a:lnTo>
                      <a:pt x="17495" y="7744"/>
                    </a:lnTo>
                    <a:lnTo>
                      <a:pt x="17495" y="8024"/>
                    </a:lnTo>
                    <a:lnTo>
                      <a:pt x="17690" y="8024"/>
                    </a:lnTo>
                    <a:lnTo>
                      <a:pt x="17690" y="7464"/>
                    </a:lnTo>
                    <a:lnTo>
                      <a:pt x="18049" y="7464"/>
                    </a:lnTo>
                    <a:lnTo>
                      <a:pt x="18049" y="7231"/>
                    </a:lnTo>
                    <a:lnTo>
                      <a:pt x="18440" y="7231"/>
                    </a:lnTo>
                    <a:lnTo>
                      <a:pt x="18440" y="6951"/>
                    </a:lnTo>
                    <a:lnTo>
                      <a:pt x="18635" y="6951"/>
                    </a:lnTo>
                    <a:lnTo>
                      <a:pt x="18635" y="6671"/>
                    </a:lnTo>
                    <a:lnTo>
                      <a:pt x="18798" y="6671"/>
                    </a:lnTo>
                    <a:lnTo>
                      <a:pt x="18994" y="6391"/>
                    </a:lnTo>
                    <a:lnTo>
                      <a:pt x="18798" y="6391"/>
                    </a:lnTo>
                    <a:lnTo>
                      <a:pt x="18798" y="6158"/>
                    </a:lnTo>
                    <a:lnTo>
                      <a:pt x="18994" y="6158"/>
                    </a:lnTo>
                    <a:lnTo>
                      <a:pt x="18994" y="5598"/>
                    </a:lnTo>
                    <a:lnTo>
                      <a:pt x="19189" y="5598"/>
                    </a:lnTo>
                    <a:lnTo>
                      <a:pt x="19189" y="5365"/>
                    </a:lnTo>
                    <a:lnTo>
                      <a:pt x="19352" y="5365"/>
                    </a:lnTo>
                    <a:lnTo>
                      <a:pt x="19352" y="5598"/>
                    </a:lnTo>
                    <a:lnTo>
                      <a:pt x="19548" y="5598"/>
                    </a:lnTo>
                    <a:lnTo>
                      <a:pt x="19548" y="5365"/>
                    </a:lnTo>
                    <a:lnTo>
                      <a:pt x="19938" y="5365"/>
                    </a:lnTo>
                    <a:lnTo>
                      <a:pt x="19938" y="5085"/>
                    </a:lnTo>
                    <a:lnTo>
                      <a:pt x="20101" y="5085"/>
                    </a:lnTo>
                    <a:lnTo>
                      <a:pt x="20101" y="4805"/>
                    </a:lnTo>
                    <a:lnTo>
                      <a:pt x="20297" y="4805"/>
                    </a:lnTo>
                    <a:lnTo>
                      <a:pt x="20297" y="4525"/>
                    </a:lnTo>
                    <a:lnTo>
                      <a:pt x="20655" y="4525"/>
                    </a:lnTo>
                    <a:lnTo>
                      <a:pt x="20655" y="4805"/>
                    </a:lnTo>
                    <a:lnTo>
                      <a:pt x="20655" y="4525"/>
                    </a:lnTo>
                    <a:lnTo>
                      <a:pt x="20851" y="4525"/>
                    </a:lnTo>
                    <a:lnTo>
                      <a:pt x="20851" y="4805"/>
                    </a:lnTo>
                    <a:lnTo>
                      <a:pt x="21046" y="4805"/>
                    </a:lnTo>
                    <a:lnTo>
                      <a:pt x="20851" y="4805"/>
                    </a:lnTo>
                    <a:lnTo>
                      <a:pt x="20851" y="5085"/>
                    </a:lnTo>
                    <a:lnTo>
                      <a:pt x="21046" y="5085"/>
                    </a:lnTo>
                    <a:lnTo>
                      <a:pt x="21046" y="5598"/>
                    </a:lnTo>
                    <a:lnTo>
                      <a:pt x="21242" y="5598"/>
                    </a:lnTo>
                    <a:lnTo>
                      <a:pt x="21242" y="5878"/>
                    </a:lnTo>
                    <a:lnTo>
                      <a:pt x="21046" y="5878"/>
                    </a:lnTo>
                    <a:lnTo>
                      <a:pt x="21046" y="6671"/>
                    </a:lnTo>
                    <a:lnTo>
                      <a:pt x="21242" y="6671"/>
                    </a:lnTo>
                    <a:lnTo>
                      <a:pt x="21242" y="6951"/>
                    </a:lnTo>
                    <a:lnTo>
                      <a:pt x="21405" y="6951"/>
                    </a:lnTo>
                    <a:lnTo>
                      <a:pt x="21405" y="7464"/>
                    </a:lnTo>
                    <a:lnTo>
                      <a:pt x="21600" y="7744"/>
                    </a:lnTo>
                    <a:lnTo>
                      <a:pt x="21405" y="7744"/>
                    </a:lnTo>
                    <a:lnTo>
                      <a:pt x="21405" y="8024"/>
                    </a:lnTo>
                    <a:lnTo>
                      <a:pt x="20492" y="8024"/>
                    </a:lnTo>
                    <a:lnTo>
                      <a:pt x="20492" y="8257"/>
                    </a:lnTo>
                    <a:lnTo>
                      <a:pt x="20492" y="8024"/>
                    </a:lnTo>
                    <a:lnTo>
                      <a:pt x="20297" y="8257"/>
                    </a:lnTo>
                    <a:lnTo>
                      <a:pt x="20101" y="8257"/>
                    </a:lnTo>
                    <a:lnTo>
                      <a:pt x="20101" y="8024"/>
                    </a:lnTo>
                    <a:lnTo>
                      <a:pt x="19743" y="8024"/>
                    </a:lnTo>
                    <a:lnTo>
                      <a:pt x="19743" y="8817"/>
                    </a:lnTo>
                    <a:lnTo>
                      <a:pt x="19938" y="8817"/>
                    </a:lnTo>
                    <a:lnTo>
                      <a:pt x="19938" y="9097"/>
                    </a:lnTo>
                    <a:lnTo>
                      <a:pt x="20101" y="9097"/>
                    </a:lnTo>
                    <a:lnTo>
                      <a:pt x="20101" y="9330"/>
                    </a:lnTo>
                    <a:lnTo>
                      <a:pt x="20297" y="9330"/>
                    </a:lnTo>
                    <a:lnTo>
                      <a:pt x="20101" y="9610"/>
                    </a:lnTo>
                    <a:lnTo>
                      <a:pt x="19938" y="9890"/>
                    </a:lnTo>
                    <a:lnTo>
                      <a:pt x="19548" y="9890"/>
                    </a:lnTo>
                    <a:lnTo>
                      <a:pt x="19548" y="10403"/>
                    </a:lnTo>
                    <a:lnTo>
                      <a:pt x="19352" y="10403"/>
                    </a:lnTo>
                    <a:lnTo>
                      <a:pt x="19352" y="10963"/>
                    </a:lnTo>
                    <a:lnTo>
                      <a:pt x="19189" y="10963"/>
                    </a:lnTo>
                    <a:lnTo>
                      <a:pt x="19189" y="11197"/>
                    </a:lnTo>
                    <a:lnTo>
                      <a:pt x="19352" y="11197"/>
                    </a:lnTo>
                    <a:lnTo>
                      <a:pt x="19352" y="11476"/>
                    </a:lnTo>
                    <a:lnTo>
                      <a:pt x="19189" y="11476"/>
                    </a:lnTo>
                    <a:lnTo>
                      <a:pt x="19189" y="11756"/>
                    </a:lnTo>
                    <a:lnTo>
                      <a:pt x="18994" y="11756"/>
                    </a:lnTo>
                    <a:lnTo>
                      <a:pt x="18798" y="11990"/>
                    </a:lnTo>
                    <a:lnTo>
                      <a:pt x="18994" y="11990"/>
                    </a:lnTo>
                    <a:lnTo>
                      <a:pt x="18798" y="11990"/>
                    </a:lnTo>
                    <a:lnTo>
                      <a:pt x="18798" y="12270"/>
                    </a:lnTo>
                    <a:lnTo>
                      <a:pt x="18635" y="12270"/>
                    </a:lnTo>
                    <a:lnTo>
                      <a:pt x="18440" y="12549"/>
                    </a:lnTo>
                    <a:lnTo>
                      <a:pt x="18244" y="12549"/>
                    </a:lnTo>
                    <a:lnTo>
                      <a:pt x="18244" y="12783"/>
                    </a:lnTo>
                    <a:lnTo>
                      <a:pt x="18440" y="12783"/>
                    </a:lnTo>
                    <a:lnTo>
                      <a:pt x="18440" y="13063"/>
                    </a:lnTo>
                    <a:lnTo>
                      <a:pt x="18635" y="13063"/>
                    </a:lnTo>
                    <a:lnTo>
                      <a:pt x="18635" y="13622"/>
                    </a:lnTo>
                    <a:lnTo>
                      <a:pt x="18440" y="13622"/>
                    </a:lnTo>
                    <a:lnTo>
                      <a:pt x="18440" y="13856"/>
                    </a:lnTo>
                    <a:lnTo>
                      <a:pt x="18244" y="14136"/>
                    </a:lnTo>
                    <a:lnTo>
                      <a:pt x="18244" y="14929"/>
                    </a:lnTo>
                    <a:lnTo>
                      <a:pt x="18049" y="14929"/>
                    </a:lnTo>
                    <a:lnTo>
                      <a:pt x="18049" y="15209"/>
                    </a:lnTo>
                    <a:lnTo>
                      <a:pt x="18244" y="15209"/>
                    </a:lnTo>
                    <a:lnTo>
                      <a:pt x="18244" y="16282"/>
                    </a:lnTo>
                    <a:lnTo>
                      <a:pt x="18440" y="16282"/>
                    </a:lnTo>
                    <a:lnTo>
                      <a:pt x="18440" y="16002"/>
                    </a:lnTo>
                    <a:lnTo>
                      <a:pt x="18798" y="16002"/>
                    </a:lnTo>
                    <a:lnTo>
                      <a:pt x="18798" y="16515"/>
                    </a:lnTo>
                    <a:lnTo>
                      <a:pt x="18635" y="16515"/>
                    </a:lnTo>
                    <a:lnTo>
                      <a:pt x="18798" y="16795"/>
                    </a:lnTo>
                    <a:lnTo>
                      <a:pt x="18798" y="16515"/>
                    </a:lnTo>
                    <a:lnTo>
                      <a:pt x="19352" y="16515"/>
                    </a:lnTo>
                    <a:lnTo>
                      <a:pt x="19352" y="16795"/>
                    </a:lnTo>
                    <a:lnTo>
                      <a:pt x="19548" y="16795"/>
                    </a:lnTo>
                    <a:lnTo>
                      <a:pt x="19548" y="16515"/>
                    </a:lnTo>
                    <a:lnTo>
                      <a:pt x="19548" y="16795"/>
                    </a:lnTo>
                    <a:lnTo>
                      <a:pt x="19743" y="16795"/>
                    </a:lnTo>
                    <a:lnTo>
                      <a:pt x="19743" y="17075"/>
                    </a:lnTo>
                    <a:lnTo>
                      <a:pt x="19548" y="17075"/>
                    </a:lnTo>
                    <a:lnTo>
                      <a:pt x="19548" y="17355"/>
                    </a:lnTo>
                    <a:lnTo>
                      <a:pt x="19743" y="17355"/>
                    </a:lnTo>
                    <a:lnTo>
                      <a:pt x="19938" y="17588"/>
                    </a:lnTo>
                    <a:lnTo>
                      <a:pt x="19938" y="17868"/>
                    </a:lnTo>
                    <a:lnTo>
                      <a:pt x="20101" y="17868"/>
                    </a:lnTo>
                    <a:lnTo>
                      <a:pt x="20101" y="18148"/>
                    </a:lnTo>
                    <a:lnTo>
                      <a:pt x="19938" y="18148"/>
                    </a:lnTo>
                    <a:lnTo>
                      <a:pt x="19938" y="18381"/>
                    </a:lnTo>
                    <a:lnTo>
                      <a:pt x="20101" y="18381"/>
                    </a:lnTo>
                    <a:lnTo>
                      <a:pt x="20297" y="18661"/>
                    </a:lnTo>
                    <a:lnTo>
                      <a:pt x="20297" y="18941"/>
                    </a:lnTo>
                    <a:lnTo>
                      <a:pt x="20492" y="18941"/>
                    </a:lnTo>
                    <a:lnTo>
                      <a:pt x="20492" y="19454"/>
                    </a:lnTo>
                    <a:lnTo>
                      <a:pt x="20297" y="19734"/>
                    </a:lnTo>
                    <a:lnTo>
                      <a:pt x="20297" y="19454"/>
                    </a:lnTo>
                    <a:lnTo>
                      <a:pt x="20297" y="19734"/>
                    </a:lnTo>
                    <a:lnTo>
                      <a:pt x="20101" y="19734"/>
                    </a:lnTo>
                    <a:lnTo>
                      <a:pt x="20101" y="20527"/>
                    </a:lnTo>
                    <a:lnTo>
                      <a:pt x="19938" y="20527"/>
                    </a:lnTo>
                    <a:lnTo>
                      <a:pt x="20101" y="20527"/>
                    </a:lnTo>
                    <a:lnTo>
                      <a:pt x="20101" y="20807"/>
                    </a:lnTo>
                    <a:lnTo>
                      <a:pt x="19743" y="20807"/>
                    </a:lnTo>
                    <a:lnTo>
                      <a:pt x="19743" y="21320"/>
                    </a:lnTo>
                    <a:lnTo>
                      <a:pt x="19352" y="21320"/>
                    </a:lnTo>
                    <a:lnTo>
                      <a:pt x="19352" y="21600"/>
                    </a:lnTo>
                    <a:lnTo>
                      <a:pt x="18798" y="21600"/>
                    </a:lnTo>
                    <a:lnTo>
                      <a:pt x="18798" y="21320"/>
                    </a:lnTo>
                    <a:lnTo>
                      <a:pt x="18440" y="21320"/>
                    </a:lnTo>
                    <a:lnTo>
                      <a:pt x="18440" y="21040"/>
                    </a:lnTo>
                    <a:lnTo>
                      <a:pt x="18244" y="21040"/>
                    </a:lnTo>
                    <a:lnTo>
                      <a:pt x="18244" y="20807"/>
                    </a:lnTo>
                    <a:lnTo>
                      <a:pt x="17886" y="20807"/>
                    </a:lnTo>
                    <a:lnTo>
                      <a:pt x="17690" y="20527"/>
                    </a:lnTo>
                    <a:lnTo>
                      <a:pt x="17495" y="20807"/>
                    </a:lnTo>
                    <a:lnTo>
                      <a:pt x="17690" y="20807"/>
                    </a:lnTo>
                    <a:lnTo>
                      <a:pt x="17495" y="21040"/>
                    </a:lnTo>
                    <a:lnTo>
                      <a:pt x="17495" y="20807"/>
                    </a:lnTo>
                    <a:lnTo>
                      <a:pt x="17332" y="20807"/>
                    </a:lnTo>
                    <a:lnTo>
                      <a:pt x="17332" y="21040"/>
                    </a:lnTo>
                    <a:lnTo>
                      <a:pt x="16746" y="21040"/>
                    </a:lnTo>
                    <a:lnTo>
                      <a:pt x="16746" y="20807"/>
                    </a:lnTo>
                    <a:lnTo>
                      <a:pt x="16192" y="20807"/>
                    </a:lnTo>
                    <a:lnTo>
                      <a:pt x="16192" y="21040"/>
                    </a:lnTo>
                    <a:lnTo>
                      <a:pt x="16029" y="21040"/>
                    </a:lnTo>
                    <a:lnTo>
                      <a:pt x="16029" y="21320"/>
                    </a:lnTo>
                    <a:lnTo>
                      <a:pt x="15084" y="21320"/>
                    </a:lnTo>
                    <a:lnTo>
                      <a:pt x="15084" y="21040"/>
                    </a:lnTo>
                    <a:lnTo>
                      <a:pt x="14889" y="21040"/>
                    </a:lnTo>
                    <a:lnTo>
                      <a:pt x="14889" y="20807"/>
                    </a:lnTo>
                    <a:lnTo>
                      <a:pt x="14726" y="20807"/>
                    </a:lnTo>
                    <a:lnTo>
                      <a:pt x="14726" y="20247"/>
                    </a:lnTo>
                    <a:lnTo>
                      <a:pt x="14530" y="20014"/>
                    </a:lnTo>
                    <a:lnTo>
                      <a:pt x="14726" y="20014"/>
                    </a:lnTo>
                    <a:lnTo>
                      <a:pt x="14726" y="19734"/>
                    </a:lnTo>
                    <a:lnTo>
                      <a:pt x="14139" y="19734"/>
                    </a:lnTo>
                    <a:lnTo>
                      <a:pt x="14139" y="19174"/>
                    </a:lnTo>
                    <a:lnTo>
                      <a:pt x="13976" y="19174"/>
                    </a:lnTo>
                    <a:lnTo>
                      <a:pt x="13976" y="18661"/>
                    </a:lnTo>
                    <a:lnTo>
                      <a:pt x="13781" y="18661"/>
                    </a:lnTo>
                    <a:lnTo>
                      <a:pt x="13781" y="18381"/>
                    </a:lnTo>
                    <a:lnTo>
                      <a:pt x="13586" y="18381"/>
                    </a:lnTo>
                    <a:lnTo>
                      <a:pt x="13586" y="18148"/>
                    </a:lnTo>
                    <a:lnTo>
                      <a:pt x="13390" y="18148"/>
                    </a:lnTo>
                    <a:lnTo>
                      <a:pt x="13390" y="17868"/>
                    </a:lnTo>
                    <a:lnTo>
                      <a:pt x="13032" y="17868"/>
                    </a:lnTo>
                    <a:lnTo>
                      <a:pt x="13032" y="17355"/>
                    </a:lnTo>
                    <a:lnTo>
                      <a:pt x="12836" y="17355"/>
                    </a:lnTo>
                    <a:lnTo>
                      <a:pt x="13032" y="17355"/>
                    </a:lnTo>
                    <a:lnTo>
                      <a:pt x="13032" y="17075"/>
                    </a:lnTo>
                    <a:lnTo>
                      <a:pt x="12836" y="17075"/>
                    </a:lnTo>
                    <a:lnTo>
                      <a:pt x="12836" y="17355"/>
                    </a:lnTo>
                    <a:lnTo>
                      <a:pt x="12836" y="17075"/>
                    </a:lnTo>
                    <a:lnTo>
                      <a:pt x="12673" y="17075"/>
                    </a:lnTo>
                    <a:lnTo>
                      <a:pt x="12836" y="17075"/>
                    </a:lnTo>
                    <a:lnTo>
                      <a:pt x="12836" y="16795"/>
                    </a:lnTo>
                    <a:lnTo>
                      <a:pt x="12673" y="16795"/>
                    </a:lnTo>
                    <a:lnTo>
                      <a:pt x="12673" y="16515"/>
                    </a:lnTo>
                    <a:lnTo>
                      <a:pt x="12478" y="16515"/>
                    </a:lnTo>
                    <a:lnTo>
                      <a:pt x="12282" y="16282"/>
                    </a:lnTo>
                    <a:lnTo>
                      <a:pt x="12282" y="16002"/>
                    </a:lnTo>
                    <a:lnTo>
                      <a:pt x="12087" y="15722"/>
                    </a:lnTo>
                    <a:lnTo>
                      <a:pt x="11924" y="15722"/>
                    </a:lnTo>
                    <a:lnTo>
                      <a:pt x="11924" y="15489"/>
                    </a:lnTo>
                    <a:lnTo>
                      <a:pt x="11729" y="15489"/>
                    </a:lnTo>
                    <a:lnTo>
                      <a:pt x="11729" y="14649"/>
                    </a:lnTo>
                    <a:lnTo>
                      <a:pt x="11370" y="14649"/>
                    </a:lnTo>
                    <a:lnTo>
                      <a:pt x="11370" y="14416"/>
                    </a:lnTo>
                    <a:lnTo>
                      <a:pt x="11533" y="14416"/>
                    </a:lnTo>
                    <a:lnTo>
                      <a:pt x="11370" y="14416"/>
                    </a:lnTo>
                    <a:lnTo>
                      <a:pt x="11370" y="14136"/>
                    </a:lnTo>
                    <a:lnTo>
                      <a:pt x="10979" y="14136"/>
                    </a:lnTo>
                    <a:lnTo>
                      <a:pt x="10979" y="13856"/>
                    </a:lnTo>
                    <a:lnTo>
                      <a:pt x="10621" y="13856"/>
                    </a:lnTo>
                    <a:lnTo>
                      <a:pt x="10621" y="13622"/>
                    </a:lnTo>
                    <a:lnTo>
                      <a:pt x="10784" y="13622"/>
                    </a:lnTo>
                    <a:lnTo>
                      <a:pt x="10621" y="13343"/>
                    </a:lnTo>
                    <a:lnTo>
                      <a:pt x="10784" y="13343"/>
                    </a:lnTo>
                    <a:lnTo>
                      <a:pt x="10425" y="13343"/>
                    </a:lnTo>
                    <a:lnTo>
                      <a:pt x="10425" y="13063"/>
                    </a:lnTo>
                    <a:lnTo>
                      <a:pt x="10230" y="13063"/>
                    </a:lnTo>
                    <a:lnTo>
                      <a:pt x="10230" y="13343"/>
                    </a:lnTo>
                    <a:lnTo>
                      <a:pt x="10067" y="13343"/>
                    </a:lnTo>
                    <a:lnTo>
                      <a:pt x="10067" y="12783"/>
                    </a:lnTo>
                    <a:lnTo>
                      <a:pt x="9676" y="12783"/>
                    </a:lnTo>
                    <a:lnTo>
                      <a:pt x="9676" y="12549"/>
                    </a:lnTo>
                    <a:lnTo>
                      <a:pt x="8927" y="12549"/>
                    </a:lnTo>
                    <a:lnTo>
                      <a:pt x="8927" y="13063"/>
                    </a:lnTo>
                    <a:lnTo>
                      <a:pt x="8764" y="12783"/>
                    </a:lnTo>
                    <a:lnTo>
                      <a:pt x="8764" y="13063"/>
                    </a:lnTo>
                    <a:lnTo>
                      <a:pt x="8764" y="12783"/>
                    </a:lnTo>
                    <a:lnTo>
                      <a:pt x="8014" y="12783"/>
                    </a:lnTo>
                    <a:lnTo>
                      <a:pt x="8014" y="12549"/>
                    </a:lnTo>
                    <a:lnTo>
                      <a:pt x="7819" y="12549"/>
                    </a:lnTo>
                    <a:lnTo>
                      <a:pt x="7819" y="12783"/>
                    </a:lnTo>
                    <a:lnTo>
                      <a:pt x="7624" y="12783"/>
                    </a:lnTo>
                    <a:lnTo>
                      <a:pt x="7624" y="12549"/>
                    </a:lnTo>
                    <a:lnTo>
                      <a:pt x="6874" y="12549"/>
                    </a:lnTo>
                    <a:lnTo>
                      <a:pt x="6874" y="12783"/>
                    </a:lnTo>
                    <a:lnTo>
                      <a:pt x="6874" y="12549"/>
                    </a:lnTo>
                    <a:lnTo>
                      <a:pt x="6516" y="12549"/>
                    </a:lnTo>
                    <a:lnTo>
                      <a:pt x="6516" y="12783"/>
                    </a:lnTo>
                    <a:lnTo>
                      <a:pt x="6320" y="12783"/>
                    </a:lnTo>
                    <a:lnTo>
                      <a:pt x="6320" y="13063"/>
                    </a:lnTo>
                    <a:lnTo>
                      <a:pt x="5962" y="13063"/>
                    </a:lnTo>
                    <a:lnTo>
                      <a:pt x="5962" y="13343"/>
                    </a:lnTo>
                    <a:lnTo>
                      <a:pt x="5408" y="13343"/>
                    </a:lnTo>
                    <a:lnTo>
                      <a:pt x="5408" y="13622"/>
                    </a:lnTo>
                    <a:lnTo>
                      <a:pt x="5017" y="13622"/>
                    </a:lnTo>
                    <a:lnTo>
                      <a:pt x="5017" y="13343"/>
                    </a:lnTo>
                    <a:lnTo>
                      <a:pt x="4854" y="13343"/>
                    </a:lnTo>
                    <a:lnTo>
                      <a:pt x="4854" y="12783"/>
                    </a:lnTo>
                    <a:lnTo>
                      <a:pt x="4659" y="12783"/>
                    </a:lnTo>
                    <a:lnTo>
                      <a:pt x="4659" y="12549"/>
                    </a:lnTo>
                    <a:lnTo>
                      <a:pt x="4854" y="12549"/>
                    </a:lnTo>
                    <a:lnTo>
                      <a:pt x="4659" y="12549"/>
                    </a:lnTo>
                    <a:lnTo>
                      <a:pt x="4659" y="12270"/>
                    </a:lnTo>
                    <a:lnTo>
                      <a:pt x="4268" y="12270"/>
                    </a:lnTo>
                    <a:lnTo>
                      <a:pt x="4268" y="11990"/>
                    </a:lnTo>
                    <a:lnTo>
                      <a:pt x="4105" y="11990"/>
                    </a:lnTo>
                    <a:lnTo>
                      <a:pt x="4105" y="11756"/>
                    </a:lnTo>
                    <a:lnTo>
                      <a:pt x="4268" y="11756"/>
                    </a:lnTo>
                    <a:lnTo>
                      <a:pt x="4268" y="11476"/>
                    </a:lnTo>
                    <a:lnTo>
                      <a:pt x="4105" y="11476"/>
                    </a:lnTo>
                    <a:lnTo>
                      <a:pt x="4105" y="10683"/>
                    </a:lnTo>
                    <a:lnTo>
                      <a:pt x="4268" y="10683"/>
                    </a:lnTo>
                    <a:lnTo>
                      <a:pt x="4268" y="10963"/>
                    </a:lnTo>
                    <a:lnTo>
                      <a:pt x="4463" y="10683"/>
                    </a:lnTo>
                    <a:lnTo>
                      <a:pt x="4463" y="10403"/>
                    </a:lnTo>
                    <a:lnTo>
                      <a:pt x="4268" y="10403"/>
                    </a:lnTo>
                    <a:lnTo>
                      <a:pt x="4268" y="10124"/>
                    </a:lnTo>
                    <a:lnTo>
                      <a:pt x="4105" y="10124"/>
                    </a:lnTo>
                    <a:lnTo>
                      <a:pt x="4105" y="9610"/>
                    </a:lnTo>
                    <a:lnTo>
                      <a:pt x="3910" y="9610"/>
                    </a:lnTo>
                    <a:lnTo>
                      <a:pt x="4105" y="9610"/>
                    </a:lnTo>
                    <a:lnTo>
                      <a:pt x="3910" y="9610"/>
                    </a:lnTo>
                    <a:lnTo>
                      <a:pt x="3910" y="9890"/>
                    </a:lnTo>
                    <a:lnTo>
                      <a:pt x="3714" y="9890"/>
                    </a:lnTo>
                    <a:lnTo>
                      <a:pt x="3714" y="9330"/>
                    </a:lnTo>
                    <a:lnTo>
                      <a:pt x="3910" y="9330"/>
                    </a:lnTo>
                    <a:lnTo>
                      <a:pt x="3714" y="9097"/>
                    </a:lnTo>
                    <a:lnTo>
                      <a:pt x="3910" y="9097"/>
                    </a:lnTo>
                    <a:lnTo>
                      <a:pt x="3910" y="8257"/>
                    </a:lnTo>
                    <a:lnTo>
                      <a:pt x="3714" y="8257"/>
                    </a:lnTo>
                    <a:lnTo>
                      <a:pt x="3714" y="7464"/>
                    </a:lnTo>
                    <a:lnTo>
                      <a:pt x="3551" y="7464"/>
                    </a:lnTo>
                    <a:lnTo>
                      <a:pt x="3551" y="7231"/>
                    </a:lnTo>
                    <a:lnTo>
                      <a:pt x="3160" y="7231"/>
                    </a:lnTo>
                    <a:lnTo>
                      <a:pt x="3160" y="7744"/>
                    </a:lnTo>
                    <a:lnTo>
                      <a:pt x="2802" y="7744"/>
                    </a:lnTo>
                    <a:lnTo>
                      <a:pt x="2802" y="7231"/>
                    </a:lnTo>
                    <a:lnTo>
                      <a:pt x="2606" y="7231"/>
                    </a:lnTo>
                    <a:lnTo>
                      <a:pt x="2606" y="6671"/>
                    </a:lnTo>
                    <a:lnTo>
                      <a:pt x="2411" y="6671"/>
                    </a:lnTo>
                    <a:lnTo>
                      <a:pt x="2411" y="6158"/>
                    </a:lnTo>
                    <a:lnTo>
                      <a:pt x="2248" y="6158"/>
                    </a:lnTo>
                    <a:lnTo>
                      <a:pt x="2248" y="6391"/>
                    </a:lnTo>
                    <a:lnTo>
                      <a:pt x="1857" y="6391"/>
                    </a:lnTo>
                    <a:lnTo>
                      <a:pt x="1857" y="6671"/>
                    </a:lnTo>
                    <a:lnTo>
                      <a:pt x="1662" y="6671"/>
                    </a:lnTo>
                    <a:lnTo>
                      <a:pt x="1662" y="6951"/>
                    </a:lnTo>
                    <a:lnTo>
                      <a:pt x="1662" y="6671"/>
                    </a:lnTo>
                    <a:lnTo>
                      <a:pt x="1662" y="6951"/>
                    </a:lnTo>
                    <a:lnTo>
                      <a:pt x="1499" y="6951"/>
                    </a:lnTo>
                    <a:lnTo>
                      <a:pt x="1499" y="7231"/>
                    </a:lnTo>
                    <a:lnTo>
                      <a:pt x="1303" y="6951"/>
                    </a:lnTo>
                    <a:lnTo>
                      <a:pt x="1303" y="7231"/>
                    </a:lnTo>
                    <a:lnTo>
                      <a:pt x="1108" y="7231"/>
                    </a:lnTo>
                    <a:lnTo>
                      <a:pt x="1108" y="6951"/>
                    </a:lnTo>
                    <a:lnTo>
                      <a:pt x="945" y="6671"/>
                    </a:lnTo>
                    <a:lnTo>
                      <a:pt x="945" y="6158"/>
                    </a:lnTo>
                    <a:lnTo>
                      <a:pt x="1303" y="6158"/>
                    </a:lnTo>
                    <a:lnTo>
                      <a:pt x="1303" y="5598"/>
                    </a:lnTo>
                    <a:lnTo>
                      <a:pt x="945" y="5598"/>
                    </a:lnTo>
                    <a:lnTo>
                      <a:pt x="945" y="5365"/>
                    </a:lnTo>
                    <a:lnTo>
                      <a:pt x="358" y="5365"/>
                    </a:lnTo>
                    <a:lnTo>
                      <a:pt x="358" y="5085"/>
                    </a:lnTo>
                    <a:lnTo>
                      <a:pt x="195" y="5085"/>
                    </a:lnTo>
                    <a:lnTo>
                      <a:pt x="358" y="5085"/>
                    </a:lnTo>
                    <a:lnTo>
                      <a:pt x="358" y="4805"/>
                    </a:lnTo>
                    <a:lnTo>
                      <a:pt x="0" y="4805"/>
                    </a:lnTo>
                    <a:lnTo>
                      <a:pt x="0" y="4525"/>
                    </a:lnTo>
                    <a:lnTo>
                      <a:pt x="195" y="4292"/>
                    </a:lnTo>
                    <a:lnTo>
                      <a:pt x="195" y="4012"/>
                    </a:lnTo>
                    <a:lnTo>
                      <a:pt x="554" y="4012"/>
                    </a:lnTo>
                    <a:lnTo>
                      <a:pt x="554" y="3499"/>
                    </a:lnTo>
                    <a:lnTo>
                      <a:pt x="1108" y="3499"/>
                    </a:lnTo>
                    <a:lnTo>
                      <a:pt x="1108" y="3219"/>
                    </a:lnTo>
                    <a:lnTo>
                      <a:pt x="1108" y="3499"/>
                    </a:lnTo>
                    <a:lnTo>
                      <a:pt x="1108" y="3219"/>
                    </a:lnTo>
                    <a:lnTo>
                      <a:pt x="2052" y="3219"/>
                    </a:lnTo>
                    <a:lnTo>
                      <a:pt x="2052" y="3499"/>
                    </a:lnTo>
                    <a:lnTo>
                      <a:pt x="2248" y="3499"/>
                    </a:lnTo>
                    <a:lnTo>
                      <a:pt x="2411" y="3732"/>
                    </a:lnTo>
                    <a:lnTo>
                      <a:pt x="2802" y="3732"/>
                    </a:lnTo>
                    <a:lnTo>
                      <a:pt x="2802" y="3499"/>
                    </a:lnTo>
                    <a:lnTo>
                      <a:pt x="3160" y="3499"/>
                    </a:lnTo>
                    <a:lnTo>
                      <a:pt x="3160" y="3732"/>
                    </a:lnTo>
                    <a:lnTo>
                      <a:pt x="3551" y="3732"/>
                    </a:lnTo>
                    <a:lnTo>
                      <a:pt x="3551" y="4012"/>
                    </a:lnTo>
                    <a:lnTo>
                      <a:pt x="3910" y="4012"/>
                    </a:lnTo>
                    <a:lnTo>
                      <a:pt x="3910" y="3732"/>
                    </a:lnTo>
                    <a:lnTo>
                      <a:pt x="5017" y="3732"/>
                    </a:lnTo>
                    <a:lnTo>
                      <a:pt x="5017" y="3499"/>
                    </a:lnTo>
                    <a:lnTo>
                      <a:pt x="5408" y="3499"/>
                    </a:lnTo>
                    <a:lnTo>
                      <a:pt x="5408" y="3732"/>
                    </a:lnTo>
                    <a:lnTo>
                      <a:pt x="5571" y="3732"/>
                    </a:lnTo>
                    <a:lnTo>
                      <a:pt x="5571" y="4012"/>
                    </a:lnTo>
                    <a:lnTo>
                      <a:pt x="5767" y="4012"/>
                    </a:lnTo>
                    <a:lnTo>
                      <a:pt x="5767" y="4292"/>
                    </a:lnTo>
                    <a:lnTo>
                      <a:pt x="6157" y="4292"/>
                    </a:lnTo>
                    <a:lnTo>
                      <a:pt x="6157" y="4525"/>
                    </a:lnTo>
                    <a:lnTo>
                      <a:pt x="6320" y="4525"/>
                    </a:lnTo>
                    <a:lnTo>
                      <a:pt x="6320" y="4805"/>
                    </a:lnTo>
                    <a:lnTo>
                      <a:pt x="6516" y="4805"/>
                    </a:lnTo>
                    <a:lnTo>
                      <a:pt x="6516" y="4525"/>
                    </a:lnTo>
                    <a:lnTo>
                      <a:pt x="6711" y="4525"/>
                    </a:lnTo>
                    <a:lnTo>
                      <a:pt x="6711" y="4805"/>
                    </a:lnTo>
                    <a:lnTo>
                      <a:pt x="6711" y="4525"/>
                    </a:lnTo>
                    <a:lnTo>
                      <a:pt x="6874" y="4525"/>
                    </a:lnTo>
                    <a:lnTo>
                      <a:pt x="6874" y="4805"/>
                    </a:lnTo>
                    <a:lnTo>
                      <a:pt x="6874" y="4525"/>
                    </a:lnTo>
                    <a:lnTo>
                      <a:pt x="7070" y="4525"/>
                    </a:lnTo>
                    <a:lnTo>
                      <a:pt x="7070" y="4292"/>
                    </a:lnTo>
                    <a:lnTo>
                      <a:pt x="7624" y="4292"/>
                    </a:lnTo>
                    <a:lnTo>
                      <a:pt x="7624" y="4525"/>
                    </a:lnTo>
                    <a:lnTo>
                      <a:pt x="7819" y="4525"/>
                    </a:lnTo>
                    <a:lnTo>
                      <a:pt x="7819" y="4292"/>
                    </a:lnTo>
                    <a:lnTo>
                      <a:pt x="8373" y="4292"/>
                    </a:lnTo>
                    <a:lnTo>
                      <a:pt x="8373" y="4525"/>
                    </a:lnTo>
                    <a:lnTo>
                      <a:pt x="8568" y="4525"/>
                    </a:lnTo>
                    <a:lnTo>
                      <a:pt x="8373" y="4525"/>
                    </a:lnTo>
                    <a:lnTo>
                      <a:pt x="8373" y="4805"/>
                    </a:lnTo>
                    <a:lnTo>
                      <a:pt x="8568" y="4805"/>
                    </a:lnTo>
                    <a:lnTo>
                      <a:pt x="8568" y="4525"/>
                    </a:lnTo>
                    <a:lnTo>
                      <a:pt x="8927" y="4525"/>
                    </a:lnTo>
                    <a:lnTo>
                      <a:pt x="8927" y="4292"/>
                    </a:lnTo>
                    <a:lnTo>
                      <a:pt x="9481" y="4292"/>
                    </a:lnTo>
                    <a:lnTo>
                      <a:pt x="9481" y="4012"/>
                    </a:lnTo>
                    <a:lnTo>
                      <a:pt x="9676" y="3732"/>
                    </a:lnTo>
                    <a:lnTo>
                      <a:pt x="10067" y="3732"/>
                    </a:lnTo>
                    <a:lnTo>
                      <a:pt x="10067" y="4012"/>
                    </a:lnTo>
                    <a:lnTo>
                      <a:pt x="10230" y="4012"/>
                    </a:lnTo>
                    <a:lnTo>
                      <a:pt x="10230" y="3499"/>
                    </a:lnTo>
                    <a:lnTo>
                      <a:pt x="10425" y="3219"/>
                    </a:lnTo>
                    <a:lnTo>
                      <a:pt x="10425" y="3499"/>
                    </a:lnTo>
                    <a:lnTo>
                      <a:pt x="10621" y="3499"/>
                    </a:lnTo>
                    <a:lnTo>
                      <a:pt x="10784" y="3219"/>
                    </a:lnTo>
                    <a:lnTo>
                      <a:pt x="10979" y="3219"/>
                    </a:lnTo>
                    <a:lnTo>
                      <a:pt x="10979" y="2939"/>
                    </a:lnTo>
                    <a:lnTo>
                      <a:pt x="11175" y="3219"/>
                    </a:lnTo>
                    <a:lnTo>
                      <a:pt x="11924" y="3219"/>
                    </a:lnTo>
                    <a:lnTo>
                      <a:pt x="12087" y="2939"/>
                    </a:lnTo>
                    <a:lnTo>
                      <a:pt x="12087" y="2706"/>
                    </a:lnTo>
                    <a:lnTo>
                      <a:pt x="11924" y="2706"/>
                    </a:lnTo>
                    <a:lnTo>
                      <a:pt x="11924" y="2426"/>
                    </a:lnTo>
                    <a:lnTo>
                      <a:pt x="12087" y="2426"/>
                    </a:lnTo>
                    <a:lnTo>
                      <a:pt x="12087" y="2146"/>
                    </a:lnTo>
                    <a:lnTo>
                      <a:pt x="12478" y="2146"/>
                    </a:lnTo>
                    <a:lnTo>
                      <a:pt x="12478" y="1866"/>
                    </a:lnTo>
                    <a:lnTo>
                      <a:pt x="12836" y="1866"/>
                    </a:lnTo>
                    <a:lnTo>
                      <a:pt x="12836" y="1633"/>
                    </a:lnTo>
                    <a:lnTo>
                      <a:pt x="13032" y="1633"/>
                    </a:lnTo>
                    <a:lnTo>
                      <a:pt x="13032" y="1866"/>
                    </a:lnTo>
                    <a:lnTo>
                      <a:pt x="13227" y="1633"/>
                    </a:lnTo>
                    <a:lnTo>
                      <a:pt x="13390" y="1633"/>
                    </a:lnTo>
                    <a:lnTo>
                      <a:pt x="13390" y="1353"/>
                    </a:lnTo>
                    <a:lnTo>
                      <a:pt x="13586" y="1353"/>
                    </a:lnTo>
                    <a:lnTo>
                      <a:pt x="13781" y="1073"/>
                    </a:lnTo>
                    <a:lnTo>
                      <a:pt x="14726" y="1073"/>
                    </a:lnTo>
                    <a:lnTo>
                      <a:pt x="14726" y="840"/>
                    </a:lnTo>
                    <a:lnTo>
                      <a:pt x="14889" y="840"/>
                    </a:lnTo>
                    <a:lnTo>
                      <a:pt x="15084" y="560"/>
                    </a:lnTo>
                    <a:lnTo>
                      <a:pt x="15280" y="840"/>
                    </a:lnTo>
                    <a:lnTo>
                      <a:pt x="15280" y="560"/>
                    </a:lnTo>
                    <a:lnTo>
                      <a:pt x="15443" y="280"/>
                    </a:lnTo>
                    <a:lnTo>
                      <a:pt x="15638" y="280"/>
                    </a:lnTo>
                    <a:lnTo>
                      <a:pt x="15638" y="0"/>
                    </a:lnTo>
                    <a:lnTo>
                      <a:pt x="16192" y="0"/>
                    </a:lnTo>
                    <a:lnTo>
                      <a:pt x="16192" y="560"/>
                    </a:lnTo>
                    <a:lnTo>
                      <a:pt x="16746" y="560"/>
                    </a:lnTo>
                    <a:lnTo>
                      <a:pt x="16583" y="840"/>
                    </a:lnTo>
                    <a:lnTo>
                      <a:pt x="16387" y="840"/>
                    </a:lnTo>
                    <a:lnTo>
                      <a:pt x="16583" y="1073"/>
                    </a:lnTo>
                    <a:lnTo>
                      <a:pt x="16583" y="1353"/>
                    </a:lnTo>
                    <a:lnTo>
                      <a:pt x="16192" y="1353"/>
                    </a:lnTo>
                    <a:lnTo>
                      <a:pt x="16192" y="1633"/>
                    </a:lnTo>
                    <a:lnTo>
                      <a:pt x="16387" y="1633"/>
                    </a:lnTo>
                    <a:lnTo>
                      <a:pt x="16387" y="1866"/>
                    </a:lnTo>
                    <a:lnTo>
                      <a:pt x="16583" y="1866"/>
                    </a:lnTo>
                    <a:lnTo>
                      <a:pt x="16029" y="2426"/>
                    </a:lnTo>
                    <a:lnTo>
                      <a:pt x="16029" y="270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42" name="Shape 2967"/>
              <p:cNvSpPr/>
              <p:nvPr/>
            </p:nvSpPr>
            <p:spPr>
              <a:xfrm>
                <a:off x="9755644" y="5757121"/>
                <a:ext cx="626811" cy="38706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053" y="8301"/>
                    </a:moveTo>
                    <a:lnTo>
                      <a:pt x="20754" y="8785"/>
                    </a:lnTo>
                    <a:lnTo>
                      <a:pt x="21053" y="8785"/>
                    </a:lnTo>
                    <a:lnTo>
                      <a:pt x="20754" y="8785"/>
                    </a:lnTo>
                    <a:lnTo>
                      <a:pt x="20754" y="10155"/>
                    </a:lnTo>
                    <a:lnTo>
                      <a:pt x="20455" y="10558"/>
                    </a:lnTo>
                    <a:lnTo>
                      <a:pt x="20455" y="10155"/>
                    </a:lnTo>
                    <a:lnTo>
                      <a:pt x="20206" y="10558"/>
                    </a:lnTo>
                    <a:lnTo>
                      <a:pt x="19908" y="10558"/>
                    </a:lnTo>
                    <a:lnTo>
                      <a:pt x="19908" y="11525"/>
                    </a:lnTo>
                    <a:lnTo>
                      <a:pt x="19609" y="11525"/>
                    </a:lnTo>
                    <a:lnTo>
                      <a:pt x="19609" y="12412"/>
                    </a:lnTo>
                    <a:lnTo>
                      <a:pt x="19311" y="12412"/>
                    </a:lnTo>
                    <a:lnTo>
                      <a:pt x="19311" y="12896"/>
                    </a:lnTo>
                    <a:lnTo>
                      <a:pt x="19062" y="12896"/>
                    </a:lnTo>
                    <a:lnTo>
                      <a:pt x="19062" y="15152"/>
                    </a:lnTo>
                    <a:lnTo>
                      <a:pt x="19311" y="15152"/>
                    </a:lnTo>
                    <a:lnTo>
                      <a:pt x="19311" y="16603"/>
                    </a:lnTo>
                    <a:lnTo>
                      <a:pt x="19609" y="17006"/>
                    </a:lnTo>
                    <a:lnTo>
                      <a:pt x="19908" y="17006"/>
                    </a:lnTo>
                    <a:lnTo>
                      <a:pt x="19908" y="17973"/>
                    </a:lnTo>
                    <a:lnTo>
                      <a:pt x="20206" y="18376"/>
                    </a:lnTo>
                    <a:lnTo>
                      <a:pt x="19908" y="18376"/>
                    </a:lnTo>
                    <a:lnTo>
                      <a:pt x="19908" y="19343"/>
                    </a:lnTo>
                    <a:lnTo>
                      <a:pt x="19609" y="19343"/>
                    </a:lnTo>
                    <a:lnTo>
                      <a:pt x="19609" y="20230"/>
                    </a:lnTo>
                    <a:lnTo>
                      <a:pt x="19311" y="20230"/>
                    </a:lnTo>
                    <a:lnTo>
                      <a:pt x="19311" y="20713"/>
                    </a:lnTo>
                    <a:lnTo>
                      <a:pt x="19062" y="20713"/>
                    </a:lnTo>
                    <a:lnTo>
                      <a:pt x="19062" y="20230"/>
                    </a:lnTo>
                    <a:lnTo>
                      <a:pt x="18763" y="20230"/>
                    </a:lnTo>
                    <a:lnTo>
                      <a:pt x="18763" y="20713"/>
                    </a:lnTo>
                    <a:lnTo>
                      <a:pt x="18465" y="20713"/>
                    </a:lnTo>
                    <a:lnTo>
                      <a:pt x="18465" y="21197"/>
                    </a:lnTo>
                    <a:lnTo>
                      <a:pt x="18216" y="21197"/>
                    </a:lnTo>
                    <a:lnTo>
                      <a:pt x="18216" y="21600"/>
                    </a:lnTo>
                    <a:lnTo>
                      <a:pt x="17618" y="21600"/>
                    </a:lnTo>
                    <a:lnTo>
                      <a:pt x="17618" y="21197"/>
                    </a:lnTo>
                    <a:lnTo>
                      <a:pt x="17320" y="21197"/>
                    </a:lnTo>
                    <a:lnTo>
                      <a:pt x="17320" y="20713"/>
                    </a:lnTo>
                    <a:lnTo>
                      <a:pt x="16474" y="20713"/>
                    </a:lnTo>
                    <a:lnTo>
                      <a:pt x="16474" y="21197"/>
                    </a:lnTo>
                    <a:lnTo>
                      <a:pt x="16474" y="20713"/>
                    </a:lnTo>
                    <a:lnTo>
                      <a:pt x="16225" y="20713"/>
                    </a:lnTo>
                    <a:lnTo>
                      <a:pt x="16225" y="21197"/>
                    </a:lnTo>
                    <a:lnTo>
                      <a:pt x="15926" y="21197"/>
                    </a:lnTo>
                    <a:lnTo>
                      <a:pt x="15926" y="20713"/>
                    </a:lnTo>
                    <a:lnTo>
                      <a:pt x="15329" y="20713"/>
                    </a:lnTo>
                    <a:lnTo>
                      <a:pt x="15329" y="20230"/>
                    </a:lnTo>
                    <a:lnTo>
                      <a:pt x="15080" y="20230"/>
                    </a:lnTo>
                    <a:lnTo>
                      <a:pt x="15080" y="20713"/>
                    </a:lnTo>
                    <a:lnTo>
                      <a:pt x="14782" y="20230"/>
                    </a:lnTo>
                    <a:lnTo>
                      <a:pt x="14483" y="20230"/>
                    </a:lnTo>
                    <a:lnTo>
                      <a:pt x="14483" y="20713"/>
                    </a:lnTo>
                    <a:lnTo>
                      <a:pt x="14184" y="20713"/>
                    </a:lnTo>
                    <a:lnTo>
                      <a:pt x="14184" y="21197"/>
                    </a:lnTo>
                    <a:lnTo>
                      <a:pt x="13935" y="20713"/>
                    </a:lnTo>
                    <a:lnTo>
                      <a:pt x="13089" y="20713"/>
                    </a:lnTo>
                    <a:lnTo>
                      <a:pt x="13089" y="20230"/>
                    </a:lnTo>
                    <a:lnTo>
                      <a:pt x="11945" y="20230"/>
                    </a:lnTo>
                    <a:lnTo>
                      <a:pt x="11945" y="19343"/>
                    </a:lnTo>
                    <a:lnTo>
                      <a:pt x="11646" y="19343"/>
                    </a:lnTo>
                    <a:lnTo>
                      <a:pt x="11646" y="17490"/>
                    </a:lnTo>
                    <a:lnTo>
                      <a:pt x="11099" y="17490"/>
                    </a:lnTo>
                    <a:lnTo>
                      <a:pt x="10800" y="17006"/>
                    </a:lnTo>
                    <a:lnTo>
                      <a:pt x="10203" y="17006"/>
                    </a:lnTo>
                    <a:lnTo>
                      <a:pt x="10203" y="17490"/>
                    </a:lnTo>
                    <a:lnTo>
                      <a:pt x="10203" y="17006"/>
                    </a:lnTo>
                    <a:lnTo>
                      <a:pt x="9357" y="17006"/>
                    </a:lnTo>
                    <a:lnTo>
                      <a:pt x="9357" y="17490"/>
                    </a:lnTo>
                    <a:lnTo>
                      <a:pt x="9108" y="17490"/>
                    </a:lnTo>
                    <a:lnTo>
                      <a:pt x="9108" y="17006"/>
                    </a:lnTo>
                    <a:lnTo>
                      <a:pt x="8511" y="17006"/>
                    </a:lnTo>
                    <a:lnTo>
                      <a:pt x="8511" y="16603"/>
                    </a:lnTo>
                    <a:lnTo>
                      <a:pt x="8809" y="16603"/>
                    </a:lnTo>
                    <a:lnTo>
                      <a:pt x="8809" y="16119"/>
                    </a:lnTo>
                    <a:lnTo>
                      <a:pt x="8212" y="16119"/>
                    </a:lnTo>
                    <a:lnTo>
                      <a:pt x="8212" y="16603"/>
                    </a:lnTo>
                    <a:lnTo>
                      <a:pt x="7963" y="16603"/>
                    </a:lnTo>
                    <a:lnTo>
                      <a:pt x="7963" y="16119"/>
                    </a:lnTo>
                    <a:lnTo>
                      <a:pt x="7366" y="16119"/>
                    </a:lnTo>
                    <a:lnTo>
                      <a:pt x="7366" y="15636"/>
                    </a:lnTo>
                    <a:lnTo>
                      <a:pt x="7117" y="15636"/>
                    </a:lnTo>
                    <a:lnTo>
                      <a:pt x="7117" y="16603"/>
                    </a:lnTo>
                    <a:lnTo>
                      <a:pt x="5972" y="16603"/>
                    </a:lnTo>
                    <a:lnTo>
                      <a:pt x="5972" y="17006"/>
                    </a:lnTo>
                    <a:lnTo>
                      <a:pt x="5674" y="17006"/>
                    </a:lnTo>
                    <a:lnTo>
                      <a:pt x="5674" y="17490"/>
                    </a:lnTo>
                    <a:lnTo>
                      <a:pt x="5375" y="17490"/>
                    </a:lnTo>
                    <a:lnTo>
                      <a:pt x="5375" y="17973"/>
                    </a:lnTo>
                    <a:lnTo>
                      <a:pt x="5126" y="17973"/>
                    </a:lnTo>
                    <a:lnTo>
                      <a:pt x="5375" y="17973"/>
                    </a:lnTo>
                    <a:lnTo>
                      <a:pt x="4230" y="17973"/>
                    </a:lnTo>
                    <a:lnTo>
                      <a:pt x="4230" y="18376"/>
                    </a:lnTo>
                    <a:lnTo>
                      <a:pt x="3982" y="18376"/>
                    </a:lnTo>
                    <a:lnTo>
                      <a:pt x="3683" y="18860"/>
                    </a:lnTo>
                    <a:lnTo>
                      <a:pt x="3683" y="19343"/>
                    </a:lnTo>
                    <a:lnTo>
                      <a:pt x="3384" y="18860"/>
                    </a:lnTo>
                    <a:lnTo>
                      <a:pt x="3135" y="18860"/>
                    </a:lnTo>
                    <a:lnTo>
                      <a:pt x="3135" y="19343"/>
                    </a:lnTo>
                    <a:lnTo>
                      <a:pt x="2837" y="19343"/>
                    </a:lnTo>
                    <a:lnTo>
                      <a:pt x="2837" y="19827"/>
                    </a:lnTo>
                    <a:lnTo>
                      <a:pt x="2240" y="19827"/>
                    </a:lnTo>
                    <a:lnTo>
                      <a:pt x="2240" y="20230"/>
                    </a:lnTo>
                    <a:lnTo>
                      <a:pt x="1394" y="20230"/>
                    </a:lnTo>
                    <a:lnTo>
                      <a:pt x="1394" y="20713"/>
                    </a:lnTo>
                    <a:lnTo>
                      <a:pt x="1145" y="20230"/>
                    </a:lnTo>
                    <a:lnTo>
                      <a:pt x="1394" y="20230"/>
                    </a:lnTo>
                    <a:lnTo>
                      <a:pt x="1145" y="20230"/>
                    </a:lnTo>
                    <a:lnTo>
                      <a:pt x="1145" y="19827"/>
                    </a:lnTo>
                    <a:lnTo>
                      <a:pt x="1394" y="19827"/>
                    </a:lnTo>
                    <a:lnTo>
                      <a:pt x="1394" y="19343"/>
                    </a:lnTo>
                    <a:lnTo>
                      <a:pt x="1145" y="19343"/>
                    </a:lnTo>
                    <a:lnTo>
                      <a:pt x="1145" y="18860"/>
                    </a:lnTo>
                    <a:lnTo>
                      <a:pt x="846" y="18860"/>
                    </a:lnTo>
                    <a:lnTo>
                      <a:pt x="846" y="17973"/>
                    </a:lnTo>
                    <a:lnTo>
                      <a:pt x="1145" y="17973"/>
                    </a:lnTo>
                    <a:lnTo>
                      <a:pt x="1145" y="17490"/>
                    </a:lnTo>
                    <a:lnTo>
                      <a:pt x="1394" y="17490"/>
                    </a:lnTo>
                    <a:lnTo>
                      <a:pt x="1394" y="17973"/>
                    </a:lnTo>
                    <a:lnTo>
                      <a:pt x="1991" y="17973"/>
                    </a:lnTo>
                    <a:lnTo>
                      <a:pt x="1991" y="17006"/>
                    </a:lnTo>
                    <a:lnTo>
                      <a:pt x="1394" y="17006"/>
                    </a:lnTo>
                    <a:lnTo>
                      <a:pt x="1394" y="16119"/>
                    </a:lnTo>
                    <a:lnTo>
                      <a:pt x="1145" y="16119"/>
                    </a:lnTo>
                    <a:lnTo>
                      <a:pt x="1145" y="15152"/>
                    </a:lnTo>
                    <a:lnTo>
                      <a:pt x="846" y="15152"/>
                    </a:lnTo>
                    <a:lnTo>
                      <a:pt x="547" y="14749"/>
                    </a:lnTo>
                    <a:lnTo>
                      <a:pt x="547" y="14266"/>
                    </a:lnTo>
                    <a:lnTo>
                      <a:pt x="249" y="14266"/>
                    </a:lnTo>
                    <a:lnTo>
                      <a:pt x="249" y="11928"/>
                    </a:lnTo>
                    <a:lnTo>
                      <a:pt x="0" y="11525"/>
                    </a:lnTo>
                    <a:lnTo>
                      <a:pt x="0" y="11042"/>
                    </a:lnTo>
                    <a:lnTo>
                      <a:pt x="547" y="11042"/>
                    </a:lnTo>
                    <a:lnTo>
                      <a:pt x="846" y="10558"/>
                    </a:lnTo>
                    <a:lnTo>
                      <a:pt x="846" y="11042"/>
                    </a:lnTo>
                    <a:lnTo>
                      <a:pt x="1394" y="11042"/>
                    </a:lnTo>
                    <a:lnTo>
                      <a:pt x="1394" y="11525"/>
                    </a:lnTo>
                    <a:lnTo>
                      <a:pt x="1692" y="11525"/>
                    </a:lnTo>
                    <a:lnTo>
                      <a:pt x="1991" y="11042"/>
                    </a:lnTo>
                    <a:lnTo>
                      <a:pt x="2240" y="11042"/>
                    </a:lnTo>
                    <a:lnTo>
                      <a:pt x="2240" y="10558"/>
                    </a:lnTo>
                    <a:lnTo>
                      <a:pt x="2837" y="10558"/>
                    </a:lnTo>
                    <a:lnTo>
                      <a:pt x="2837" y="10155"/>
                    </a:lnTo>
                    <a:lnTo>
                      <a:pt x="2538" y="10155"/>
                    </a:lnTo>
                    <a:lnTo>
                      <a:pt x="2538" y="8785"/>
                    </a:lnTo>
                    <a:lnTo>
                      <a:pt x="2837" y="8785"/>
                    </a:lnTo>
                    <a:lnTo>
                      <a:pt x="2837" y="8301"/>
                    </a:lnTo>
                    <a:lnTo>
                      <a:pt x="3135" y="8301"/>
                    </a:lnTo>
                    <a:lnTo>
                      <a:pt x="3384" y="7818"/>
                    </a:lnTo>
                    <a:lnTo>
                      <a:pt x="3384" y="8301"/>
                    </a:lnTo>
                    <a:lnTo>
                      <a:pt x="3683" y="8301"/>
                    </a:lnTo>
                    <a:lnTo>
                      <a:pt x="3683" y="8785"/>
                    </a:lnTo>
                    <a:lnTo>
                      <a:pt x="3982" y="8785"/>
                    </a:lnTo>
                    <a:lnTo>
                      <a:pt x="3982" y="9188"/>
                    </a:lnTo>
                    <a:lnTo>
                      <a:pt x="4230" y="9188"/>
                    </a:lnTo>
                    <a:lnTo>
                      <a:pt x="4230" y="9672"/>
                    </a:lnTo>
                    <a:lnTo>
                      <a:pt x="5126" y="9672"/>
                    </a:lnTo>
                    <a:lnTo>
                      <a:pt x="5126" y="10155"/>
                    </a:lnTo>
                    <a:lnTo>
                      <a:pt x="5126" y="9672"/>
                    </a:lnTo>
                    <a:lnTo>
                      <a:pt x="5674" y="9672"/>
                    </a:lnTo>
                    <a:lnTo>
                      <a:pt x="5674" y="10155"/>
                    </a:lnTo>
                    <a:lnTo>
                      <a:pt x="6520" y="10155"/>
                    </a:lnTo>
                    <a:lnTo>
                      <a:pt x="6520" y="10558"/>
                    </a:lnTo>
                    <a:lnTo>
                      <a:pt x="7963" y="10558"/>
                    </a:lnTo>
                    <a:lnTo>
                      <a:pt x="7963" y="10155"/>
                    </a:lnTo>
                    <a:lnTo>
                      <a:pt x="8511" y="10155"/>
                    </a:lnTo>
                    <a:lnTo>
                      <a:pt x="8511" y="10558"/>
                    </a:lnTo>
                    <a:lnTo>
                      <a:pt x="8511" y="10155"/>
                    </a:lnTo>
                    <a:lnTo>
                      <a:pt x="8809" y="10155"/>
                    </a:lnTo>
                    <a:lnTo>
                      <a:pt x="9108" y="9672"/>
                    </a:lnTo>
                    <a:lnTo>
                      <a:pt x="9108" y="9188"/>
                    </a:lnTo>
                    <a:lnTo>
                      <a:pt x="9357" y="9188"/>
                    </a:lnTo>
                    <a:lnTo>
                      <a:pt x="9357" y="8785"/>
                    </a:lnTo>
                    <a:lnTo>
                      <a:pt x="9954" y="8785"/>
                    </a:lnTo>
                    <a:lnTo>
                      <a:pt x="10203" y="8301"/>
                    </a:lnTo>
                    <a:lnTo>
                      <a:pt x="10203" y="7334"/>
                    </a:lnTo>
                    <a:lnTo>
                      <a:pt x="10501" y="7334"/>
                    </a:lnTo>
                    <a:lnTo>
                      <a:pt x="10203" y="7334"/>
                    </a:lnTo>
                    <a:lnTo>
                      <a:pt x="10501" y="6931"/>
                    </a:lnTo>
                    <a:lnTo>
                      <a:pt x="10800" y="6448"/>
                    </a:lnTo>
                    <a:lnTo>
                      <a:pt x="10800" y="5964"/>
                    </a:lnTo>
                    <a:lnTo>
                      <a:pt x="11099" y="5964"/>
                    </a:lnTo>
                    <a:lnTo>
                      <a:pt x="11099" y="5078"/>
                    </a:lnTo>
                    <a:lnTo>
                      <a:pt x="11347" y="5078"/>
                    </a:lnTo>
                    <a:lnTo>
                      <a:pt x="11347" y="4594"/>
                    </a:lnTo>
                    <a:lnTo>
                      <a:pt x="11945" y="4594"/>
                    </a:lnTo>
                    <a:lnTo>
                      <a:pt x="11945" y="4110"/>
                    </a:lnTo>
                    <a:lnTo>
                      <a:pt x="12194" y="4110"/>
                    </a:lnTo>
                    <a:lnTo>
                      <a:pt x="12194" y="3707"/>
                    </a:lnTo>
                    <a:lnTo>
                      <a:pt x="11945" y="3707"/>
                    </a:lnTo>
                    <a:lnTo>
                      <a:pt x="12194" y="3707"/>
                    </a:lnTo>
                    <a:lnTo>
                      <a:pt x="12194" y="2740"/>
                    </a:lnTo>
                    <a:lnTo>
                      <a:pt x="11945" y="2740"/>
                    </a:lnTo>
                    <a:lnTo>
                      <a:pt x="12194" y="2337"/>
                    </a:lnTo>
                    <a:lnTo>
                      <a:pt x="12492" y="2337"/>
                    </a:lnTo>
                    <a:lnTo>
                      <a:pt x="12492" y="1854"/>
                    </a:lnTo>
                    <a:lnTo>
                      <a:pt x="13338" y="1854"/>
                    </a:lnTo>
                    <a:lnTo>
                      <a:pt x="13338" y="1370"/>
                    </a:lnTo>
                    <a:lnTo>
                      <a:pt x="13338" y="1854"/>
                    </a:lnTo>
                    <a:lnTo>
                      <a:pt x="13637" y="1854"/>
                    </a:lnTo>
                    <a:lnTo>
                      <a:pt x="13637" y="2337"/>
                    </a:lnTo>
                    <a:lnTo>
                      <a:pt x="13637" y="1854"/>
                    </a:lnTo>
                    <a:lnTo>
                      <a:pt x="14184" y="1854"/>
                    </a:lnTo>
                    <a:lnTo>
                      <a:pt x="14184" y="1370"/>
                    </a:lnTo>
                    <a:lnTo>
                      <a:pt x="15329" y="1370"/>
                    </a:lnTo>
                    <a:lnTo>
                      <a:pt x="15329" y="887"/>
                    </a:lnTo>
                    <a:lnTo>
                      <a:pt x="15628" y="887"/>
                    </a:lnTo>
                    <a:lnTo>
                      <a:pt x="15628" y="1370"/>
                    </a:lnTo>
                    <a:lnTo>
                      <a:pt x="15926" y="1370"/>
                    </a:lnTo>
                    <a:lnTo>
                      <a:pt x="15926" y="887"/>
                    </a:lnTo>
                    <a:lnTo>
                      <a:pt x="15926" y="1370"/>
                    </a:lnTo>
                    <a:lnTo>
                      <a:pt x="15926" y="887"/>
                    </a:lnTo>
                    <a:lnTo>
                      <a:pt x="16225" y="887"/>
                    </a:lnTo>
                    <a:lnTo>
                      <a:pt x="16225" y="484"/>
                    </a:lnTo>
                    <a:lnTo>
                      <a:pt x="16474" y="484"/>
                    </a:lnTo>
                    <a:lnTo>
                      <a:pt x="16474" y="0"/>
                    </a:lnTo>
                    <a:lnTo>
                      <a:pt x="16772" y="0"/>
                    </a:lnTo>
                    <a:lnTo>
                      <a:pt x="16772" y="484"/>
                    </a:lnTo>
                    <a:lnTo>
                      <a:pt x="17320" y="484"/>
                    </a:lnTo>
                    <a:lnTo>
                      <a:pt x="17320" y="887"/>
                    </a:lnTo>
                    <a:lnTo>
                      <a:pt x="17320" y="484"/>
                    </a:lnTo>
                    <a:lnTo>
                      <a:pt x="17320" y="887"/>
                    </a:lnTo>
                    <a:lnTo>
                      <a:pt x="17618" y="887"/>
                    </a:lnTo>
                    <a:lnTo>
                      <a:pt x="17917" y="1370"/>
                    </a:lnTo>
                    <a:lnTo>
                      <a:pt x="18216" y="1370"/>
                    </a:lnTo>
                    <a:lnTo>
                      <a:pt x="18216" y="1854"/>
                    </a:lnTo>
                    <a:lnTo>
                      <a:pt x="19062" y="1854"/>
                    </a:lnTo>
                    <a:lnTo>
                      <a:pt x="19062" y="2337"/>
                    </a:lnTo>
                    <a:lnTo>
                      <a:pt x="18763" y="2337"/>
                    </a:lnTo>
                    <a:lnTo>
                      <a:pt x="19062" y="2337"/>
                    </a:lnTo>
                    <a:lnTo>
                      <a:pt x="19062" y="2740"/>
                    </a:lnTo>
                    <a:lnTo>
                      <a:pt x="19062" y="2337"/>
                    </a:lnTo>
                    <a:lnTo>
                      <a:pt x="19062" y="2740"/>
                    </a:lnTo>
                    <a:lnTo>
                      <a:pt x="19609" y="2740"/>
                    </a:lnTo>
                    <a:lnTo>
                      <a:pt x="19609" y="3224"/>
                    </a:lnTo>
                    <a:lnTo>
                      <a:pt x="20754" y="3224"/>
                    </a:lnTo>
                    <a:lnTo>
                      <a:pt x="20754" y="2740"/>
                    </a:lnTo>
                    <a:lnTo>
                      <a:pt x="21053" y="2740"/>
                    </a:lnTo>
                    <a:lnTo>
                      <a:pt x="21053" y="3224"/>
                    </a:lnTo>
                    <a:lnTo>
                      <a:pt x="21301" y="3224"/>
                    </a:lnTo>
                    <a:lnTo>
                      <a:pt x="21053" y="3224"/>
                    </a:lnTo>
                    <a:lnTo>
                      <a:pt x="21053" y="3707"/>
                    </a:lnTo>
                    <a:lnTo>
                      <a:pt x="21301" y="3707"/>
                    </a:lnTo>
                    <a:lnTo>
                      <a:pt x="21600" y="4110"/>
                    </a:lnTo>
                    <a:lnTo>
                      <a:pt x="21600" y="4594"/>
                    </a:lnTo>
                    <a:lnTo>
                      <a:pt x="21301" y="4594"/>
                    </a:lnTo>
                    <a:lnTo>
                      <a:pt x="21301" y="4110"/>
                    </a:lnTo>
                    <a:lnTo>
                      <a:pt x="20754" y="4110"/>
                    </a:lnTo>
                    <a:lnTo>
                      <a:pt x="20754" y="5078"/>
                    </a:lnTo>
                    <a:lnTo>
                      <a:pt x="21053" y="5078"/>
                    </a:lnTo>
                    <a:lnTo>
                      <a:pt x="21053" y="5561"/>
                    </a:lnTo>
                    <a:lnTo>
                      <a:pt x="20754" y="5561"/>
                    </a:lnTo>
                    <a:lnTo>
                      <a:pt x="20754" y="6448"/>
                    </a:lnTo>
                    <a:lnTo>
                      <a:pt x="20455" y="6448"/>
                    </a:lnTo>
                    <a:lnTo>
                      <a:pt x="20455" y="7818"/>
                    </a:lnTo>
                    <a:lnTo>
                      <a:pt x="20754" y="7818"/>
                    </a:lnTo>
                    <a:lnTo>
                      <a:pt x="20754" y="8301"/>
                    </a:lnTo>
                    <a:lnTo>
                      <a:pt x="21053" y="830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>
                      <a:lumMod val="75000"/>
                    </a:srgbClr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43" name="Shape 2968"/>
              <p:cNvSpPr/>
              <p:nvPr/>
            </p:nvSpPr>
            <p:spPr>
              <a:xfrm>
                <a:off x="9582333" y="4207425"/>
                <a:ext cx="948882" cy="173889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504" y="15249"/>
                    </a:moveTo>
                    <a:lnTo>
                      <a:pt x="4701" y="14944"/>
                    </a:lnTo>
                    <a:lnTo>
                      <a:pt x="4504" y="14944"/>
                    </a:lnTo>
                    <a:lnTo>
                      <a:pt x="4504" y="14854"/>
                    </a:lnTo>
                    <a:lnTo>
                      <a:pt x="4701" y="14747"/>
                    </a:lnTo>
                    <a:lnTo>
                      <a:pt x="4866" y="14639"/>
                    </a:lnTo>
                    <a:lnTo>
                      <a:pt x="4866" y="14532"/>
                    </a:lnTo>
                    <a:lnTo>
                      <a:pt x="5063" y="14532"/>
                    </a:lnTo>
                    <a:lnTo>
                      <a:pt x="5063" y="14442"/>
                    </a:lnTo>
                    <a:lnTo>
                      <a:pt x="5260" y="14442"/>
                    </a:lnTo>
                    <a:lnTo>
                      <a:pt x="5260" y="14334"/>
                    </a:lnTo>
                    <a:lnTo>
                      <a:pt x="5622" y="14334"/>
                    </a:lnTo>
                    <a:lnTo>
                      <a:pt x="5622" y="13922"/>
                    </a:lnTo>
                    <a:lnTo>
                      <a:pt x="5063" y="13922"/>
                    </a:lnTo>
                    <a:lnTo>
                      <a:pt x="4866" y="13724"/>
                    </a:lnTo>
                    <a:lnTo>
                      <a:pt x="4110" y="13617"/>
                    </a:lnTo>
                    <a:lnTo>
                      <a:pt x="4110" y="13509"/>
                    </a:lnTo>
                    <a:lnTo>
                      <a:pt x="3945" y="13096"/>
                    </a:lnTo>
                    <a:lnTo>
                      <a:pt x="4504" y="12702"/>
                    </a:lnTo>
                    <a:lnTo>
                      <a:pt x="4701" y="12594"/>
                    </a:lnTo>
                    <a:lnTo>
                      <a:pt x="5063" y="12486"/>
                    </a:lnTo>
                    <a:lnTo>
                      <a:pt x="4866" y="12289"/>
                    </a:lnTo>
                    <a:lnTo>
                      <a:pt x="4866" y="12181"/>
                    </a:lnTo>
                    <a:lnTo>
                      <a:pt x="4110" y="12181"/>
                    </a:lnTo>
                    <a:lnTo>
                      <a:pt x="3748" y="11679"/>
                    </a:lnTo>
                    <a:lnTo>
                      <a:pt x="3386" y="11571"/>
                    </a:lnTo>
                    <a:lnTo>
                      <a:pt x="3189" y="11356"/>
                    </a:lnTo>
                    <a:lnTo>
                      <a:pt x="2630" y="11266"/>
                    </a:lnTo>
                    <a:lnTo>
                      <a:pt x="2071" y="11159"/>
                    </a:lnTo>
                    <a:lnTo>
                      <a:pt x="1315" y="11266"/>
                    </a:lnTo>
                    <a:lnTo>
                      <a:pt x="559" y="11159"/>
                    </a:lnTo>
                    <a:lnTo>
                      <a:pt x="362" y="11159"/>
                    </a:lnTo>
                    <a:lnTo>
                      <a:pt x="362" y="10854"/>
                    </a:lnTo>
                    <a:lnTo>
                      <a:pt x="559" y="10746"/>
                    </a:lnTo>
                    <a:lnTo>
                      <a:pt x="559" y="10639"/>
                    </a:lnTo>
                    <a:lnTo>
                      <a:pt x="756" y="10639"/>
                    </a:lnTo>
                    <a:lnTo>
                      <a:pt x="756" y="10549"/>
                    </a:lnTo>
                    <a:lnTo>
                      <a:pt x="362" y="9921"/>
                    </a:lnTo>
                    <a:lnTo>
                      <a:pt x="164" y="9921"/>
                    </a:lnTo>
                    <a:lnTo>
                      <a:pt x="756" y="9724"/>
                    </a:lnTo>
                    <a:lnTo>
                      <a:pt x="2071" y="9419"/>
                    </a:lnTo>
                    <a:lnTo>
                      <a:pt x="1874" y="9311"/>
                    </a:lnTo>
                    <a:lnTo>
                      <a:pt x="2071" y="9221"/>
                    </a:lnTo>
                    <a:lnTo>
                      <a:pt x="2236" y="9221"/>
                    </a:lnTo>
                    <a:lnTo>
                      <a:pt x="2236" y="9114"/>
                    </a:lnTo>
                    <a:lnTo>
                      <a:pt x="2071" y="9114"/>
                    </a:lnTo>
                    <a:lnTo>
                      <a:pt x="1677" y="8898"/>
                    </a:lnTo>
                    <a:lnTo>
                      <a:pt x="1479" y="8898"/>
                    </a:lnTo>
                    <a:lnTo>
                      <a:pt x="1479" y="8809"/>
                    </a:lnTo>
                    <a:lnTo>
                      <a:pt x="1315" y="8809"/>
                    </a:lnTo>
                    <a:lnTo>
                      <a:pt x="1315" y="8701"/>
                    </a:lnTo>
                    <a:lnTo>
                      <a:pt x="1118" y="8809"/>
                    </a:lnTo>
                    <a:lnTo>
                      <a:pt x="1118" y="8701"/>
                    </a:lnTo>
                    <a:lnTo>
                      <a:pt x="921" y="8701"/>
                    </a:lnTo>
                    <a:lnTo>
                      <a:pt x="921" y="8593"/>
                    </a:lnTo>
                    <a:lnTo>
                      <a:pt x="756" y="8593"/>
                    </a:lnTo>
                    <a:lnTo>
                      <a:pt x="756" y="8504"/>
                    </a:lnTo>
                    <a:lnTo>
                      <a:pt x="921" y="8504"/>
                    </a:lnTo>
                    <a:lnTo>
                      <a:pt x="921" y="8396"/>
                    </a:lnTo>
                    <a:lnTo>
                      <a:pt x="756" y="8396"/>
                    </a:lnTo>
                    <a:lnTo>
                      <a:pt x="921" y="8396"/>
                    </a:lnTo>
                    <a:lnTo>
                      <a:pt x="921" y="8091"/>
                    </a:lnTo>
                    <a:lnTo>
                      <a:pt x="1118" y="7983"/>
                    </a:lnTo>
                    <a:lnTo>
                      <a:pt x="1315" y="7983"/>
                    </a:lnTo>
                    <a:lnTo>
                      <a:pt x="1315" y="7876"/>
                    </a:lnTo>
                    <a:lnTo>
                      <a:pt x="1479" y="7876"/>
                    </a:lnTo>
                    <a:lnTo>
                      <a:pt x="1479" y="7678"/>
                    </a:lnTo>
                    <a:lnTo>
                      <a:pt x="1677" y="7678"/>
                    </a:lnTo>
                    <a:lnTo>
                      <a:pt x="1677" y="7571"/>
                    </a:lnTo>
                    <a:lnTo>
                      <a:pt x="1874" y="7463"/>
                    </a:lnTo>
                    <a:lnTo>
                      <a:pt x="1874" y="7373"/>
                    </a:lnTo>
                    <a:lnTo>
                      <a:pt x="2236" y="7373"/>
                    </a:lnTo>
                    <a:lnTo>
                      <a:pt x="2236" y="6853"/>
                    </a:lnTo>
                    <a:lnTo>
                      <a:pt x="2433" y="6853"/>
                    </a:lnTo>
                    <a:lnTo>
                      <a:pt x="2433" y="6763"/>
                    </a:lnTo>
                    <a:lnTo>
                      <a:pt x="2236" y="6763"/>
                    </a:lnTo>
                    <a:lnTo>
                      <a:pt x="2236" y="6548"/>
                    </a:lnTo>
                    <a:lnTo>
                      <a:pt x="1874" y="6548"/>
                    </a:lnTo>
                    <a:lnTo>
                      <a:pt x="1874" y="6441"/>
                    </a:lnTo>
                    <a:lnTo>
                      <a:pt x="2071" y="6441"/>
                    </a:lnTo>
                    <a:lnTo>
                      <a:pt x="2071" y="6351"/>
                    </a:lnTo>
                    <a:lnTo>
                      <a:pt x="2236" y="6351"/>
                    </a:lnTo>
                    <a:lnTo>
                      <a:pt x="2236" y="6136"/>
                    </a:lnTo>
                    <a:lnTo>
                      <a:pt x="2433" y="6136"/>
                    </a:lnTo>
                    <a:lnTo>
                      <a:pt x="2433" y="6046"/>
                    </a:lnTo>
                    <a:lnTo>
                      <a:pt x="2630" y="6046"/>
                    </a:lnTo>
                    <a:lnTo>
                      <a:pt x="2630" y="5938"/>
                    </a:lnTo>
                    <a:lnTo>
                      <a:pt x="2992" y="5938"/>
                    </a:lnTo>
                    <a:lnTo>
                      <a:pt x="2992" y="4916"/>
                    </a:lnTo>
                    <a:lnTo>
                      <a:pt x="2795" y="4808"/>
                    </a:lnTo>
                    <a:lnTo>
                      <a:pt x="2630" y="4808"/>
                    </a:lnTo>
                    <a:lnTo>
                      <a:pt x="2630" y="4916"/>
                    </a:lnTo>
                    <a:lnTo>
                      <a:pt x="2236" y="4916"/>
                    </a:lnTo>
                    <a:lnTo>
                      <a:pt x="2236" y="4808"/>
                    </a:lnTo>
                    <a:lnTo>
                      <a:pt x="2071" y="4808"/>
                    </a:lnTo>
                    <a:lnTo>
                      <a:pt x="2071" y="4700"/>
                    </a:lnTo>
                    <a:lnTo>
                      <a:pt x="2236" y="4700"/>
                    </a:lnTo>
                    <a:lnTo>
                      <a:pt x="2236" y="4611"/>
                    </a:lnTo>
                    <a:lnTo>
                      <a:pt x="2071" y="4611"/>
                    </a:lnTo>
                    <a:lnTo>
                      <a:pt x="2071" y="4700"/>
                    </a:lnTo>
                    <a:lnTo>
                      <a:pt x="2071" y="4611"/>
                    </a:lnTo>
                    <a:lnTo>
                      <a:pt x="1874" y="4611"/>
                    </a:lnTo>
                    <a:lnTo>
                      <a:pt x="1677" y="4700"/>
                    </a:lnTo>
                    <a:lnTo>
                      <a:pt x="1677" y="4611"/>
                    </a:lnTo>
                    <a:lnTo>
                      <a:pt x="1677" y="4700"/>
                    </a:lnTo>
                    <a:lnTo>
                      <a:pt x="1677" y="4611"/>
                    </a:lnTo>
                    <a:lnTo>
                      <a:pt x="1479" y="4611"/>
                    </a:lnTo>
                    <a:lnTo>
                      <a:pt x="1479" y="4700"/>
                    </a:lnTo>
                    <a:lnTo>
                      <a:pt x="1479" y="4503"/>
                    </a:lnTo>
                    <a:lnTo>
                      <a:pt x="1677" y="4503"/>
                    </a:lnTo>
                    <a:lnTo>
                      <a:pt x="1479" y="4503"/>
                    </a:lnTo>
                    <a:lnTo>
                      <a:pt x="1479" y="4288"/>
                    </a:lnTo>
                    <a:lnTo>
                      <a:pt x="1677" y="4288"/>
                    </a:lnTo>
                    <a:lnTo>
                      <a:pt x="1874" y="4198"/>
                    </a:lnTo>
                    <a:lnTo>
                      <a:pt x="1874" y="3785"/>
                    </a:lnTo>
                    <a:lnTo>
                      <a:pt x="1677" y="3785"/>
                    </a:lnTo>
                    <a:lnTo>
                      <a:pt x="1677" y="3678"/>
                    </a:lnTo>
                    <a:lnTo>
                      <a:pt x="1479" y="3588"/>
                    </a:lnTo>
                    <a:lnTo>
                      <a:pt x="1479" y="3480"/>
                    </a:lnTo>
                    <a:lnTo>
                      <a:pt x="921" y="3480"/>
                    </a:lnTo>
                    <a:lnTo>
                      <a:pt x="921" y="3175"/>
                    </a:lnTo>
                    <a:lnTo>
                      <a:pt x="756" y="3175"/>
                    </a:lnTo>
                    <a:lnTo>
                      <a:pt x="756" y="3068"/>
                    </a:lnTo>
                    <a:lnTo>
                      <a:pt x="921" y="3068"/>
                    </a:lnTo>
                    <a:lnTo>
                      <a:pt x="921" y="2960"/>
                    </a:lnTo>
                    <a:lnTo>
                      <a:pt x="1118" y="2960"/>
                    </a:lnTo>
                    <a:lnTo>
                      <a:pt x="1118" y="2870"/>
                    </a:lnTo>
                    <a:lnTo>
                      <a:pt x="921" y="2870"/>
                    </a:lnTo>
                    <a:lnTo>
                      <a:pt x="921" y="2655"/>
                    </a:lnTo>
                    <a:lnTo>
                      <a:pt x="756" y="2655"/>
                    </a:lnTo>
                    <a:lnTo>
                      <a:pt x="756" y="2350"/>
                    </a:lnTo>
                    <a:lnTo>
                      <a:pt x="921" y="2350"/>
                    </a:lnTo>
                    <a:lnTo>
                      <a:pt x="921" y="2243"/>
                    </a:lnTo>
                    <a:lnTo>
                      <a:pt x="1118" y="2243"/>
                    </a:lnTo>
                    <a:lnTo>
                      <a:pt x="921" y="2243"/>
                    </a:lnTo>
                    <a:lnTo>
                      <a:pt x="921" y="2045"/>
                    </a:lnTo>
                    <a:lnTo>
                      <a:pt x="756" y="2045"/>
                    </a:lnTo>
                    <a:lnTo>
                      <a:pt x="756" y="1938"/>
                    </a:lnTo>
                    <a:lnTo>
                      <a:pt x="921" y="1938"/>
                    </a:lnTo>
                    <a:lnTo>
                      <a:pt x="756" y="1938"/>
                    </a:lnTo>
                    <a:lnTo>
                      <a:pt x="756" y="1830"/>
                    </a:lnTo>
                    <a:lnTo>
                      <a:pt x="559" y="1830"/>
                    </a:lnTo>
                    <a:lnTo>
                      <a:pt x="559" y="1740"/>
                    </a:lnTo>
                    <a:lnTo>
                      <a:pt x="164" y="1525"/>
                    </a:lnTo>
                    <a:lnTo>
                      <a:pt x="164" y="1435"/>
                    </a:lnTo>
                    <a:lnTo>
                      <a:pt x="0" y="1435"/>
                    </a:lnTo>
                    <a:lnTo>
                      <a:pt x="164" y="1328"/>
                    </a:lnTo>
                    <a:lnTo>
                      <a:pt x="362" y="1328"/>
                    </a:lnTo>
                    <a:lnTo>
                      <a:pt x="362" y="1220"/>
                    </a:lnTo>
                    <a:lnTo>
                      <a:pt x="164" y="1220"/>
                    </a:lnTo>
                    <a:lnTo>
                      <a:pt x="164" y="1112"/>
                    </a:lnTo>
                    <a:lnTo>
                      <a:pt x="362" y="1112"/>
                    </a:lnTo>
                    <a:lnTo>
                      <a:pt x="362" y="915"/>
                    </a:lnTo>
                    <a:lnTo>
                      <a:pt x="164" y="915"/>
                    </a:lnTo>
                    <a:lnTo>
                      <a:pt x="164" y="610"/>
                    </a:lnTo>
                    <a:lnTo>
                      <a:pt x="0" y="610"/>
                    </a:lnTo>
                    <a:lnTo>
                      <a:pt x="0" y="413"/>
                    </a:lnTo>
                    <a:lnTo>
                      <a:pt x="362" y="413"/>
                    </a:lnTo>
                    <a:lnTo>
                      <a:pt x="362" y="502"/>
                    </a:lnTo>
                    <a:lnTo>
                      <a:pt x="559" y="502"/>
                    </a:lnTo>
                    <a:lnTo>
                      <a:pt x="559" y="197"/>
                    </a:lnTo>
                    <a:lnTo>
                      <a:pt x="756" y="197"/>
                    </a:lnTo>
                    <a:lnTo>
                      <a:pt x="756" y="90"/>
                    </a:lnTo>
                    <a:lnTo>
                      <a:pt x="921" y="90"/>
                    </a:lnTo>
                    <a:lnTo>
                      <a:pt x="921" y="0"/>
                    </a:lnTo>
                    <a:lnTo>
                      <a:pt x="1118" y="90"/>
                    </a:lnTo>
                    <a:lnTo>
                      <a:pt x="1315" y="197"/>
                    </a:lnTo>
                    <a:lnTo>
                      <a:pt x="1479" y="197"/>
                    </a:lnTo>
                    <a:lnTo>
                      <a:pt x="1479" y="413"/>
                    </a:lnTo>
                    <a:lnTo>
                      <a:pt x="1315" y="413"/>
                    </a:lnTo>
                    <a:lnTo>
                      <a:pt x="1315" y="502"/>
                    </a:lnTo>
                    <a:lnTo>
                      <a:pt x="1479" y="502"/>
                    </a:lnTo>
                    <a:lnTo>
                      <a:pt x="1479" y="610"/>
                    </a:lnTo>
                    <a:lnTo>
                      <a:pt x="1479" y="502"/>
                    </a:lnTo>
                    <a:lnTo>
                      <a:pt x="1677" y="610"/>
                    </a:lnTo>
                    <a:lnTo>
                      <a:pt x="1479" y="610"/>
                    </a:lnTo>
                    <a:lnTo>
                      <a:pt x="1479" y="718"/>
                    </a:lnTo>
                    <a:lnTo>
                      <a:pt x="1677" y="718"/>
                    </a:lnTo>
                    <a:lnTo>
                      <a:pt x="1677" y="807"/>
                    </a:lnTo>
                    <a:lnTo>
                      <a:pt x="1874" y="807"/>
                    </a:lnTo>
                    <a:lnTo>
                      <a:pt x="1874" y="915"/>
                    </a:lnTo>
                    <a:lnTo>
                      <a:pt x="1677" y="1023"/>
                    </a:lnTo>
                    <a:lnTo>
                      <a:pt x="2071" y="1023"/>
                    </a:lnTo>
                    <a:lnTo>
                      <a:pt x="2236" y="1112"/>
                    </a:lnTo>
                    <a:lnTo>
                      <a:pt x="2236" y="1220"/>
                    </a:lnTo>
                    <a:lnTo>
                      <a:pt x="2433" y="1220"/>
                    </a:lnTo>
                    <a:lnTo>
                      <a:pt x="2236" y="1220"/>
                    </a:lnTo>
                    <a:lnTo>
                      <a:pt x="2433" y="1220"/>
                    </a:lnTo>
                    <a:lnTo>
                      <a:pt x="2236" y="1328"/>
                    </a:lnTo>
                    <a:lnTo>
                      <a:pt x="2236" y="1435"/>
                    </a:lnTo>
                    <a:lnTo>
                      <a:pt x="2630" y="1435"/>
                    </a:lnTo>
                    <a:lnTo>
                      <a:pt x="2630" y="1633"/>
                    </a:lnTo>
                    <a:lnTo>
                      <a:pt x="2795" y="1633"/>
                    </a:lnTo>
                    <a:lnTo>
                      <a:pt x="2795" y="1525"/>
                    </a:lnTo>
                    <a:lnTo>
                      <a:pt x="2992" y="1525"/>
                    </a:lnTo>
                    <a:lnTo>
                      <a:pt x="2992" y="1435"/>
                    </a:lnTo>
                    <a:lnTo>
                      <a:pt x="2795" y="1435"/>
                    </a:lnTo>
                    <a:lnTo>
                      <a:pt x="2795" y="1328"/>
                    </a:lnTo>
                    <a:lnTo>
                      <a:pt x="2992" y="1328"/>
                    </a:lnTo>
                    <a:lnTo>
                      <a:pt x="2795" y="1328"/>
                    </a:lnTo>
                    <a:lnTo>
                      <a:pt x="2992" y="1328"/>
                    </a:lnTo>
                    <a:lnTo>
                      <a:pt x="2992" y="1220"/>
                    </a:lnTo>
                    <a:lnTo>
                      <a:pt x="3189" y="1220"/>
                    </a:lnTo>
                    <a:lnTo>
                      <a:pt x="3189" y="1112"/>
                    </a:lnTo>
                    <a:lnTo>
                      <a:pt x="3189" y="1220"/>
                    </a:lnTo>
                    <a:lnTo>
                      <a:pt x="3189" y="1112"/>
                    </a:lnTo>
                    <a:lnTo>
                      <a:pt x="3386" y="1112"/>
                    </a:lnTo>
                    <a:lnTo>
                      <a:pt x="3189" y="1023"/>
                    </a:lnTo>
                    <a:lnTo>
                      <a:pt x="2992" y="1023"/>
                    </a:lnTo>
                    <a:lnTo>
                      <a:pt x="3189" y="1023"/>
                    </a:lnTo>
                    <a:lnTo>
                      <a:pt x="3189" y="915"/>
                    </a:lnTo>
                    <a:lnTo>
                      <a:pt x="3386" y="915"/>
                    </a:lnTo>
                    <a:lnTo>
                      <a:pt x="3386" y="807"/>
                    </a:lnTo>
                    <a:lnTo>
                      <a:pt x="3551" y="718"/>
                    </a:lnTo>
                    <a:lnTo>
                      <a:pt x="3748" y="718"/>
                    </a:lnTo>
                    <a:lnTo>
                      <a:pt x="3748" y="502"/>
                    </a:lnTo>
                    <a:lnTo>
                      <a:pt x="4504" y="502"/>
                    </a:lnTo>
                    <a:lnTo>
                      <a:pt x="4701" y="1112"/>
                    </a:lnTo>
                    <a:lnTo>
                      <a:pt x="5260" y="1633"/>
                    </a:lnTo>
                    <a:lnTo>
                      <a:pt x="5425" y="1633"/>
                    </a:lnTo>
                    <a:lnTo>
                      <a:pt x="5622" y="1525"/>
                    </a:lnTo>
                    <a:lnTo>
                      <a:pt x="6575" y="1525"/>
                    </a:lnTo>
                    <a:lnTo>
                      <a:pt x="6575" y="1633"/>
                    </a:lnTo>
                    <a:lnTo>
                      <a:pt x="6740" y="1633"/>
                    </a:lnTo>
                    <a:lnTo>
                      <a:pt x="6740" y="1525"/>
                    </a:lnTo>
                    <a:lnTo>
                      <a:pt x="6937" y="1525"/>
                    </a:lnTo>
                    <a:lnTo>
                      <a:pt x="6937" y="1435"/>
                    </a:lnTo>
                    <a:lnTo>
                      <a:pt x="7134" y="1435"/>
                    </a:lnTo>
                    <a:lnTo>
                      <a:pt x="6937" y="1435"/>
                    </a:lnTo>
                    <a:lnTo>
                      <a:pt x="7134" y="1435"/>
                    </a:lnTo>
                    <a:lnTo>
                      <a:pt x="7134" y="1525"/>
                    </a:lnTo>
                    <a:lnTo>
                      <a:pt x="8055" y="1525"/>
                    </a:lnTo>
                    <a:lnTo>
                      <a:pt x="8055" y="1633"/>
                    </a:lnTo>
                    <a:lnTo>
                      <a:pt x="8647" y="1633"/>
                    </a:lnTo>
                    <a:lnTo>
                      <a:pt x="8647" y="1740"/>
                    </a:lnTo>
                    <a:lnTo>
                      <a:pt x="8252" y="1938"/>
                    </a:lnTo>
                    <a:lnTo>
                      <a:pt x="8055" y="2045"/>
                    </a:lnTo>
                    <a:lnTo>
                      <a:pt x="8055" y="2153"/>
                    </a:lnTo>
                    <a:lnTo>
                      <a:pt x="7693" y="2350"/>
                    </a:lnTo>
                    <a:lnTo>
                      <a:pt x="7693" y="2548"/>
                    </a:lnTo>
                    <a:lnTo>
                      <a:pt x="7496" y="2655"/>
                    </a:lnTo>
                    <a:lnTo>
                      <a:pt x="7496" y="2763"/>
                    </a:lnTo>
                    <a:lnTo>
                      <a:pt x="7332" y="2870"/>
                    </a:lnTo>
                    <a:lnTo>
                      <a:pt x="6740" y="2870"/>
                    </a:lnTo>
                    <a:lnTo>
                      <a:pt x="6575" y="2960"/>
                    </a:lnTo>
                    <a:lnTo>
                      <a:pt x="6575" y="3265"/>
                    </a:lnTo>
                    <a:lnTo>
                      <a:pt x="6378" y="3265"/>
                    </a:lnTo>
                    <a:lnTo>
                      <a:pt x="6575" y="3265"/>
                    </a:lnTo>
                    <a:lnTo>
                      <a:pt x="6378" y="3265"/>
                    </a:lnTo>
                    <a:lnTo>
                      <a:pt x="6378" y="3373"/>
                    </a:lnTo>
                    <a:lnTo>
                      <a:pt x="6575" y="3373"/>
                    </a:lnTo>
                    <a:lnTo>
                      <a:pt x="6575" y="3678"/>
                    </a:lnTo>
                    <a:lnTo>
                      <a:pt x="6378" y="3678"/>
                    </a:lnTo>
                    <a:lnTo>
                      <a:pt x="6378" y="3785"/>
                    </a:lnTo>
                    <a:lnTo>
                      <a:pt x="6181" y="3785"/>
                    </a:lnTo>
                    <a:lnTo>
                      <a:pt x="6181" y="3893"/>
                    </a:lnTo>
                    <a:lnTo>
                      <a:pt x="6016" y="3893"/>
                    </a:lnTo>
                    <a:lnTo>
                      <a:pt x="6016" y="4090"/>
                    </a:lnTo>
                    <a:lnTo>
                      <a:pt x="6181" y="4090"/>
                    </a:lnTo>
                    <a:lnTo>
                      <a:pt x="6181" y="4198"/>
                    </a:lnTo>
                    <a:lnTo>
                      <a:pt x="6575" y="4198"/>
                    </a:lnTo>
                    <a:lnTo>
                      <a:pt x="6575" y="4288"/>
                    </a:lnTo>
                    <a:lnTo>
                      <a:pt x="6740" y="4288"/>
                    </a:lnTo>
                    <a:lnTo>
                      <a:pt x="6740" y="4808"/>
                    </a:lnTo>
                    <a:lnTo>
                      <a:pt x="6575" y="4808"/>
                    </a:lnTo>
                    <a:lnTo>
                      <a:pt x="6575" y="4916"/>
                    </a:lnTo>
                    <a:lnTo>
                      <a:pt x="6378" y="4916"/>
                    </a:lnTo>
                    <a:lnTo>
                      <a:pt x="6378" y="5113"/>
                    </a:lnTo>
                    <a:lnTo>
                      <a:pt x="6937" y="5113"/>
                    </a:lnTo>
                    <a:lnTo>
                      <a:pt x="6937" y="5005"/>
                    </a:lnTo>
                    <a:lnTo>
                      <a:pt x="7134" y="5005"/>
                    </a:lnTo>
                    <a:lnTo>
                      <a:pt x="7134" y="5221"/>
                    </a:lnTo>
                    <a:lnTo>
                      <a:pt x="7332" y="5221"/>
                    </a:lnTo>
                    <a:lnTo>
                      <a:pt x="7332" y="5328"/>
                    </a:lnTo>
                    <a:lnTo>
                      <a:pt x="7496" y="5328"/>
                    </a:lnTo>
                    <a:lnTo>
                      <a:pt x="7332" y="5328"/>
                    </a:lnTo>
                    <a:lnTo>
                      <a:pt x="7496" y="5328"/>
                    </a:lnTo>
                    <a:lnTo>
                      <a:pt x="7496" y="5418"/>
                    </a:lnTo>
                    <a:lnTo>
                      <a:pt x="7693" y="5526"/>
                    </a:lnTo>
                    <a:lnTo>
                      <a:pt x="7890" y="5526"/>
                    </a:lnTo>
                    <a:lnTo>
                      <a:pt x="7693" y="5418"/>
                    </a:lnTo>
                    <a:lnTo>
                      <a:pt x="7890" y="5328"/>
                    </a:lnTo>
                    <a:lnTo>
                      <a:pt x="7890" y="5526"/>
                    </a:lnTo>
                    <a:lnTo>
                      <a:pt x="8055" y="5526"/>
                    </a:lnTo>
                    <a:lnTo>
                      <a:pt x="8055" y="5633"/>
                    </a:lnTo>
                    <a:lnTo>
                      <a:pt x="8449" y="5633"/>
                    </a:lnTo>
                    <a:lnTo>
                      <a:pt x="8449" y="5723"/>
                    </a:lnTo>
                    <a:lnTo>
                      <a:pt x="9008" y="5723"/>
                    </a:lnTo>
                    <a:lnTo>
                      <a:pt x="9008" y="5831"/>
                    </a:lnTo>
                    <a:lnTo>
                      <a:pt x="9205" y="5831"/>
                    </a:lnTo>
                    <a:lnTo>
                      <a:pt x="9008" y="5831"/>
                    </a:lnTo>
                    <a:lnTo>
                      <a:pt x="9008" y="5938"/>
                    </a:lnTo>
                    <a:lnTo>
                      <a:pt x="9205" y="5938"/>
                    </a:lnTo>
                    <a:lnTo>
                      <a:pt x="9205" y="6046"/>
                    </a:lnTo>
                    <a:lnTo>
                      <a:pt x="9370" y="6046"/>
                    </a:lnTo>
                    <a:lnTo>
                      <a:pt x="9370" y="5938"/>
                    </a:lnTo>
                    <a:lnTo>
                      <a:pt x="9370" y="6136"/>
                    </a:lnTo>
                    <a:lnTo>
                      <a:pt x="9205" y="6243"/>
                    </a:lnTo>
                    <a:lnTo>
                      <a:pt x="9205" y="6351"/>
                    </a:lnTo>
                    <a:lnTo>
                      <a:pt x="9567" y="6351"/>
                    </a:lnTo>
                    <a:lnTo>
                      <a:pt x="9567" y="6548"/>
                    </a:lnTo>
                    <a:lnTo>
                      <a:pt x="9370" y="6548"/>
                    </a:lnTo>
                    <a:lnTo>
                      <a:pt x="9370" y="6656"/>
                    </a:lnTo>
                    <a:lnTo>
                      <a:pt x="9205" y="6656"/>
                    </a:lnTo>
                    <a:lnTo>
                      <a:pt x="9205" y="6763"/>
                    </a:lnTo>
                    <a:lnTo>
                      <a:pt x="9008" y="6763"/>
                    </a:lnTo>
                    <a:lnTo>
                      <a:pt x="9008" y="7068"/>
                    </a:lnTo>
                    <a:lnTo>
                      <a:pt x="8811" y="7068"/>
                    </a:lnTo>
                    <a:lnTo>
                      <a:pt x="9008" y="7068"/>
                    </a:lnTo>
                    <a:lnTo>
                      <a:pt x="9008" y="7158"/>
                    </a:lnTo>
                    <a:lnTo>
                      <a:pt x="8811" y="7158"/>
                    </a:lnTo>
                    <a:lnTo>
                      <a:pt x="8811" y="7266"/>
                    </a:lnTo>
                    <a:lnTo>
                      <a:pt x="9008" y="7266"/>
                    </a:lnTo>
                    <a:lnTo>
                      <a:pt x="9008" y="7571"/>
                    </a:lnTo>
                    <a:lnTo>
                      <a:pt x="8811" y="7571"/>
                    </a:lnTo>
                    <a:lnTo>
                      <a:pt x="8647" y="7678"/>
                    </a:lnTo>
                    <a:lnTo>
                      <a:pt x="8449" y="7678"/>
                    </a:lnTo>
                    <a:lnTo>
                      <a:pt x="8449" y="7786"/>
                    </a:lnTo>
                    <a:lnTo>
                      <a:pt x="8252" y="7786"/>
                    </a:lnTo>
                    <a:lnTo>
                      <a:pt x="8252" y="7876"/>
                    </a:lnTo>
                    <a:lnTo>
                      <a:pt x="8055" y="7876"/>
                    </a:lnTo>
                    <a:lnTo>
                      <a:pt x="8055" y="8091"/>
                    </a:lnTo>
                    <a:lnTo>
                      <a:pt x="7693" y="8091"/>
                    </a:lnTo>
                    <a:lnTo>
                      <a:pt x="7496" y="8181"/>
                    </a:lnTo>
                    <a:lnTo>
                      <a:pt x="7496" y="8288"/>
                    </a:lnTo>
                    <a:lnTo>
                      <a:pt x="7332" y="8288"/>
                    </a:lnTo>
                    <a:lnTo>
                      <a:pt x="7332" y="8396"/>
                    </a:lnTo>
                    <a:lnTo>
                      <a:pt x="7134" y="8396"/>
                    </a:lnTo>
                    <a:lnTo>
                      <a:pt x="7134" y="8593"/>
                    </a:lnTo>
                    <a:lnTo>
                      <a:pt x="7332" y="8593"/>
                    </a:lnTo>
                    <a:lnTo>
                      <a:pt x="7332" y="8701"/>
                    </a:lnTo>
                    <a:lnTo>
                      <a:pt x="7496" y="8701"/>
                    </a:lnTo>
                    <a:lnTo>
                      <a:pt x="7693" y="8809"/>
                    </a:lnTo>
                    <a:lnTo>
                      <a:pt x="7693" y="8898"/>
                    </a:lnTo>
                    <a:lnTo>
                      <a:pt x="8055" y="8898"/>
                    </a:lnTo>
                    <a:lnTo>
                      <a:pt x="8055" y="9114"/>
                    </a:lnTo>
                    <a:lnTo>
                      <a:pt x="7890" y="9114"/>
                    </a:lnTo>
                    <a:lnTo>
                      <a:pt x="7890" y="9221"/>
                    </a:lnTo>
                    <a:lnTo>
                      <a:pt x="7693" y="9221"/>
                    </a:lnTo>
                    <a:lnTo>
                      <a:pt x="7693" y="9419"/>
                    </a:lnTo>
                    <a:lnTo>
                      <a:pt x="7496" y="9419"/>
                    </a:lnTo>
                    <a:lnTo>
                      <a:pt x="7693" y="9526"/>
                    </a:lnTo>
                    <a:lnTo>
                      <a:pt x="7693" y="9616"/>
                    </a:lnTo>
                    <a:lnTo>
                      <a:pt x="7890" y="9616"/>
                    </a:lnTo>
                    <a:lnTo>
                      <a:pt x="7890" y="9724"/>
                    </a:lnTo>
                    <a:lnTo>
                      <a:pt x="7693" y="9724"/>
                    </a:lnTo>
                    <a:lnTo>
                      <a:pt x="7890" y="9724"/>
                    </a:lnTo>
                    <a:lnTo>
                      <a:pt x="7890" y="10244"/>
                    </a:lnTo>
                    <a:lnTo>
                      <a:pt x="8055" y="10334"/>
                    </a:lnTo>
                    <a:lnTo>
                      <a:pt x="8055" y="10441"/>
                    </a:lnTo>
                    <a:lnTo>
                      <a:pt x="8252" y="10441"/>
                    </a:lnTo>
                    <a:lnTo>
                      <a:pt x="8449" y="10549"/>
                    </a:lnTo>
                    <a:lnTo>
                      <a:pt x="8811" y="10549"/>
                    </a:lnTo>
                    <a:lnTo>
                      <a:pt x="8811" y="10441"/>
                    </a:lnTo>
                    <a:lnTo>
                      <a:pt x="9008" y="10441"/>
                    </a:lnTo>
                    <a:lnTo>
                      <a:pt x="9008" y="10334"/>
                    </a:lnTo>
                    <a:lnTo>
                      <a:pt x="9205" y="10334"/>
                    </a:lnTo>
                    <a:lnTo>
                      <a:pt x="9205" y="10244"/>
                    </a:lnTo>
                    <a:lnTo>
                      <a:pt x="9370" y="10244"/>
                    </a:lnTo>
                    <a:lnTo>
                      <a:pt x="9205" y="10136"/>
                    </a:lnTo>
                    <a:lnTo>
                      <a:pt x="9567" y="10136"/>
                    </a:lnTo>
                    <a:lnTo>
                      <a:pt x="9567" y="9831"/>
                    </a:lnTo>
                    <a:lnTo>
                      <a:pt x="9764" y="9831"/>
                    </a:lnTo>
                    <a:lnTo>
                      <a:pt x="9764" y="9921"/>
                    </a:lnTo>
                    <a:lnTo>
                      <a:pt x="9962" y="9921"/>
                    </a:lnTo>
                    <a:lnTo>
                      <a:pt x="9962" y="10029"/>
                    </a:lnTo>
                    <a:lnTo>
                      <a:pt x="10126" y="10029"/>
                    </a:lnTo>
                    <a:lnTo>
                      <a:pt x="10126" y="9831"/>
                    </a:lnTo>
                    <a:lnTo>
                      <a:pt x="9962" y="9831"/>
                    </a:lnTo>
                    <a:lnTo>
                      <a:pt x="9962" y="9724"/>
                    </a:lnTo>
                    <a:lnTo>
                      <a:pt x="9764" y="9724"/>
                    </a:lnTo>
                    <a:lnTo>
                      <a:pt x="9962" y="9724"/>
                    </a:lnTo>
                    <a:lnTo>
                      <a:pt x="9962" y="9616"/>
                    </a:lnTo>
                    <a:lnTo>
                      <a:pt x="10323" y="9616"/>
                    </a:lnTo>
                    <a:lnTo>
                      <a:pt x="10323" y="9831"/>
                    </a:lnTo>
                    <a:lnTo>
                      <a:pt x="10521" y="9831"/>
                    </a:lnTo>
                    <a:lnTo>
                      <a:pt x="10521" y="9921"/>
                    </a:lnTo>
                    <a:lnTo>
                      <a:pt x="10685" y="9921"/>
                    </a:lnTo>
                    <a:lnTo>
                      <a:pt x="10685" y="10029"/>
                    </a:lnTo>
                    <a:lnTo>
                      <a:pt x="10882" y="9921"/>
                    </a:lnTo>
                    <a:lnTo>
                      <a:pt x="10882" y="10029"/>
                    </a:lnTo>
                    <a:lnTo>
                      <a:pt x="11277" y="10029"/>
                    </a:lnTo>
                    <a:lnTo>
                      <a:pt x="11277" y="10136"/>
                    </a:lnTo>
                    <a:lnTo>
                      <a:pt x="11441" y="10136"/>
                    </a:lnTo>
                    <a:lnTo>
                      <a:pt x="11441" y="10029"/>
                    </a:lnTo>
                    <a:lnTo>
                      <a:pt x="11638" y="10029"/>
                    </a:lnTo>
                    <a:lnTo>
                      <a:pt x="11638" y="9921"/>
                    </a:lnTo>
                    <a:lnTo>
                      <a:pt x="12395" y="9921"/>
                    </a:lnTo>
                    <a:lnTo>
                      <a:pt x="12395" y="10029"/>
                    </a:lnTo>
                    <a:lnTo>
                      <a:pt x="12592" y="10029"/>
                    </a:lnTo>
                    <a:lnTo>
                      <a:pt x="12756" y="10136"/>
                    </a:lnTo>
                    <a:lnTo>
                      <a:pt x="12756" y="10244"/>
                    </a:lnTo>
                    <a:lnTo>
                      <a:pt x="12953" y="10244"/>
                    </a:lnTo>
                    <a:lnTo>
                      <a:pt x="12953" y="10441"/>
                    </a:lnTo>
                    <a:lnTo>
                      <a:pt x="13151" y="10441"/>
                    </a:lnTo>
                    <a:lnTo>
                      <a:pt x="13151" y="10549"/>
                    </a:lnTo>
                    <a:lnTo>
                      <a:pt x="12953" y="10549"/>
                    </a:lnTo>
                    <a:lnTo>
                      <a:pt x="12953" y="10639"/>
                    </a:lnTo>
                    <a:lnTo>
                      <a:pt x="12756" y="10639"/>
                    </a:lnTo>
                    <a:lnTo>
                      <a:pt x="12756" y="10854"/>
                    </a:lnTo>
                    <a:lnTo>
                      <a:pt x="12592" y="10961"/>
                    </a:lnTo>
                    <a:lnTo>
                      <a:pt x="12395" y="10961"/>
                    </a:lnTo>
                    <a:lnTo>
                      <a:pt x="12395" y="11159"/>
                    </a:lnTo>
                    <a:lnTo>
                      <a:pt x="12592" y="11159"/>
                    </a:lnTo>
                    <a:lnTo>
                      <a:pt x="12395" y="11266"/>
                    </a:lnTo>
                    <a:lnTo>
                      <a:pt x="12592" y="11266"/>
                    </a:lnTo>
                    <a:lnTo>
                      <a:pt x="12592" y="11679"/>
                    </a:lnTo>
                    <a:lnTo>
                      <a:pt x="12756" y="11679"/>
                    </a:lnTo>
                    <a:lnTo>
                      <a:pt x="12592" y="11679"/>
                    </a:lnTo>
                    <a:lnTo>
                      <a:pt x="12592" y="11769"/>
                    </a:lnTo>
                    <a:lnTo>
                      <a:pt x="12756" y="11769"/>
                    </a:lnTo>
                    <a:lnTo>
                      <a:pt x="12756" y="11876"/>
                    </a:lnTo>
                    <a:lnTo>
                      <a:pt x="13151" y="11876"/>
                    </a:lnTo>
                    <a:lnTo>
                      <a:pt x="13151" y="11984"/>
                    </a:lnTo>
                    <a:lnTo>
                      <a:pt x="13315" y="11984"/>
                    </a:lnTo>
                    <a:lnTo>
                      <a:pt x="13315" y="11876"/>
                    </a:lnTo>
                    <a:lnTo>
                      <a:pt x="13710" y="11876"/>
                    </a:lnTo>
                    <a:lnTo>
                      <a:pt x="13710" y="11984"/>
                    </a:lnTo>
                    <a:lnTo>
                      <a:pt x="13907" y="11984"/>
                    </a:lnTo>
                    <a:lnTo>
                      <a:pt x="13907" y="11876"/>
                    </a:lnTo>
                    <a:lnTo>
                      <a:pt x="13907" y="11984"/>
                    </a:lnTo>
                    <a:lnTo>
                      <a:pt x="14071" y="11984"/>
                    </a:lnTo>
                    <a:lnTo>
                      <a:pt x="14071" y="12074"/>
                    </a:lnTo>
                    <a:lnTo>
                      <a:pt x="14268" y="12074"/>
                    </a:lnTo>
                    <a:lnTo>
                      <a:pt x="14268" y="11984"/>
                    </a:lnTo>
                    <a:lnTo>
                      <a:pt x="14827" y="11984"/>
                    </a:lnTo>
                    <a:lnTo>
                      <a:pt x="14827" y="12074"/>
                    </a:lnTo>
                    <a:lnTo>
                      <a:pt x="14827" y="11984"/>
                    </a:lnTo>
                    <a:lnTo>
                      <a:pt x="15025" y="11984"/>
                    </a:lnTo>
                    <a:lnTo>
                      <a:pt x="15025" y="11876"/>
                    </a:lnTo>
                    <a:lnTo>
                      <a:pt x="15222" y="11876"/>
                    </a:lnTo>
                    <a:lnTo>
                      <a:pt x="15222" y="11769"/>
                    </a:lnTo>
                    <a:lnTo>
                      <a:pt x="16142" y="11769"/>
                    </a:lnTo>
                    <a:lnTo>
                      <a:pt x="16142" y="11679"/>
                    </a:lnTo>
                    <a:lnTo>
                      <a:pt x="16899" y="11679"/>
                    </a:lnTo>
                    <a:lnTo>
                      <a:pt x="16899" y="11571"/>
                    </a:lnTo>
                    <a:lnTo>
                      <a:pt x="17096" y="11571"/>
                    </a:lnTo>
                    <a:lnTo>
                      <a:pt x="17096" y="11679"/>
                    </a:lnTo>
                    <a:lnTo>
                      <a:pt x="17293" y="11571"/>
                    </a:lnTo>
                    <a:lnTo>
                      <a:pt x="17293" y="11464"/>
                    </a:lnTo>
                    <a:lnTo>
                      <a:pt x="17458" y="11464"/>
                    </a:lnTo>
                    <a:lnTo>
                      <a:pt x="17458" y="11356"/>
                    </a:lnTo>
                    <a:lnTo>
                      <a:pt x="17655" y="11356"/>
                    </a:lnTo>
                    <a:lnTo>
                      <a:pt x="17655" y="11266"/>
                    </a:lnTo>
                    <a:lnTo>
                      <a:pt x="17852" y="11266"/>
                    </a:lnTo>
                    <a:lnTo>
                      <a:pt x="17852" y="11159"/>
                    </a:lnTo>
                    <a:lnTo>
                      <a:pt x="17852" y="11266"/>
                    </a:lnTo>
                    <a:lnTo>
                      <a:pt x="18214" y="11266"/>
                    </a:lnTo>
                    <a:lnTo>
                      <a:pt x="18214" y="11356"/>
                    </a:lnTo>
                    <a:lnTo>
                      <a:pt x="18411" y="11356"/>
                    </a:lnTo>
                    <a:lnTo>
                      <a:pt x="18411" y="11464"/>
                    </a:lnTo>
                    <a:lnTo>
                      <a:pt x="18970" y="11464"/>
                    </a:lnTo>
                    <a:lnTo>
                      <a:pt x="18970" y="11571"/>
                    </a:lnTo>
                    <a:lnTo>
                      <a:pt x="19529" y="11571"/>
                    </a:lnTo>
                    <a:lnTo>
                      <a:pt x="19529" y="11679"/>
                    </a:lnTo>
                    <a:lnTo>
                      <a:pt x="20088" y="11679"/>
                    </a:lnTo>
                    <a:lnTo>
                      <a:pt x="20088" y="11571"/>
                    </a:lnTo>
                    <a:lnTo>
                      <a:pt x="20482" y="11571"/>
                    </a:lnTo>
                    <a:lnTo>
                      <a:pt x="20482" y="11679"/>
                    </a:lnTo>
                    <a:lnTo>
                      <a:pt x="20647" y="11679"/>
                    </a:lnTo>
                    <a:lnTo>
                      <a:pt x="20844" y="11769"/>
                    </a:lnTo>
                    <a:lnTo>
                      <a:pt x="21041" y="11769"/>
                    </a:lnTo>
                    <a:lnTo>
                      <a:pt x="21041" y="11679"/>
                    </a:lnTo>
                    <a:lnTo>
                      <a:pt x="21238" y="11679"/>
                    </a:lnTo>
                    <a:lnTo>
                      <a:pt x="21238" y="11876"/>
                    </a:lnTo>
                    <a:lnTo>
                      <a:pt x="21403" y="11876"/>
                    </a:lnTo>
                    <a:lnTo>
                      <a:pt x="21403" y="11984"/>
                    </a:lnTo>
                    <a:lnTo>
                      <a:pt x="21238" y="11984"/>
                    </a:lnTo>
                    <a:lnTo>
                      <a:pt x="21238" y="12074"/>
                    </a:lnTo>
                    <a:lnTo>
                      <a:pt x="21403" y="12074"/>
                    </a:lnTo>
                    <a:lnTo>
                      <a:pt x="21403" y="12181"/>
                    </a:lnTo>
                    <a:lnTo>
                      <a:pt x="21238" y="12181"/>
                    </a:lnTo>
                    <a:lnTo>
                      <a:pt x="21238" y="12289"/>
                    </a:lnTo>
                    <a:lnTo>
                      <a:pt x="21403" y="12289"/>
                    </a:lnTo>
                    <a:lnTo>
                      <a:pt x="21238" y="12289"/>
                    </a:lnTo>
                    <a:lnTo>
                      <a:pt x="21238" y="12486"/>
                    </a:lnTo>
                    <a:lnTo>
                      <a:pt x="21403" y="12486"/>
                    </a:lnTo>
                    <a:lnTo>
                      <a:pt x="21238" y="12486"/>
                    </a:lnTo>
                    <a:lnTo>
                      <a:pt x="21403" y="12486"/>
                    </a:lnTo>
                    <a:lnTo>
                      <a:pt x="21403" y="12702"/>
                    </a:lnTo>
                    <a:lnTo>
                      <a:pt x="21600" y="12702"/>
                    </a:lnTo>
                    <a:lnTo>
                      <a:pt x="21600" y="12791"/>
                    </a:lnTo>
                    <a:lnTo>
                      <a:pt x="21403" y="12791"/>
                    </a:lnTo>
                    <a:lnTo>
                      <a:pt x="21403" y="12899"/>
                    </a:lnTo>
                    <a:lnTo>
                      <a:pt x="21238" y="12899"/>
                    </a:lnTo>
                    <a:lnTo>
                      <a:pt x="21238" y="13096"/>
                    </a:lnTo>
                    <a:lnTo>
                      <a:pt x="20844" y="13096"/>
                    </a:lnTo>
                    <a:lnTo>
                      <a:pt x="20844" y="13204"/>
                    </a:lnTo>
                    <a:lnTo>
                      <a:pt x="20647" y="13204"/>
                    </a:lnTo>
                    <a:lnTo>
                      <a:pt x="20482" y="13312"/>
                    </a:lnTo>
                    <a:lnTo>
                      <a:pt x="20482" y="13509"/>
                    </a:lnTo>
                    <a:lnTo>
                      <a:pt x="20088" y="13509"/>
                    </a:lnTo>
                    <a:lnTo>
                      <a:pt x="20088" y="13617"/>
                    </a:lnTo>
                    <a:lnTo>
                      <a:pt x="19923" y="13617"/>
                    </a:lnTo>
                    <a:lnTo>
                      <a:pt x="19923" y="13814"/>
                    </a:lnTo>
                    <a:lnTo>
                      <a:pt x="20088" y="13814"/>
                    </a:lnTo>
                    <a:lnTo>
                      <a:pt x="19923" y="13814"/>
                    </a:lnTo>
                    <a:lnTo>
                      <a:pt x="19923" y="13922"/>
                    </a:lnTo>
                    <a:lnTo>
                      <a:pt x="19726" y="13922"/>
                    </a:lnTo>
                    <a:lnTo>
                      <a:pt x="19923" y="13922"/>
                    </a:lnTo>
                    <a:lnTo>
                      <a:pt x="19726" y="14029"/>
                    </a:lnTo>
                    <a:lnTo>
                      <a:pt x="19726" y="13922"/>
                    </a:lnTo>
                    <a:lnTo>
                      <a:pt x="19529" y="14029"/>
                    </a:lnTo>
                    <a:lnTo>
                      <a:pt x="19529" y="13922"/>
                    </a:lnTo>
                    <a:lnTo>
                      <a:pt x="19529" y="14029"/>
                    </a:lnTo>
                    <a:lnTo>
                      <a:pt x="19726" y="14029"/>
                    </a:lnTo>
                    <a:lnTo>
                      <a:pt x="19529" y="14029"/>
                    </a:lnTo>
                    <a:lnTo>
                      <a:pt x="19726" y="14029"/>
                    </a:lnTo>
                    <a:lnTo>
                      <a:pt x="19726" y="14227"/>
                    </a:lnTo>
                    <a:lnTo>
                      <a:pt x="19529" y="14227"/>
                    </a:lnTo>
                    <a:lnTo>
                      <a:pt x="19726" y="14227"/>
                    </a:lnTo>
                    <a:lnTo>
                      <a:pt x="19529" y="14227"/>
                    </a:lnTo>
                    <a:lnTo>
                      <a:pt x="19726" y="14334"/>
                    </a:lnTo>
                    <a:lnTo>
                      <a:pt x="19726" y="14532"/>
                    </a:lnTo>
                    <a:lnTo>
                      <a:pt x="19529" y="14532"/>
                    </a:lnTo>
                    <a:lnTo>
                      <a:pt x="19332" y="14442"/>
                    </a:lnTo>
                    <a:lnTo>
                      <a:pt x="19167" y="14442"/>
                    </a:lnTo>
                    <a:lnTo>
                      <a:pt x="19167" y="14334"/>
                    </a:lnTo>
                    <a:lnTo>
                      <a:pt x="18970" y="14334"/>
                    </a:lnTo>
                    <a:lnTo>
                      <a:pt x="18970" y="14227"/>
                    </a:lnTo>
                    <a:lnTo>
                      <a:pt x="19167" y="14227"/>
                    </a:lnTo>
                    <a:lnTo>
                      <a:pt x="18970" y="14227"/>
                    </a:lnTo>
                    <a:lnTo>
                      <a:pt x="19167" y="14137"/>
                    </a:lnTo>
                    <a:lnTo>
                      <a:pt x="18970" y="14137"/>
                    </a:lnTo>
                    <a:lnTo>
                      <a:pt x="18970" y="14029"/>
                    </a:lnTo>
                    <a:lnTo>
                      <a:pt x="18773" y="14029"/>
                    </a:lnTo>
                    <a:lnTo>
                      <a:pt x="18773" y="13922"/>
                    </a:lnTo>
                    <a:lnTo>
                      <a:pt x="18608" y="13922"/>
                    </a:lnTo>
                    <a:lnTo>
                      <a:pt x="18608" y="13814"/>
                    </a:lnTo>
                    <a:lnTo>
                      <a:pt x="18773" y="13814"/>
                    </a:lnTo>
                    <a:lnTo>
                      <a:pt x="18608" y="13814"/>
                    </a:lnTo>
                    <a:lnTo>
                      <a:pt x="18608" y="13724"/>
                    </a:lnTo>
                    <a:lnTo>
                      <a:pt x="18608" y="13814"/>
                    </a:lnTo>
                    <a:lnTo>
                      <a:pt x="18608" y="13724"/>
                    </a:lnTo>
                    <a:lnTo>
                      <a:pt x="18411" y="13724"/>
                    </a:lnTo>
                    <a:lnTo>
                      <a:pt x="18411" y="13814"/>
                    </a:lnTo>
                    <a:lnTo>
                      <a:pt x="18214" y="13814"/>
                    </a:lnTo>
                    <a:lnTo>
                      <a:pt x="18214" y="13724"/>
                    </a:lnTo>
                    <a:lnTo>
                      <a:pt x="18214" y="13814"/>
                    </a:lnTo>
                    <a:lnTo>
                      <a:pt x="18016" y="13814"/>
                    </a:lnTo>
                    <a:lnTo>
                      <a:pt x="18214" y="13922"/>
                    </a:lnTo>
                    <a:lnTo>
                      <a:pt x="18016" y="13922"/>
                    </a:lnTo>
                    <a:lnTo>
                      <a:pt x="18016" y="14029"/>
                    </a:lnTo>
                    <a:lnTo>
                      <a:pt x="17852" y="14137"/>
                    </a:lnTo>
                    <a:lnTo>
                      <a:pt x="17655" y="14137"/>
                    </a:lnTo>
                    <a:lnTo>
                      <a:pt x="17655" y="14227"/>
                    </a:lnTo>
                    <a:lnTo>
                      <a:pt x="17458" y="14137"/>
                    </a:lnTo>
                    <a:lnTo>
                      <a:pt x="17458" y="14227"/>
                    </a:lnTo>
                    <a:lnTo>
                      <a:pt x="17096" y="14227"/>
                    </a:lnTo>
                    <a:lnTo>
                      <a:pt x="17096" y="14137"/>
                    </a:lnTo>
                    <a:lnTo>
                      <a:pt x="17096" y="14227"/>
                    </a:lnTo>
                    <a:lnTo>
                      <a:pt x="16899" y="14227"/>
                    </a:lnTo>
                    <a:lnTo>
                      <a:pt x="16899" y="14137"/>
                    </a:lnTo>
                    <a:lnTo>
                      <a:pt x="16142" y="14137"/>
                    </a:lnTo>
                    <a:lnTo>
                      <a:pt x="15386" y="15159"/>
                    </a:lnTo>
                    <a:lnTo>
                      <a:pt x="15386" y="15249"/>
                    </a:lnTo>
                    <a:lnTo>
                      <a:pt x="15584" y="15249"/>
                    </a:lnTo>
                    <a:lnTo>
                      <a:pt x="15584" y="15159"/>
                    </a:lnTo>
                    <a:lnTo>
                      <a:pt x="15584" y="15249"/>
                    </a:lnTo>
                    <a:lnTo>
                      <a:pt x="15781" y="15249"/>
                    </a:lnTo>
                    <a:lnTo>
                      <a:pt x="15584" y="15249"/>
                    </a:lnTo>
                    <a:lnTo>
                      <a:pt x="15584" y="15464"/>
                    </a:lnTo>
                    <a:lnTo>
                      <a:pt x="15978" y="15464"/>
                    </a:lnTo>
                    <a:lnTo>
                      <a:pt x="15978" y="15769"/>
                    </a:lnTo>
                    <a:lnTo>
                      <a:pt x="16142" y="15769"/>
                    </a:lnTo>
                    <a:lnTo>
                      <a:pt x="16142" y="15967"/>
                    </a:lnTo>
                    <a:lnTo>
                      <a:pt x="15781" y="15967"/>
                    </a:lnTo>
                    <a:lnTo>
                      <a:pt x="15781" y="16182"/>
                    </a:lnTo>
                    <a:lnTo>
                      <a:pt x="15584" y="16182"/>
                    </a:lnTo>
                    <a:lnTo>
                      <a:pt x="15584" y="16379"/>
                    </a:lnTo>
                    <a:lnTo>
                      <a:pt x="15386" y="16379"/>
                    </a:lnTo>
                    <a:lnTo>
                      <a:pt x="15386" y="16272"/>
                    </a:lnTo>
                    <a:lnTo>
                      <a:pt x="15222" y="16272"/>
                    </a:lnTo>
                    <a:lnTo>
                      <a:pt x="15025" y="16379"/>
                    </a:lnTo>
                    <a:lnTo>
                      <a:pt x="15025" y="16595"/>
                    </a:lnTo>
                    <a:lnTo>
                      <a:pt x="14827" y="16595"/>
                    </a:lnTo>
                    <a:lnTo>
                      <a:pt x="14827" y="16792"/>
                    </a:lnTo>
                    <a:lnTo>
                      <a:pt x="14663" y="16792"/>
                    </a:lnTo>
                    <a:lnTo>
                      <a:pt x="14827" y="16792"/>
                    </a:lnTo>
                    <a:lnTo>
                      <a:pt x="14663" y="16900"/>
                    </a:lnTo>
                    <a:lnTo>
                      <a:pt x="14827" y="16900"/>
                    </a:lnTo>
                    <a:lnTo>
                      <a:pt x="14827" y="17205"/>
                    </a:lnTo>
                    <a:lnTo>
                      <a:pt x="15025" y="17205"/>
                    </a:lnTo>
                    <a:lnTo>
                      <a:pt x="15025" y="17312"/>
                    </a:lnTo>
                    <a:lnTo>
                      <a:pt x="14663" y="17312"/>
                    </a:lnTo>
                    <a:lnTo>
                      <a:pt x="14663" y="17402"/>
                    </a:lnTo>
                    <a:lnTo>
                      <a:pt x="14663" y="17312"/>
                    </a:lnTo>
                    <a:lnTo>
                      <a:pt x="14663" y="17617"/>
                    </a:lnTo>
                    <a:lnTo>
                      <a:pt x="14466" y="17617"/>
                    </a:lnTo>
                    <a:lnTo>
                      <a:pt x="14466" y="17707"/>
                    </a:lnTo>
                    <a:lnTo>
                      <a:pt x="14663" y="17707"/>
                    </a:lnTo>
                    <a:lnTo>
                      <a:pt x="14663" y="18030"/>
                    </a:lnTo>
                    <a:lnTo>
                      <a:pt x="14466" y="18030"/>
                    </a:lnTo>
                    <a:lnTo>
                      <a:pt x="14466" y="18335"/>
                    </a:lnTo>
                    <a:lnTo>
                      <a:pt x="14268" y="18227"/>
                    </a:lnTo>
                    <a:lnTo>
                      <a:pt x="13907" y="18227"/>
                    </a:lnTo>
                    <a:lnTo>
                      <a:pt x="13907" y="18335"/>
                    </a:lnTo>
                    <a:lnTo>
                      <a:pt x="13710" y="18335"/>
                    </a:lnTo>
                    <a:lnTo>
                      <a:pt x="13710" y="18425"/>
                    </a:lnTo>
                    <a:lnTo>
                      <a:pt x="13315" y="18425"/>
                    </a:lnTo>
                    <a:lnTo>
                      <a:pt x="13315" y="18640"/>
                    </a:lnTo>
                    <a:lnTo>
                      <a:pt x="13512" y="18640"/>
                    </a:lnTo>
                    <a:lnTo>
                      <a:pt x="13512" y="18730"/>
                    </a:lnTo>
                    <a:lnTo>
                      <a:pt x="13710" y="18730"/>
                    </a:lnTo>
                    <a:lnTo>
                      <a:pt x="13710" y="18837"/>
                    </a:lnTo>
                    <a:lnTo>
                      <a:pt x="13907" y="18837"/>
                    </a:lnTo>
                    <a:lnTo>
                      <a:pt x="13907" y="18945"/>
                    </a:lnTo>
                    <a:lnTo>
                      <a:pt x="14071" y="19052"/>
                    </a:lnTo>
                    <a:lnTo>
                      <a:pt x="14268" y="19142"/>
                    </a:lnTo>
                    <a:lnTo>
                      <a:pt x="14268" y="19250"/>
                    </a:lnTo>
                    <a:lnTo>
                      <a:pt x="14466" y="19250"/>
                    </a:lnTo>
                    <a:lnTo>
                      <a:pt x="14466" y="19357"/>
                    </a:lnTo>
                    <a:lnTo>
                      <a:pt x="14663" y="19357"/>
                    </a:lnTo>
                    <a:lnTo>
                      <a:pt x="14663" y="19447"/>
                    </a:lnTo>
                    <a:lnTo>
                      <a:pt x="14466" y="19447"/>
                    </a:lnTo>
                    <a:lnTo>
                      <a:pt x="14466" y="19555"/>
                    </a:lnTo>
                    <a:lnTo>
                      <a:pt x="14466" y="19447"/>
                    </a:lnTo>
                    <a:lnTo>
                      <a:pt x="14466" y="19555"/>
                    </a:lnTo>
                    <a:lnTo>
                      <a:pt x="14268" y="19555"/>
                    </a:lnTo>
                    <a:lnTo>
                      <a:pt x="14268" y="19447"/>
                    </a:lnTo>
                    <a:lnTo>
                      <a:pt x="14071" y="19447"/>
                    </a:lnTo>
                    <a:lnTo>
                      <a:pt x="14071" y="19555"/>
                    </a:lnTo>
                    <a:lnTo>
                      <a:pt x="13315" y="19555"/>
                    </a:lnTo>
                    <a:lnTo>
                      <a:pt x="13315" y="19662"/>
                    </a:lnTo>
                    <a:lnTo>
                      <a:pt x="12953" y="19662"/>
                    </a:lnTo>
                    <a:lnTo>
                      <a:pt x="12953" y="19770"/>
                    </a:lnTo>
                    <a:lnTo>
                      <a:pt x="12953" y="19662"/>
                    </a:lnTo>
                    <a:lnTo>
                      <a:pt x="12756" y="19662"/>
                    </a:lnTo>
                    <a:lnTo>
                      <a:pt x="12756" y="19555"/>
                    </a:lnTo>
                    <a:lnTo>
                      <a:pt x="12756" y="19662"/>
                    </a:lnTo>
                    <a:lnTo>
                      <a:pt x="12197" y="19662"/>
                    </a:lnTo>
                    <a:lnTo>
                      <a:pt x="12197" y="19770"/>
                    </a:lnTo>
                    <a:lnTo>
                      <a:pt x="12000" y="19770"/>
                    </a:lnTo>
                    <a:lnTo>
                      <a:pt x="11836" y="19860"/>
                    </a:lnTo>
                    <a:lnTo>
                      <a:pt x="12000" y="19860"/>
                    </a:lnTo>
                    <a:lnTo>
                      <a:pt x="12000" y="20075"/>
                    </a:lnTo>
                    <a:lnTo>
                      <a:pt x="11836" y="20075"/>
                    </a:lnTo>
                    <a:lnTo>
                      <a:pt x="12000" y="20075"/>
                    </a:lnTo>
                    <a:lnTo>
                      <a:pt x="12000" y="20165"/>
                    </a:lnTo>
                    <a:lnTo>
                      <a:pt x="11836" y="20165"/>
                    </a:lnTo>
                    <a:lnTo>
                      <a:pt x="11836" y="20272"/>
                    </a:lnTo>
                    <a:lnTo>
                      <a:pt x="11441" y="20272"/>
                    </a:lnTo>
                    <a:lnTo>
                      <a:pt x="11441" y="20380"/>
                    </a:lnTo>
                    <a:lnTo>
                      <a:pt x="11277" y="20380"/>
                    </a:lnTo>
                    <a:lnTo>
                      <a:pt x="11277" y="20577"/>
                    </a:lnTo>
                    <a:lnTo>
                      <a:pt x="11079" y="20577"/>
                    </a:lnTo>
                    <a:lnTo>
                      <a:pt x="11079" y="20685"/>
                    </a:lnTo>
                    <a:lnTo>
                      <a:pt x="10882" y="20793"/>
                    </a:lnTo>
                    <a:lnTo>
                      <a:pt x="10685" y="20882"/>
                    </a:lnTo>
                    <a:lnTo>
                      <a:pt x="10882" y="20882"/>
                    </a:lnTo>
                    <a:lnTo>
                      <a:pt x="10685" y="20882"/>
                    </a:lnTo>
                    <a:lnTo>
                      <a:pt x="10685" y="21098"/>
                    </a:lnTo>
                    <a:lnTo>
                      <a:pt x="10521" y="21205"/>
                    </a:lnTo>
                    <a:lnTo>
                      <a:pt x="10126" y="21205"/>
                    </a:lnTo>
                    <a:lnTo>
                      <a:pt x="10126" y="21295"/>
                    </a:lnTo>
                    <a:lnTo>
                      <a:pt x="9962" y="21295"/>
                    </a:lnTo>
                    <a:lnTo>
                      <a:pt x="9962" y="21403"/>
                    </a:lnTo>
                    <a:lnTo>
                      <a:pt x="9764" y="21510"/>
                    </a:lnTo>
                    <a:lnTo>
                      <a:pt x="9567" y="21510"/>
                    </a:lnTo>
                    <a:lnTo>
                      <a:pt x="9567" y="21600"/>
                    </a:lnTo>
                    <a:lnTo>
                      <a:pt x="9567" y="21510"/>
                    </a:lnTo>
                    <a:lnTo>
                      <a:pt x="9205" y="21510"/>
                    </a:lnTo>
                    <a:lnTo>
                      <a:pt x="9205" y="21600"/>
                    </a:lnTo>
                    <a:lnTo>
                      <a:pt x="8252" y="21600"/>
                    </a:lnTo>
                    <a:lnTo>
                      <a:pt x="8252" y="21510"/>
                    </a:lnTo>
                    <a:lnTo>
                      <a:pt x="7693" y="21510"/>
                    </a:lnTo>
                    <a:lnTo>
                      <a:pt x="7693" y="21403"/>
                    </a:lnTo>
                    <a:lnTo>
                      <a:pt x="7332" y="21403"/>
                    </a:lnTo>
                    <a:lnTo>
                      <a:pt x="7332" y="21510"/>
                    </a:lnTo>
                    <a:lnTo>
                      <a:pt x="7332" y="21403"/>
                    </a:lnTo>
                    <a:lnTo>
                      <a:pt x="6740" y="21403"/>
                    </a:lnTo>
                    <a:lnTo>
                      <a:pt x="6740" y="21295"/>
                    </a:lnTo>
                    <a:lnTo>
                      <a:pt x="6575" y="21295"/>
                    </a:lnTo>
                    <a:lnTo>
                      <a:pt x="6575" y="21205"/>
                    </a:lnTo>
                    <a:lnTo>
                      <a:pt x="6378" y="21205"/>
                    </a:lnTo>
                    <a:lnTo>
                      <a:pt x="6378" y="20882"/>
                    </a:lnTo>
                    <a:lnTo>
                      <a:pt x="6575" y="20882"/>
                    </a:lnTo>
                    <a:lnTo>
                      <a:pt x="6575" y="20793"/>
                    </a:lnTo>
                    <a:lnTo>
                      <a:pt x="6740" y="20685"/>
                    </a:lnTo>
                    <a:lnTo>
                      <a:pt x="6740" y="20577"/>
                    </a:lnTo>
                    <a:lnTo>
                      <a:pt x="7332" y="20577"/>
                    </a:lnTo>
                    <a:lnTo>
                      <a:pt x="7693" y="20488"/>
                    </a:lnTo>
                    <a:lnTo>
                      <a:pt x="7496" y="20488"/>
                    </a:lnTo>
                    <a:lnTo>
                      <a:pt x="7496" y="20272"/>
                    </a:lnTo>
                    <a:lnTo>
                      <a:pt x="7693" y="20272"/>
                    </a:lnTo>
                    <a:lnTo>
                      <a:pt x="7693" y="20165"/>
                    </a:lnTo>
                    <a:lnTo>
                      <a:pt x="7890" y="20075"/>
                    </a:lnTo>
                    <a:lnTo>
                      <a:pt x="7693" y="20075"/>
                    </a:lnTo>
                    <a:lnTo>
                      <a:pt x="7693" y="19967"/>
                    </a:lnTo>
                    <a:lnTo>
                      <a:pt x="8055" y="19967"/>
                    </a:lnTo>
                    <a:lnTo>
                      <a:pt x="8055" y="19860"/>
                    </a:lnTo>
                    <a:lnTo>
                      <a:pt x="8252" y="19860"/>
                    </a:lnTo>
                    <a:lnTo>
                      <a:pt x="8252" y="19662"/>
                    </a:lnTo>
                    <a:lnTo>
                      <a:pt x="8449" y="19662"/>
                    </a:lnTo>
                    <a:lnTo>
                      <a:pt x="8449" y="19555"/>
                    </a:lnTo>
                    <a:lnTo>
                      <a:pt x="8252" y="19555"/>
                    </a:lnTo>
                    <a:lnTo>
                      <a:pt x="7890" y="19357"/>
                    </a:lnTo>
                    <a:lnTo>
                      <a:pt x="7890" y="19250"/>
                    </a:lnTo>
                    <a:lnTo>
                      <a:pt x="7693" y="19142"/>
                    </a:lnTo>
                    <a:lnTo>
                      <a:pt x="7693" y="19052"/>
                    </a:lnTo>
                    <a:lnTo>
                      <a:pt x="7890" y="18945"/>
                    </a:lnTo>
                    <a:lnTo>
                      <a:pt x="7890" y="18640"/>
                    </a:lnTo>
                    <a:lnTo>
                      <a:pt x="7693" y="18532"/>
                    </a:lnTo>
                    <a:lnTo>
                      <a:pt x="7693" y="18425"/>
                    </a:lnTo>
                    <a:lnTo>
                      <a:pt x="7496" y="18335"/>
                    </a:lnTo>
                    <a:lnTo>
                      <a:pt x="7496" y="18120"/>
                    </a:lnTo>
                    <a:lnTo>
                      <a:pt x="7332" y="18120"/>
                    </a:lnTo>
                    <a:lnTo>
                      <a:pt x="7134" y="18030"/>
                    </a:lnTo>
                    <a:lnTo>
                      <a:pt x="7134" y="17815"/>
                    </a:lnTo>
                    <a:lnTo>
                      <a:pt x="6937" y="17815"/>
                    </a:lnTo>
                    <a:lnTo>
                      <a:pt x="6937" y="17707"/>
                    </a:lnTo>
                    <a:lnTo>
                      <a:pt x="6575" y="17707"/>
                    </a:lnTo>
                    <a:lnTo>
                      <a:pt x="6740" y="17617"/>
                    </a:lnTo>
                    <a:lnTo>
                      <a:pt x="6575" y="17510"/>
                    </a:lnTo>
                    <a:lnTo>
                      <a:pt x="6378" y="17510"/>
                    </a:lnTo>
                    <a:lnTo>
                      <a:pt x="6181" y="17402"/>
                    </a:lnTo>
                    <a:lnTo>
                      <a:pt x="6181" y="17510"/>
                    </a:lnTo>
                    <a:lnTo>
                      <a:pt x="6016" y="17402"/>
                    </a:lnTo>
                    <a:lnTo>
                      <a:pt x="6016" y="17510"/>
                    </a:lnTo>
                    <a:lnTo>
                      <a:pt x="5622" y="17510"/>
                    </a:lnTo>
                    <a:lnTo>
                      <a:pt x="5622" y="17617"/>
                    </a:lnTo>
                    <a:lnTo>
                      <a:pt x="5622" y="17510"/>
                    </a:lnTo>
                    <a:lnTo>
                      <a:pt x="5260" y="17510"/>
                    </a:lnTo>
                    <a:lnTo>
                      <a:pt x="5260" y="17617"/>
                    </a:lnTo>
                    <a:lnTo>
                      <a:pt x="5260" y="17510"/>
                    </a:lnTo>
                    <a:lnTo>
                      <a:pt x="5063" y="17510"/>
                    </a:lnTo>
                    <a:lnTo>
                      <a:pt x="5063" y="17402"/>
                    </a:lnTo>
                    <a:lnTo>
                      <a:pt x="4866" y="17402"/>
                    </a:lnTo>
                    <a:lnTo>
                      <a:pt x="4701" y="17312"/>
                    </a:lnTo>
                    <a:lnTo>
                      <a:pt x="4866" y="17205"/>
                    </a:lnTo>
                    <a:lnTo>
                      <a:pt x="4701" y="17205"/>
                    </a:lnTo>
                    <a:lnTo>
                      <a:pt x="4701" y="17097"/>
                    </a:lnTo>
                    <a:lnTo>
                      <a:pt x="4504" y="17097"/>
                    </a:lnTo>
                    <a:lnTo>
                      <a:pt x="4504" y="16989"/>
                    </a:lnTo>
                    <a:lnTo>
                      <a:pt x="4307" y="16989"/>
                    </a:lnTo>
                    <a:lnTo>
                      <a:pt x="4307" y="16900"/>
                    </a:lnTo>
                    <a:lnTo>
                      <a:pt x="4504" y="16900"/>
                    </a:lnTo>
                    <a:lnTo>
                      <a:pt x="4504" y="16792"/>
                    </a:lnTo>
                    <a:lnTo>
                      <a:pt x="4701" y="16792"/>
                    </a:lnTo>
                    <a:lnTo>
                      <a:pt x="4701" y="16684"/>
                    </a:lnTo>
                    <a:lnTo>
                      <a:pt x="5063" y="16684"/>
                    </a:lnTo>
                    <a:lnTo>
                      <a:pt x="5063" y="16595"/>
                    </a:lnTo>
                    <a:lnTo>
                      <a:pt x="5425" y="16595"/>
                    </a:lnTo>
                    <a:lnTo>
                      <a:pt x="5425" y="16487"/>
                    </a:lnTo>
                    <a:lnTo>
                      <a:pt x="5260" y="16487"/>
                    </a:lnTo>
                    <a:lnTo>
                      <a:pt x="5260" y="16272"/>
                    </a:lnTo>
                    <a:lnTo>
                      <a:pt x="5063" y="16272"/>
                    </a:lnTo>
                    <a:lnTo>
                      <a:pt x="5260" y="16272"/>
                    </a:lnTo>
                    <a:lnTo>
                      <a:pt x="5063" y="16182"/>
                    </a:lnTo>
                    <a:lnTo>
                      <a:pt x="5063" y="16074"/>
                    </a:lnTo>
                    <a:lnTo>
                      <a:pt x="4866" y="16074"/>
                    </a:lnTo>
                    <a:lnTo>
                      <a:pt x="5063" y="15967"/>
                    </a:lnTo>
                    <a:lnTo>
                      <a:pt x="4866" y="15967"/>
                    </a:lnTo>
                    <a:lnTo>
                      <a:pt x="4866" y="15877"/>
                    </a:lnTo>
                    <a:lnTo>
                      <a:pt x="4504" y="15877"/>
                    </a:lnTo>
                    <a:lnTo>
                      <a:pt x="4504" y="15662"/>
                    </a:lnTo>
                    <a:lnTo>
                      <a:pt x="4307" y="15662"/>
                    </a:lnTo>
                    <a:lnTo>
                      <a:pt x="4307" y="15572"/>
                    </a:lnTo>
                    <a:lnTo>
                      <a:pt x="4504" y="15572"/>
                    </a:lnTo>
                    <a:lnTo>
                      <a:pt x="4504" y="15464"/>
                    </a:lnTo>
                    <a:lnTo>
                      <a:pt x="4701" y="15464"/>
                    </a:lnTo>
                    <a:lnTo>
                      <a:pt x="4701" y="15357"/>
                    </a:lnTo>
                    <a:lnTo>
                      <a:pt x="4504" y="15357"/>
                    </a:lnTo>
                    <a:lnTo>
                      <a:pt x="4504" y="1524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44" name="Shape 2969"/>
              <p:cNvSpPr/>
              <p:nvPr/>
            </p:nvSpPr>
            <p:spPr>
              <a:xfrm>
                <a:off x="9498565" y="3134337"/>
                <a:ext cx="1288283" cy="12045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663" y="8003"/>
                    </a:moveTo>
                    <a:lnTo>
                      <a:pt x="19808" y="8003"/>
                    </a:lnTo>
                    <a:lnTo>
                      <a:pt x="19808" y="8132"/>
                    </a:lnTo>
                    <a:lnTo>
                      <a:pt x="19953" y="8132"/>
                    </a:lnTo>
                    <a:lnTo>
                      <a:pt x="19808" y="8132"/>
                    </a:lnTo>
                    <a:lnTo>
                      <a:pt x="19808" y="8288"/>
                    </a:lnTo>
                    <a:lnTo>
                      <a:pt x="19663" y="8288"/>
                    </a:lnTo>
                    <a:lnTo>
                      <a:pt x="19663" y="8599"/>
                    </a:lnTo>
                    <a:lnTo>
                      <a:pt x="19517" y="8599"/>
                    </a:lnTo>
                    <a:lnTo>
                      <a:pt x="19517" y="8728"/>
                    </a:lnTo>
                    <a:lnTo>
                      <a:pt x="19396" y="8728"/>
                    </a:lnTo>
                    <a:lnTo>
                      <a:pt x="19517" y="8883"/>
                    </a:lnTo>
                    <a:lnTo>
                      <a:pt x="19663" y="8883"/>
                    </a:lnTo>
                    <a:lnTo>
                      <a:pt x="19663" y="9039"/>
                    </a:lnTo>
                    <a:lnTo>
                      <a:pt x="19517" y="9039"/>
                    </a:lnTo>
                    <a:lnTo>
                      <a:pt x="19517" y="9168"/>
                    </a:lnTo>
                    <a:lnTo>
                      <a:pt x="19808" y="9168"/>
                    </a:lnTo>
                    <a:lnTo>
                      <a:pt x="19808" y="9635"/>
                    </a:lnTo>
                    <a:lnTo>
                      <a:pt x="19953" y="9635"/>
                    </a:lnTo>
                    <a:lnTo>
                      <a:pt x="19808" y="9635"/>
                    </a:lnTo>
                    <a:lnTo>
                      <a:pt x="19808" y="10075"/>
                    </a:lnTo>
                    <a:lnTo>
                      <a:pt x="19953" y="10075"/>
                    </a:lnTo>
                    <a:lnTo>
                      <a:pt x="19953" y="10204"/>
                    </a:lnTo>
                    <a:lnTo>
                      <a:pt x="20074" y="10204"/>
                    </a:lnTo>
                    <a:lnTo>
                      <a:pt x="19953" y="10204"/>
                    </a:lnTo>
                    <a:lnTo>
                      <a:pt x="19953" y="10360"/>
                    </a:lnTo>
                    <a:lnTo>
                      <a:pt x="20365" y="10360"/>
                    </a:lnTo>
                    <a:lnTo>
                      <a:pt x="20365" y="10515"/>
                    </a:lnTo>
                    <a:lnTo>
                      <a:pt x="20220" y="10515"/>
                    </a:lnTo>
                    <a:lnTo>
                      <a:pt x="20220" y="10800"/>
                    </a:lnTo>
                    <a:lnTo>
                      <a:pt x="20631" y="10800"/>
                    </a:lnTo>
                    <a:lnTo>
                      <a:pt x="20631" y="11111"/>
                    </a:lnTo>
                    <a:lnTo>
                      <a:pt x="20922" y="11111"/>
                    </a:lnTo>
                    <a:lnTo>
                      <a:pt x="21043" y="12587"/>
                    </a:lnTo>
                    <a:lnTo>
                      <a:pt x="21334" y="12587"/>
                    </a:lnTo>
                    <a:lnTo>
                      <a:pt x="21334" y="12717"/>
                    </a:lnTo>
                    <a:lnTo>
                      <a:pt x="21600" y="12717"/>
                    </a:lnTo>
                    <a:lnTo>
                      <a:pt x="21600" y="12872"/>
                    </a:lnTo>
                    <a:lnTo>
                      <a:pt x="21455" y="12872"/>
                    </a:lnTo>
                    <a:lnTo>
                      <a:pt x="21455" y="13027"/>
                    </a:lnTo>
                    <a:lnTo>
                      <a:pt x="21600" y="13027"/>
                    </a:lnTo>
                    <a:lnTo>
                      <a:pt x="21600" y="13183"/>
                    </a:lnTo>
                    <a:lnTo>
                      <a:pt x="21455" y="13183"/>
                    </a:lnTo>
                    <a:lnTo>
                      <a:pt x="21455" y="13312"/>
                    </a:lnTo>
                    <a:lnTo>
                      <a:pt x="21334" y="13312"/>
                    </a:lnTo>
                    <a:lnTo>
                      <a:pt x="21334" y="13183"/>
                    </a:lnTo>
                    <a:lnTo>
                      <a:pt x="21334" y="13312"/>
                    </a:lnTo>
                    <a:lnTo>
                      <a:pt x="21188" y="13312"/>
                    </a:lnTo>
                    <a:lnTo>
                      <a:pt x="21188" y="13468"/>
                    </a:lnTo>
                    <a:lnTo>
                      <a:pt x="21043" y="13468"/>
                    </a:lnTo>
                    <a:lnTo>
                      <a:pt x="21043" y="13623"/>
                    </a:lnTo>
                    <a:lnTo>
                      <a:pt x="20922" y="13623"/>
                    </a:lnTo>
                    <a:lnTo>
                      <a:pt x="20922" y="13753"/>
                    </a:lnTo>
                    <a:lnTo>
                      <a:pt x="20777" y="13753"/>
                    </a:lnTo>
                    <a:lnTo>
                      <a:pt x="20631" y="13908"/>
                    </a:lnTo>
                    <a:lnTo>
                      <a:pt x="20486" y="13908"/>
                    </a:lnTo>
                    <a:lnTo>
                      <a:pt x="20486" y="14063"/>
                    </a:lnTo>
                    <a:lnTo>
                      <a:pt x="20365" y="14063"/>
                    </a:lnTo>
                    <a:lnTo>
                      <a:pt x="20486" y="14063"/>
                    </a:lnTo>
                    <a:lnTo>
                      <a:pt x="20365" y="14063"/>
                    </a:lnTo>
                    <a:lnTo>
                      <a:pt x="20365" y="14219"/>
                    </a:lnTo>
                    <a:lnTo>
                      <a:pt x="20220" y="14219"/>
                    </a:lnTo>
                    <a:lnTo>
                      <a:pt x="20220" y="14659"/>
                    </a:lnTo>
                    <a:lnTo>
                      <a:pt x="20365" y="14659"/>
                    </a:lnTo>
                    <a:lnTo>
                      <a:pt x="20365" y="14788"/>
                    </a:lnTo>
                    <a:lnTo>
                      <a:pt x="20074" y="14788"/>
                    </a:lnTo>
                    <a:lnTo>
                      <a:pt x="20074" y="14944"/>
                    </a:lnTo>
                    <a:lnTo>
                      <a:pt x="19953" y="14944"/>
                    </a:lnTo>
                    <a:lnTo>
                      <a:pt x="19953" y="15255"/>
                    </a:lnTo>
                    <a:lnTo>
                      <a:pt x="19808" y="15255"/>
                    </a:lnTo>
                    <a:lnTo>
                      <a:pt x="19808" y="15384"/>
                    </a:lnTo>
                    <a:lnTo>
                      <a:pt x="19953" y="15384"/>
                    </a:lnTo>
                    <a:lnTo>
                      <a:pt x="19953" y="15540"/>
                    </a:lnTo>
                    <a:lnTo>
                      <a:pt x="20074" y="15540"/>
                    </a:lnTo>
                    <a:lnTo>
                      <a:pt x="20074" y="15695"/>
                    </a:lnTo>
                    <a:lnTo>
                      <a:pt x="19953" y="15695"/>
                    </a:lnTo>
                    <a:lnTo>
                      <a:pt x="19953" y="16135"/>
                    </a:lnTo>
                    <a:lnTo>
                      <a:pt x="19663" y="16135"/>
                    </a:lnTo>
                    <a:lnTo>
                      <a:pt x="19663" y="15980"/>
                    </a:lnTo>
                    <a:lnTo>
                      <a:pt x="19517" y="15980"/>
                    </a:lnTo>
                    <a:lnTo>
                      <a:pt x="19517" y="16135"/>
                    </a:lnTo>
                    <a:lnTo>
                      <a:pt x="19106" y="16135"/>
                    </a:lnTo>
                    <a:lnTo>
                      <a:pt x="19106" y="16420"/>
                    </a:lnTo>
                    <a:lnTo>
                      <a:pt x="18985" y="16420"/>
                    </a:lnTo>
                    <a:lnTo>
                      <a:pt x="18839" y="16576"/>
                    </a:lnTo>
                    <a:lnTo>
                      <a:pt x="18694" y="16576"/>
                    </a:lnTo>
                    <a:lnTo>
                      <a:pt x="18694" y="16731"/>
                    </a:lnTo>
                    <a:lnTo>
                      <a:pt x="18549" y="16731"/>
                    </a:lnTo>
                    <a:lnTo>
                      <a:pt x="18549" y="16860"/>
                    </a:lnTo>
                    <a:lnTo>
                      <a:pt x="17871" y="16860"/>
                    </a:lnTo>
                    <a:lnTo>
                      <a:pt x="17871" y="17016"/>
                    </a:lnTo>
                    <a:lnTo>
                      <a:pt x="17726" y="17016"/>
                    </a:lnTo>
                    <a:lnTo>
                      <a:pt x="17726" y="17301"/>
                    </a:lnTo>
                    <a:lnTo>
                      <a:pt x="17459" y="17301"/>
                    </a:lnTo>
                    <a:lnTo>
                      <a:pt x="17459" y="17456"/>
                    </a:lnTo>
                    <a:lnTo>
                      <a:pt x="17459" y="17301"/>
                    </a:lnTo>
                    <a:lnTo>
                      <a:pt x="17314" y="17301"/>
                    </a:lnTo>
                    <a:lnTo>
                      <a:pt x="17459" y="17301"/>
                    </a:lnTo>
                    <a:lnTo>
                      <a:pt x="17314" y="17171"/>
                    </a:lnTo>
                    <a:lnTo>
                      <a:pt x="16902" y="17171"/>
                    </a:lnTo>
                    <a:lnTo>
                      <a:pt x="16757" y="17301"/>
                    </a:lnTo>
                    <a:lnTo>
                      <a:pt x="16757" y="17456"/>
                    </a:lnTo>
                    <a:lnTo>
                      <a:pt x="16612" y="17456"/>
                    </a:lnTo>
                    <a:lnTo>
                      <a:pt x="16491" y="17612"/>
                    </a:lnTo>
                    <a:lnTo>
                      <a:pt x="16345" y="17612"/>
                    </a:lnTo>
                    <a:lnTo>
                      <a:pt x="16345" y="17456"/>
                    </a:lnTo>
                    <a:lnTo>
                      <a:pt x="16200" y="17456"/>
                    </a:lnTo>
                    <a:lnTo>
                      <a:pt x="16200" y="17301"/>
                    </a:lnTo>
                    <a:lnTo>
                      <a:pt x="16200" y="17456"/>
                    </a:lnTo>
                    <a:lnTo>
                      <a:pt x="15934" y="17456"/>
                    </a:lnTo>
                    <a:lnTo>
                      <a:pt x="15934" y="17612"/>
                    </a:lnTo>
                    <a:lnTo>
                      <a:pt x="15788" y="17612"/>
                    </a:lnTo>
                    <a:lnTo>
                      <a:pt x="15643" y="17456"/>
                    </a:lnTo>
                    <a:lnTo>
                      <a:pt x="15377" y="17456"/>
                    </a:lnTo>
                    <a:lnTo>
                      <a:pt x="15377" y="17171"/>
                    </a:lnTo>
                    <a:lnTo>
                      <a:pt x="15110" y="17171"/>
                    </a:lnTo>
                    <a:lnTo>
                      <a:pt x="15110" y="17016"/>
                    </a:lnTo>
                    <a:lnTo>
                      <a:pt x="14965" y="17016"/>
                    </a:lnTo>
                    <a:lnTo>
                      <a:pt x="14965" y="17171"/>
                    </a:lnTo>
                    <a:lnTo>
                      <a:pt x="14553" y="17171"/>
                    </a:lnTo>
                    <a:lnTo>
                      <a:pt x="14553" y="17016"/>
                    </a:lnTo>
                    <a:lnTo>
                      <a:pt x="14553" y="17171"/>
                    </a:lnTo>
                    <a:lnTo>
                      <a:pt x="14553" y="17016"/>
                    </a:lnTo>
                    <a:lnTo>
                      <a:pt x="14408" y="17016"/>
                    </a:lnTo>
                    <a:lnTo>
                      <a:pt x="14408" y="17171"/>
                    </a:lnTo>
                    <a:lnTo>
                      <a:pt x="14263" y="17171"/>
                    </a:lnTo>
                    <a:lnTo>
                      <a:pt x="14263" y="17301"/>
                    </a:lnTo>
                    <a:lnTo>
                      <a:pt x="14263" y="17171"/>
                    </a:lnTo>
                    <a:lnTo>
                      <a:pt x="14142" y="17171"/>
                    </a:lnTo>
                    <a:lnTo>
                      <a:pt x="14142" y="16731"/>
                    </a:lnTo>
                    <a:lnTo>
                      <a:pt x="13851" y="16731"/>
                    </a:lnTo>
                    <a:lnTo>
                      <a:pt x="13851" y="16576"/>
                    </a:lnTo>
                    <a:lnTo>
                      <a:pt x="13439" y="16576"/>
                    </a:lnTo>
                    <a:lnTo>
                      <a:pt x="13439" y="17016"/>
                    </a:lnTo>
                    <a:lnTo>
                      <a:pt x="13294" y="17016"/>
                    </a:lnTo>
                    <a:lnTo>
                      <a:pt x="13294" y="16860"/>
                    </a:lnTo>
                    <a:lnTo>
                      <a:pt x="13028" y="16860"/>
                    </a:lnTo>
                    <a:lnTo>
                      <a:pt x="13028" y="17016"/>
                    </a:lnTo>
                    <a:lnTo>
                      <a:pt x="12883" y="17016"/>
                    </a:lnTo>
                    <a:lnTo>
                      <a:pt x="12883" y="16860"/>
                    </a:lnTo>
                    <a:lnTo>
                      <a:pt x="12471" y="16860"/>
                    </a:lnTo>
                    <a:lnTo>
                      <a:pt x="12471" y="17171"/>
                    </a:lnTo>
                    <a:lnTo>
                      <a:pt x="12326" y="17171"/>
                    </a:lnTo>
                    <a:lnTo>
                      <a:pt x="12326" y="17016"/>
                    </a:lnTo>
                    <a:lnTo>
                      <a:pt x="12204" y="17016"/>
                    </a:lnTo>
                    <a:lnTo>
                      <a:pt x="12204" y="17171"/>
                    </a:lnTo>
                    <a:lnTo>
                      <a:pt x="12059" y="17171"/>
                    </a:lnTo>
                    <a:lnTo>
                      <a:pt x="12059" y="17301"/>
                    </a:lnTo>
                    <a:lnTo>
                      <a:pt x="11648" y="17301"/>
                    </a:lnTo>
                    <a:lnTo>
                      <a:pt x="11648" y="17612"/>
                    </a:lnTo>
                    <a:lnTo>
                      <a:pt x="11357" y="17612"/>
                    </a:lnTo>
                    <a:lnTo>
                      <a:pt x="11357" y="17767"/>
                    </a:lnTo>
                    <a:lnTo>
                      <a:pt x="11091" y="17767"/>
                    </a:lnTo>
                    <a:lnTo>
                      <a:pt x="11091" y="17896"/>
                    </a:lnTo>
                    <a:lnTo>
                      <a:pt x="10800" y="17896"/>
                    </a:lnTo>
                    <a:lnTo>
                      <a:pt x="10800" y="18052"/>
                    </a:lnTo>
                    <a:lnTo>
                      <a:pt x="10679" y="18052"/>
                    </a:lnTo>
                    <a:lnTo>
                      <a:pt x="10679" y="18207"/>
                    </a:lnTo>
                    <a:lnTo>
                      <a:pt x="10534" y="18207"/>
                    </a:lnTo>
                    <a:lnTo>
                      <a:pt x="10534" y="18337"/>
                    </a:lnTo>
                    <a:lnTo>
                      <a:pt x="10388" y="18337"/>
                    </a:lnTo>
                    <a:lnTo>
                      <a:pt x="10534" y="18337"/>
                    </a:lnTo>
                    <a:lnTo>
                      <a:pt x="10534" y="18647"/>
                    </a:lnTo>
                    <a:lnTo>
                      <a:pt x="10388" y="18647"/>
                    </a:lnTo>
                    <a:lnTo>
                      <a:pt x="10388" y="18803"/>
                    </a:lnTo>
                    <a:lnTo>
                      <a:pt x="10243" y="18803"/>
                    </a:lnTo>
                    <a:lnTo>
                      <a:pt x="10243" y="18932"/>
                    </a:lnTo>
                    <a:lnTo>
                      <a:pt x="10122" y="18932"/>
                    </a:lnTo>
                    <a:lnTo>
                      <a:pt x="10122" y="19243"/>
                    </a:lnTo>
                    <a:lnTo>
                      <a:pt x="9977" y="19373"/>
                    </a:lnTo>
                    <a:lnTo>
                      <a:pt x="10122" y="19373"/>
                    </a:lnTo>
                    <a:lnTo>
                      <a:pt x="10122" y="19528"/>
                    </a:lnTo>
                    <a:lnTo>
                      <a:pt x="9977" y="19683"/>
                    </a:lnTo>
                    <a:lnTo>
                      <a:pt x="9710" y="19683"/>
                    </a:lnTo>
                    <a:lnTo>
                      <a:pt x="9565" y="19528"/>
                    </a:lnTo>
                    <a:lnTo>
                      <a:pt x="9274" y="19528"/>
                    </a:lnTo>
                    <a:lnTo>
                      <a:pt x="9153" y="19683"/>
                    </a:lnTo>
                    <a:lnTo>
                      <a:pt x="9153" y="19839"/>
                    </a:lnTo>
                    <a:lnTo>
                      <a:pt x="9008" y="19968"/>
                    </a:lnTo>
                    <a:lnTo>
                      <a:pt x="9008" y="20279"/>
                    </a:lnTo>
                    <a:lnTo>
                      <a:pt x="8863" y="20279"/>
                    </a:lnTo>
                    <a:lnTo>
                      <a:pt x="8863" y="20409"/>
                    </a:lnTo>
                    <a:lnTo>
                      <a:pt x="8742" y="20409"/>
                    </a:lnTo>
                    <a:lnTo>
                      <a:pt x="8742" y="20564"/>
                    </a:lnTo>
                    <a:lnTo>
                      <a:pt x="8596" y="20564"/>
                    </a:lnTo>
                    <a:lnTo>
                      <a:pt x="8596" y="20719"/>
                    </a:lnTo>
                    <a:lnTo>
                      <a:pt x="8451" y="20719"/>
                    </a:lnTo>
                    <a:lnTo>
                      <a:pt x="8451" y="21004"/>
                    </a:lnTo>
                    <a:lnTo>
                      <a:pt x="8306" y="21004"/>
                    </a:lnTo>
                    <a:lnTo>
                      <a:pt x="8306" y="21160"/>
                    </a:lnTo>
                    <a:lnTo>
                      <a:pt x="8185" y="21160"/>
                    </a:lnTo>
                    <a:lnTo>
                      <a:pt x="8185" y="21315"/>
                    </a:lnTo>
                    <a:lnTo>
                      <a:pt x="8039" y="21315"/>
                    </a:lnTo>
                    <a:lnTo>
                      <a:pt x="8039" y="21445"/>
                    </a:lnTo>
                    <a:lnTo>
                      <a:pt x="7773" y="21445"/>
                    </a:lnTo>
                    <a:lnTo>
                      <a:pt x="7773" y="21600"/>
                    </a:lnTo>
                    <a:lnTo>
                      <a:pt x="7337" y="21600"/>
                    </a:lnTo>
                    <a:lnTo>
                      <a:pt x="7337" y="21445"/>
                    </a:lnTo>
                    <a:lnTo>
                      <a:pt x="6659" y="21445"/>
                    </a:lnTo>
                    <a:lnTo>
                      <a:pt x="6659" y="21315"/>
                    </a:lnTo>
                    <a:lnTo>
                      <a:pt x="6514" y="21315"/>
                    </a:lnTo>
                    <a:lnTo>
                      <a:pt x="6659" y="21315"/>
                    </a:lnTo>
                    <a:lnTo>
                      <a:pt x="6514" y="21315"/>
                    </a:lnTo>
                    <a:lnTo>
                      <a:pt x="6514" y="21445"/>
                    </a:lnTo>
                    <a:lnTo>
                      <a:pt x="6369" y="21445"/>
                    </a:lnTo>
                    <a:lnTo>
                      <a:pt x="6369" y="21600"/>
                    </a:lnTo>
                    <a:lnTo>
                      <a:pt x="6248" y="21600"/>
                    </a:lnTo>
                    <a:lnTo>
                      <a:pt x="6248" y="21445"/>
                    </a:lnTo>
                    <a:lnTo>
                      <a:pt x="5545" y="21445"/>
                    </a:lnTo>
                    <a:lnTo>
                      <a:pt x="5400" y="21600"/>
                    </a:lnTo>
                    <a:lnTo>
                      <a:pt x="5279" y="21600"/>
                    </a:lnTo>
                    <a:lnTo>
                      <a:pt x="4867" y="20849"/>
                    </a:lnTo>
                    <a:lnTo>
                      <a:pt x="4722" y="19968"/>
                    </a:lnTo>
                    <a:lnTo>
                      <a:pt x="4165" y="19968"/>
                    </a:lnTo>
                    <a:lnTo>
                      <a:pt x="4165" y="20279"/>
                    </a:lnTo>
                    <a:lnTo>
                      <a:pt x="4020" y="20279"/>
                    </a:lnTo>
                    <a:lnTo>
                      <a:pt x="3899" y="20409"/>
                    </a:lnTo>
                    <a:lnTo>
                      <a:pt x="3899" y="20564"/>
                    </a:lnTo>
                    <a:lnTo>
                      <a:pt x="3753" y="20564"/>
                    </a:lnTo>
                    <a:lnTo>
                      <a:pt x="3753" y="20719"/>
                    </a:lnTo>
                    <a:lnTo>
                      <a:pt x="3608" y="20719"/>
                    </a:lnTo>
                    <a:lnTo>
                      <a:pt x="3753" y="20719"/>
                    </a:lnTo>
                    <a:lnTo>
                      <a:pt x="3899" y="20849"/>
                    </a:lnTo>
                    <a:lnTo>
                      <a:pt x="3753" y="20849"/>
                    </a:lnTo>
                    <a:lnTo>
                      <a:pt x="3753" y="21004"/>
                    </a:lnTo>
                    <a:lnTo>
                      <a:pt x="3753" y="20849"/>
                    </a:lnTo>
                    <a:lnTo>
                      <a:pt x="3753" y="21004"/>
                    </a:lnTo>
                    <a:lnTo>
                      <a:pt x="3608" y="21004"/>
                    </a:lnTo>
                    <a:lnTo>
                      <a:pt x="3608" y="21160"/>
                    </a:lnTo>
                    <a:lnTo>
                      <a:pt x="3463" y="21160"/>
                    </a:lnTo>
                    <a:lnTo>
                      <a:pt x="3608" y="21160"/>
                    </a:lnTo>
                    <a:lnTo>
                      <a:pt x="3463" y="21160"/>
                    </a:lnTo>
                    <a:lnTo>
                      <a:pt x="3463" y="21315"/>
                    </a:lnTo>
                    <a:lnTo>
                      <a:pt x="3608" y="21315"/>
                    </a:lnTo>
                    <a:lnTo>
                      <a:pt x="3608" y="21445"/>
                    </a:lnTo>
                    <a:lnTo>
                      <a:pt x="3463" y="21445"/>
                    </a:lnTo>
                    <a:lnTo>
                      <a:pt x="3463" y="21600"/>
                    </a:lnTo>
                    <a:lnTo>
                      <a:pt x="3342" y="21600"/>
                    </a:lnTo>
                    <a:lnTo>
                      <a:pt x="3342" y="21315"/>
                    </a:lnTo>
                    <a:lnTo>
                      <a:pt x="3051" y="21315"/>
                    </a:lnTo>
                    <a:lnTo>
                      <a:pt x="3051" y="21160"/>
                    </a:lnTo>
                    <a:lnTo>
                      <a:pt x="3196" y="21004"/>
                    </a:lnTo>
                    <a:lnTo>
                      <a:pt x="3051" y="21004"/>
                    </a:lnTo>
                    <a:lnTo>
                      <a:pt x="3196" y="21004"/>
                    </a:lnTo>
                    <a:lnTo>
                      <a:pt x="3051" y="21004"/>
                    </a:lnTo>
                    <a:lnTo>
                      <a:pt x="3051" y="20849"/>
                    </a:lnTo>
                    <a:lnTo>
                      <a:pt x="2930" y="20719"/>
                    </a:lnTo>
                    <a:lnTo>
                      <a:pt x="2639" y="20719"/>
                    </a:lnTo>
                    <a:lnTo>
                      <a:pt x="2785" y="20564"/>
                    </a:lnTo>
                    <a:lnTo>
                      <a:pt x="2785" y="20409"/>
                    </a:lnTo>
                    <a:lnTo>
                      <a:pt x="2639" y="20409"/>
                    </a:lnTo>
                    <a:lnTo>
                      <a:pt x="2639" y="20279"/>
                    </a:lnTo>
                    <a:lnTo>
                      <a:pt x="2494" y="20279"/>
                    </a:lnTo>
                    <a:lnTo>
                      <a:pt x="2494" y="20124"/>
                    </a:lnTo>
                    <a:lnTo>
                      <a:pt x="2639" y="20124"/>
                    </a:lnTo>
                    <a:lnTo>
                      <a:pt x="2494" y="19968"/>
                    </a:lnTo>
                    <a:lnTo>
                      <a:pt x="2494" y="20124"/>
                    </a:lnTo>
                    <a:lnTo>
                      <a:pt x="2494" y="19968"/>
                    </a:lnTo>
                    <a:lnTo>
                      <a:pt x="2373" y="19968"/>
                    </a:lnTo>
                    <a:lnTo>
                      <a:pt x="2373" y="19839"/>
                    </a:lnTo>
                    <a:lnTo>
                      <a:pt x="2494" y="19839"/>
                    </a:lnTo>
                    <a:lnTo>
                      <a:pt x="2494" y="19528"/>
                    </a:lnTo>
                    <a:lnTo>
                      <a:pt x="2373" y="19528"/>
                    </a:lnTo>
                    <a:lnTo>
                      <a:pt x="2228" y="19373"/>
                    </a:lnTo>
                    <a:lnTo>
                      <a:pt x="2083" y="19243"/>
                    </a:lnTo>
                    <a:lnTo>
                      <a:pt x="2083" y="19088"/>
                    </a:lnTo>
                    <a:lnTo>
                      <a:pt x="2228" y="19088"/>
                    </a:lnTo>
                    <a:lnTo>
                      <a:pt x="2228" y="18647"/>
                    </a:lnTo>
                    <a:lnTo>
                      <a:pt x="2373" y="18647"/>
                    </a:lnTo>
                    <a:lnTo>
                      <a:pt x="2373" y="18337"/>
                    </a:lnTo>
                    <a:lnTo>
                      <a:pt x="2228" y="18337"/>
                    </a:lnTo>
                    <a:lnTo>
                      <a:pt x="2228" y="17896"/>
                    </a:lnTo>
                    <a:lnTo>
                      <a:pt x="2083" y="17896"/>
                    </a:lnTo>
                    <a:lnTo>
                      <a:pt x="2083" y="17767"/>
                    </a:lnTo>
                    <a:lnTo>
                      <a:pt x="2228" y="17767"/>
                    </a:lnTo>
                    <a:lnTo>
                      <a:pt x="2228" y="17456"/>
                    </a:lnTo>
                    <a:lnTo>
                      <a:pt x="1816" y="17456"/>
                    </a:lnTo>
                    <a:lnTo>
                      <a:pt x="1816" y="17301"/>
                    </a:lnTo>
                    <a:lnTo>
                      <a:pt x="1961" y="17171"/>
                    </a:lnTo>
                    <a:lnTo>
                      <a:pt x="1961" y="17016"/>
                    </a:lnTo>
                    <a:lnTo>
                      <a:pt x="1816" y="17016"/>
                    </a:lnTo>
                    <a:lnTo>
                      <a:pt x="1816" y="16860"/>
                    </a:lnTo>
                    <a:lnTo>
                      <a:pt x="1671" y="16860"/>
                    </a:lnTo>
                    <a:lnTo>
                      <a:pt x="1671" y="17301"/>
                    </a:lnTo>
                    <a:lnTo>
                      <a:pt x="1526" y="17301"/>
                    </a:lnTo>
                    <a:lnTo>
                      <a:pt x="1526" y="17171"/>
                    </a:lnTo>
                    <a:lnTo>
                      <a:pt x="1404" y="17171"/>
                    </a:lnTo>
                    <a:lnTo>
                      <a:pt x="1404" y="17301"/>
                    </a:lnTo>
                    <a:lnTo>
                      <a:pt x="1259" y="17301"/>
                    </a:lnTo>
                    <a:lnTo>
                      <a:pt x="1259" y="17171"/>
                    </a:lnTo>
                    <a:lnTo>
                      <a:pt x="1114" y="17171"/>
                    </a:lnTo>
                    <a:lnTo>
                      <a:pt x="1114" y="17016"/>
                    </a:lnTo>
                    <a:lnTo>
                      <a:pt x="848" y="17016"/>
                    </a:lnTo>
                    <a:lnTo>
                      <a:pt x="848" y="16860"/>
                    </a:lnTo>
                    <a:lnTo>
                      <a:pt x="557" y="16860"/>
                    </a:lnTo>
                    <a:lnTo>
                      <a:pt x="436" y="16731"/>
                    </a:lnTo>
                    <a:lnTo>
                      <a:pt x="557" y="16731"/>
                    </a:lnTo>
                    <a:lnTo>
                      <a:pt x="436" y="16731"/>
                    </a:lnTo>
                    <a:lnTo>
                      <a:pt x="436" y="16265"/>
                    </a:lnTo>
                    <a:lnTo>
                      <a:pt x="291" y="16265"/>
                    </a:lnTo>
                    <a:lnTo>
                      <a:pt x="436" y="16265"/>
                    </a:lnTo>
                    <a:lnTo>
                      <a:pt x="291" y="16265"/>
                    </a:lnTo>
                    <a:lnTo>
                      <a:pt x="291" y="16135"/>
                    </a:lnTo>
                    <a:lnTo>
                      <a:pt x="145" y="16135"/>
                    </a:lnTo>
                    <a:lnTo>
                      <a:pt x="145" y="15824"/>
                    </a:lnTo>
                    <a:lnTo>
                      <a:pt x="0" y="15695"/>
                    </a:lnTo>
                    <a:lnTo>
                      <a:pt x="291" y="15695"/>
                    </a:lnTo>
                    <a:lnTo>
                      <a:pt x="291" y="15384"/>
                    </a:lnTo>
                    <a:lnTo>
                      <a:pt x="436" y="15384"/>
                    </a:lnTo>
                    <a:lnTo>
                      <a:pt x="436" y="15255"/>
                    </a:lnTo>
                    <a:lnTo>
                      <a:pt x="557" y="15255"/>
                    </a:lnTo>
                    <a:lnTo>
                      <a:pt x="436" y="15255"/>
                    </a:lnTo>
                    <a:lnTo>
                      <a:pt x="557" y="15255"/>
                    </a:lnTo>
                    <a:lnTo>
                      <a:pt x="557" y="15384"/>
                    </a:lnTo>
                    <a:lnTo>
                      <a:pt x="557" y="15255"/>
                    </a:lnTo>
                    <a:lnTo>
                      <a:pt x="702" y="15255"/>
                    </a:lnTo>
                    <a:lnTo>
                      <a:pt x="702" y="15099"/>
                    </a:lnTo>
                    <a:lnTo>
                      <a:pt x="848" y="15099"/>
                    </a:lnTo>
                    <a:lnTo>
                      <a:pt x="702" y="15099"/>
                    </a:lnTo>
                    <a:lnTo>
                      <a:pt x="702" y="14944"/>
                    </a:lnTo>
                    <a:lnTo>
                      <a:pt x="848" y="14944"/>
                    </a:lnTo>
                    <a:lnTo>
                      <a:pt x="848" y="15099"/>
                    </a:lnTo>
                    <a:lnTo>
                      <a:pt x="848" y="14944"/>
                    </a:lnTo>
                    <a:lnTo>
                      <a:pt x="969" y="14944"/>
                    </a:lnTo>
                    <a:lnTo>
                      <a:pt x="969" y="14788"/>
                    </a:lnTo>
                    <a:lnTo>
                      <a:pt x="1404" y="14788"/>
                    </a:lnTo>
                    <a:lnTo>
                      <a:pt x="1404" y="14944"/>
                    </a:lnTo>
                    <a:lnTo>
                      <a:pt x="1526" y="14944"/>
                    </a:lnTo>
                    <a:lnTo>
                      <a:pt x="1526" y="14788"/>
                    </a:lnTo>
                    <a:lnTo>
                      <a:pt x="1526" y="14944"/>
                    </a:lnTo>
                    <a:lnTo>
                      <a:pt x="1526" y="14788"/>
                    </a:lnTo>
                    <a:lnTo>
                      <a:pt x="1404" y="14788"/>
                    </a:lnTo>
                    <a:lnTo>
                      <a:pt x="1404" y="14659"/>
                    </a:lnTo>
                    <a:lnTo>
                      <a:pt x="1526" y="14659"/>
                    </a:lnTo>
                    <a:lnTo>
                      <a:pt x="1526" y="14219"/>
                    </a:lnTo>
                    <a:lnTo>
                      <a:pt x="1404" y="14219"/>
                    </a:lnTo>
                    <a:lnTo>
                      <a:pt x="1526" y="14219"/>
                    </a:lnTo>
                    <a:lnTo>
                      <a:pt x="1526" y="13468"/>
                    </a:lnTo>
                    <a:lnTo>
                      <a:pt x="1259" y="13468"/>
                    </a:lnTo>
                    <a:lnTo>
                      <a:pt x="1259" y="13312"/>
                    </a:lnTo>
                    <a:lnTo>
                      <a:pt x="1114" y="13312"/>
                    </a:lnTo>
                    <a:lnTo>
                      <a:pt x="1114" y="13183"/>
                    </a:lnTo>
                    <a:lnTo>
                      <a:pt x="969" y="13027"/>
                    </a:lnTo>
                    <a:lnTo>
                      <a:pt x="969" y="12872"/>
                    </a:lnTo>
                    <a:lnTo>
                      <a:pt x="702" y="12872"/>
                    </a:lnTo>
                    <a:lnTo>
                      <a:pt x="702" y="12717"/>
                    </a:lnTo>
                    <a:lnTo>
                      <a:pt x="848" y="12587"/>
                    </a:lnTo>
                    <a:lnTo>
                      <a:pt x="969" y="12432"/>
                    </a:lnTo>
                    <a:lnTo>
                      <a:pt x="969" y="12276"/>
                    </a:lnTo>
                    <a:lnTo>
                      <a:pt x="1114" y="12276"/>
                    </a:lnTo>
                    <a:lnTo>
                      <a:pt x="1259" y="12147"/>
                    </a:lnTo>
                    <a:lnTo>
                      <a:pt x="1404" y="12147"/>
                    </a:lnTo>
                    <a:lnTo>
                      <a:pt x="1526" y="11991"/>
                    </a:lnTo>
                    <a:lnTo>
                      <a:pt x="1526" y="11706"/>
                    </a:lnTo>
                    <a:lnTo>
                      <a:pt x="1404" y="11551"/>
                    </a:lnTo>
                    <a:lnTo>
                      <a:pt x="1404" y="11396"/>
                    </a:lnTo>
                    <a:lnTo>
                      <a:pt x="1259" y="11240"/>
                    </a:lnTo>
                    <a:lnTo>
                      <a:pt x="1114" y="11240"/>
                    </a:lnTo>
                    <a:lnTo>
                      <a:pt x="1114" y="11111"/>
                    </a:lnTo>
                    <a:lnTo>
                      <a:pt x="969" y="11111"/>
                    </a:lnTo>
                    <a:lnTo>
                      <a:pt x="969" y="10955"/>
                    </a:lnTo>
                    <a:lnTo>
                      <a:pt x="848" y="10955"/>
                    </a:lnTo>
                    <a:lnTo>
                      <a:pt x="848" y="10800"/>
                    </a:lnTo>
                    <a:lnTo>
                      <a:pt x="702" y="10800"/>
                    </a:lnTo>
                    <a:lnTo>
                      <a:pt x="702" y="10671"/>
                    </a:lnTo>
                    <a:lnTo>
                      <a:pt x="969" y="10671"/>
                    </a:lnTo>
                    <a:lnTo>
                      <a:pt x="1114" y="10800"/>
                    </a:lnTo>
                    <a:lnTo>
                      <a:pt x="1259" y="10800"/>
                    </a:lnTo>
                    <a:lnTo>
                      <a:pt x="1404" y="10955"/>
                    </a:lnTo>
                    <a:lnTo>
                      <a:pt x="1526" y="11111"/>
                    </a:lnTo>
                    <a:lnTo>
                      <a:pt x="1526" y="11240"/>
                    </a:lnTo>
                    <a:lnTo>
                      <a:pt x="1671" y="11240"/>
                    </a:lnTo>
                    <a:lnTo>
                      <a:pt x="1671" y="11396"/>
                    </a:lnTo>
                    <a:lnTo>
                      <a:pt x="1816" y="11396"/>
                    </a:lnTo>
                    <a:lnTo>
                      <a:pt x="1961" y="11551"/>
                    </a:lnTo>
                    <a:lnTo>
                      <a:pt x="1961" y="11706"/>
                    </a:lnTo>
                    <a:lnTo>
                      <a:pt x="1961" y="11551"/>
                    </a:lnTo>
                    <a:lnTo>
                      <a:pt x="1961" y="11706"/>
                    </a:lnTo>
                    <a:lnTo>
                      <a:pt x="2083" y="11836"/>
                    </a:lnTo>
                    <a:lnTo>
                      <a:pt x="2083" y="11991"/>
                    </a:lnTo>
                    <a:lnTo>
                      <a:pt x="2228" y="11991"/>
                    </a:lnTo>
                    <a:lnTo>
                      <a:pt x="2228" y="12276"/>
                    </a:lnTo>
                    <a:lnTo>
                      <a:pt x="2373" y="12276"/>
                    </a:lnTo>
                    <a:lnTo>
                      <a:pt x="2373" y="12432"/>
                    </a:lnTo>
                    <a:lnTo>
                      <a:pt x="2930" y="12432"/>
                    </a:lnTo>
                    <a:lnTo>
                      <a:pt x="3051" y="12276"/>
                    </a:lnTo>
                    <a:lnTo>
                      <a:pt x="3196" y="12276"/>
                    </a:lnTo>
                    <a:lnTo>
                      <a:pt x="3196" y="12432"/>
                    </a:lnTo>
                    <a:lnTo>
                      <a:pt x="3342" y="12432"/>
                    </a:lnTo>
                    <a:lnTo>
                      <a:pt x="3342" y="12717"/>
                    </a:lnTo>
                    <a:lnTo>
                      <a:pt x="3196" y="12872"/>
                    </a:lnTo>
                    <a:lnTo>
                      <a:pt x="3051" y="12872"/>
                    </a:lnTo>
                    <a:lnTo>
                      <a:pt x="3196" y="12872"/>
                    </a:lnTo>
                    <a:lnTo>
                      <a:pt x="3051" y="13027"/>
                    </a:lnTo>
                    <a:lnTo>
                      <a:pt x="3196" y="13183"/>
                    </a:lnTo>
                    <a:lnTo>
                      <a:pt x="2785" y="13183"/>
                    </a:lnTo>
                    <a:lnTo>
                      <a:pt x="2785" y="13312"/>
                    </a:lnTo>
                    <a:lnTo>
                      <a:pt x="2639" y="13312"/>
                    </a:lnTo>
                    <a:lnTo>
                      <a:pt x="2639" y="13753"/>
                    </a:lnTo>
                    <a:lnTo>
                      <a:pt x="2494" y="13753"/>
                    </a:lnTo>
                    <a:lnTo>
                      <a:pt x="2494" y="14219"/>
                    </a:lnTo>
                    <a:lnTo>
                      <a:pt x="2639" y="14348"/>
                    </a:lnTo>
                    <a:lnTo>
                      <a:pt x="2494" y="14348"/>
                    </a:lnTo>
                    <a:lnTo>
                      <a:pt x="2494" y="14659"/>
                    </a:lnTo>
                    <a:lnTo>
                      <a:pt x="2639" y="14659"/>
                    </a:lnTo>
                    <a:lnTo>
                      <a:pt x="2494" y="14504"/>
                    </a:lnTo>
                    <a:lnTo>
                      <a:pt x="2639" y="14504"/>
                    </a:lnTo>
                    <a:lnTo>
                      <a:pt x="2639" y="14219"/>
                    </a:lnTo>
                    <a:lnTo>
                      <a:pt x="2785" y="14219"/>
                    </a:lnTo>
                    <a:lnTo>
                      <a:pt x="2639" y="14219"/>
                    </a:lnTo>
                    <a:lnTo>
                      <a:pt x="2639" y="14063"/>
                    </a:lnTo>
                    <a:lnTo>
                      <a:pt x="2930" y="14063"/>
                    </a:lnTo>
                    <a:lnTo>
                      <a:pt x="2930" y="13908"/>
                    </a:lnTo>
                    <a:lnTo>
                      <a:pt x="2930" y="14063"/>
                    </a:lnTo>
                    <a:lnTo>
                      <a:pt x="3051" y="14219"/>
                    </a:lnTo>
                    <a:lnTo>
                      <a:pt x="3051" y="14504"/>
                    </a:lnTo>
                    <a:lnTo>
                      <a:pt x="2930" y="14659"/>
                    </a:lnTo>
                    <a:lnTo>
                      <a:pt x="2930" y="15099"/>
                    </a:lnTo>
                    <a:lnTo>
                      <a:pt x="2785" y="15099"/>
                    </a:lnTo>
                    <a:lnTo>
                      <a:pt x="2785" y="15255"/>
                    </a:lnTo>
                    <a:lnTo>
                      <a:pt x="2639" y="15384"/>
                    </a:lnTo>
                    <a:lnTo>
                      <a:pt x="2639" y="15540"/>
                    </a:lnTo>
                    <a:lnTo>
                      <a:pt x="2494" y="15540"/>
                    </a:lnTo>
                    <a:lnTo>
                      <a:pt x="2639" y="15540"/>
                    </a:lnTo>
                    <a:lnTo>
                      <a:pt x="2639" y="15695"/>
                    </a:lnTo>
                    <a:lnTo>
                      <a:pt x="2785" y="15824"/>
                    </a:lnTo>
                    <a:lnTo>
                      <a:pt x="2930" y="15824"/>
                    </a:lnTo>
                    <a:lnTo>
                      <a:pt x="3051" y="15980"/>
                    </a:lnTo>
                    <a:lnTo>
                      <a:pt x="3051" y="16265"/>
                    </a:lnTo>
                    <a:lnTo>
                      <a:pt x="2930" y="16265"/>
                    </a:lnTo>
                    <a:lnTo>
                      <a:pt x="3051" y="16420"/>
                    </a:lnTo>
                    <a:lnTo>
                      <a:pt x="3051" y="16576"/>
                    </a:lnTo>
                    <a:lnTo>
                      <a:pt x="3342" y="16576"/>
                    </a:lnTo>
                    <a:lnTo>
                      <a:pt x="3342" y="16731"/>
                    </a:lnTo>
                    <a:lnTo>
                      <a:pt x="3463" y="16731"/>
                    </a:lnTo>
                    <a:lnTo>
                      <a:pt x="3463" y="16860"/>
                    </a:lnTo>
                    <a:lnTo>
                      <a:pt x="3608" y="16860"/>
                    </a:lnTo>
                    <a:lnTo>
                      <a:pt x="3608" y="16576"/>
                    </a:lnTo>
                    <a:lnTo>
                      <a:pt x="3342" y="16576"/>
                    </a:lnTo>
                    <a:lnTo>
                      <a:pt x="3342" y="16265"/>
                    </a:lnTo>
                    <a:lnTo>
                      <a:pt x="3196" y="16265"/>
                    </a:lnTo>
                    <a:lnTo>
                      <a:pt x="3196" y="16135"/>
                    </a:lnTo>
                    <a:lnTo>
                      <a:pt x="3051" y="15980"/>
                    </a:lnTo>
                    <a:lnTo>
                      <a:pt x="3196" y="15980"/>
                    </a:lnTo>
                    <a:lnTo>
                      <a:pt x="3051" y="15980"/>
                    </a:lnTo>
                    <a:lnTo>
                      <a:pt x="3051" y="15824"/>
                    </a:lnTo>
                    <a:lnTo>
                      <a:pt x="2930" y="15824"/>
                    </a:lnTo>
                    <a:lnTo>
                      <a:pt x="2930" y="15384"/>
                    </a:lnTo>
                    <a:lnTo>
                      <a:pt x="2785" y="15384"/>
                    </a:lnTo>
                    <a:lnTo>
                      <a:pt x="2785" y="15255"/>
                    </a:lnTo>
                    <a:lnTo>
                      <a:pt x="2930" y="15255"/>
                    </a:lnTo>
                    <a:lnTo>
                      <a:pt x="2930" y="15384"/>
                    </a:lnTo>
                    <a:lnTo>
                      <a:pt x="3196" y="15384"/>
                    </a:lnTo>
                    <a:lnTo>
                      <a:pt x="3196" y="15255"/>
                    </a:lnTo>
                    <a:lnTo>
                      <a:pt x="3342" y="15255"/>
                    </a:lnTo>
                    <a:lnTo>
                      <a:pt x="3342" y="14944"/>
                    </a:lnTo>
                    <a:lnTo>
                      <a:pt x="3463" y="14944"/>
                    </a:lnTo>
                    <a:lnTo>
                      <a:pt x="3342" y="14944"/>
                    </a:lnTo>
                    <a:lnTo>
                      <a:pt x="3342" y="13908"/>
                    </a:lnTo>
                    <a:lnTo>
                      <a:pt x="3196" y="13908"/>
                    </a:lnTo>
                    <a:lnTo>
                      <a:pt x="3196" y="13468"/>
                    </a:lnTo>
                    <a:lnTo>
                      <a:pt x="3342" y="13312"/>
                    </a:lnTo>
                    <a:lnTo>
                      <a:pt x="3342" y="13027"/>
                    </a:lnTo>
                    <a:lnTo>
                      <a:pt x="3463" y="13027"/>
                    </a:lnTo>
                    <a:lnTo>
                      <a:pt x="3463" y="12872"/>
                    </a:lnTo>
                    <a:lnTo>
                      <a:pt x="3608" y="12872"/>
                    </a:lnTo>
                    <a:lnTo>
                      <a:pt x="3608" y="12587"/>
                    </a:lnTo>
                    <a:lnTo>
                      <a:pt x="3463" y="12587"/>
                    </a:lnTo>
                    <a:lnTo>
                      <a:pt x="3463" y="12276"/>
                    </a:lnTo>
                    <a:lnTo>
                      <a:pt x="3342" y="12276"/>
                    </a:lnTo>
                    <a:lnTo>
                      <a:pt x="3342" y="12147"/>
                    </a:lnTo>
                    <a:lnTo>
                      <a:pt x="3196" y="12147"/>
                    </a:lnTo>
                    <a:lnTo>
                      <a:pt x="3051" y="11991"/>
                    </a:lnTo>
                    <a:lnTo>
                      <a:pt x="3051" y="12147"/>
                    </a:lnTo>
                    <a:lnTo>
                      <a:pt x="3051" y="11836"/>
                    </a:lnTo>
                    <a:lnTo>
                      <a:pt x="2930" y="11836"/>
                    </a:lnTo>
                    <a:lnTo>
                      <a:pt x="2930" y="11240"/>
                    </a:lnTo>
                    <a:lnTo>
                      <a:pt x="2785" y="11240"/>
                    </a:lnTo>
                    <a:lnTo>
                      <a:pt x="2785" y="11111"/>
                    </a:lnTo>
                    <a:lnTo>
                      <a:pt x="2494" y="11111"/>
                    </a:lnTo>
                    <a:lnTo>
                      <a:pt x="2494" y="10955"/>
                    </a:lnTo>
                    <a:lnTo>
                      <a:pt x="2494" y="11111"/>
                    </a:lnTo>
                    <a:lnTo>
                      <a:pt x="2373" y="10955"/>
                    </a:lnTo>
                    <a:lnTo>
                      <a:pt x="2228" y="10955"/>
                    </a:lnTo>
                    <a:lnTo>
                      <a:pt x="2228" y="10800"/>
                    </a:lnTo>
                    <a:lnTo>
                      <a:pt x="2083" y="10800"/>
                    </a:lnTo>
                    <a:lnTo>
                      <a:pt x="2083" y="10515"/>
                    </a:lnTo>
                    <a:lnTo>
                      <a:pt x="2228" y="10515"/>
                    </a:lnTo>
                    <a:lnTo>
                      <a:pt x="2083" y="10515"/>
                    </a:lnTo>
                    <a:lnTo>
                      <a:pt x="2228" y="10515"/>
                    </a:lnTo>
                    <a:lnTo>
                      <a:pt x="2228" y="10360"/>
                    </a:lnTo>
                    <a:lnTo>
                      <a:pt x="2083" y="10360"/>
                    </a:lnTo>
                    <a:lnTo>
                      <a:pt x="2083" y="10075"/>
                    </a:lnTo>
                    <a:lnTo>
                      <a:pt x="2228" y="10075"/>
                    </a:lnTo>
                    <a:lnTo>
                      <a:pt x="2228" y="9479"/>
                    </a:lnTo>
                    <a:lnTo>
                      <a:pt x="2083" y="9479"/>
                    </a:lnTo>
                    <a:lnTo>
                      <a:pt x="2228" y="9479"/>
                    </a:lnTo>
                    <a:lnTo>
                      <a:pt x="2228" y="9324"/>
                    </a:lnTo>
                    <a:lnTo>
                      <a:pt x="2083" y="9324"/>
                    </a:lnTo>
                    <a:lnTo>
                      <a:pt x="2083" y="9168"/>
                    </a:lnTo>
                    <a:lnTo>
                      <a:pt x="2228" y="9168"/>
                    </a:lnTo>
                    <a:lnTo>
                      <a:pt x="2228" y="9039"/>
                    </a:lnTo>
                    <a:lnTo>
                      <a:pt x="2083" y="9039"/>
                    </a:lnTo>
                    <a:lnTo>
                      <a:pt x="2083" y="8883"/>
                    </a:lnTo>
                    <a:lnTo>
                      <a:pt x="2228" y="8883"/>
                    </a:lnTo>
                    <a:lnTo>
                      <a:pt x="2228" y="8728"/>
                    </a:lnTo>
                    <a:lnTo>
                      <a:pt x="2373" y="8728"/>
                    </a:lnTo>
                    <a:lnTo>
                      <a:pt x="2373" y="8599"/>
                    </a:lnTo>
                    <a:lnTo>
                      <a:pt x="2228" y="8599"/>
                    </a:lnTo>
                    <a:lnTo>
                      <a:pt x="2373" y="8599"/>
                    </a:lnTo>
                    <a:lnTo>
                      <a:pt x="2373" y="8443"/>
                    </a:lnTo>
                    <a:lnTo>
                      <a:pt x="2494" y="8443"/>
                    </a:lnTo>
                    <a:lnTo>
                      <a:pt x="2494" y="8599"/>
                    </a:lnTo>
                    <a:lnTo>
                      <a:pt x="2494" y="8443"/>
                    </a:lnTo>
                    <a:lnTo>
                      <a:pt x="3899" y="8443"/>
                    </a:lnTo>
                    <a:lnTo>
                      <a:pt x="3899" y="8599"/>
                    </a:lnTo>
                    <a:lnTo>
                      <a:pt x="4165" y="8599"/>
                    </a:lnTo>
                    <a:lnTo>
                      <a:pt x="4165" y="8443"/>
                    </a:lnTo>
                    <a:lnTo>
                      <a:pt x="4722" y="8443"/>
                    </a:lnTo>
                    <a:lnTo>
                      <a:pt x="4722" y="8288"/>
                    </a:lnTo>
                    <a:lnTo>
                      <a:pt x="4867" y="8443"/>
                    </a:lnTo>
                    <a:lnTo>
                      <a:pt x="4988" y="8443"/>
                    </a:lnTo>
                    <a:lnTo>
                      <a:pt x="4988" y="8599"/>
                    </a:lnTo>
                    <a:lnTo>
                      <a:pt x="5134" y="8599"/>
                    </a:lnTo>
                    <a:lnTo>
                      <a:pt x="5134" y="8288"/>
                    </a:lnTo>
                    <a:lnTo>
                      <a:pt x="6102" y="8288"/>
                    </a:lnTo>
                    <a:lnTo>
                      <a:pt x="6102" y="8443"/>
                    </a:lnTo>
                    <a:lnTo>
                      <a:pt x="5957" y="8443"/>
                    </a:lnTo>
                    <a:lnTo>
                      <a:pt x="5957" y="8599"/>
                    </a:lnTo>
                    <a:lnTo>
                      <a:pt x="5836" y="8599"/>
                    </a:lnTo>
                    <a:lnTo>
                      <a:pt x="5836" y="8728"/>
                    </a:lnTo>
                    <a:lnTo>
                      <a:pt x="5691" y="8728"/>
                    </a:lnTo>
                    <a:lnTo>
                      <a:pt x="5691" y="8883"/>
                    </a:lnTo>
                    <a:lnTo>
                      <a:pt x="5400" y="8883"/>
                    </a:lnTo>
                    <a:lnTo>
                      <a:pt x="5400" y="9039"/>
                    </a:lnTo>
                    <a:lnTo>
                      <a:pt x="5545" y="8883"/>
                    </a:lnTo>
                    <a:lnTo>
                      <a:pt x="6102" y="8883"/>
                    </a:lnTo>
                    <a:lnTo>
                      <a:pt x="6102" y="8728"/>
                    </a:lnTo>
                    <a:lnTo>
                      <a:pt x="6248" y="8728"/>
                    </a:lnTo>
                    <a:lnTo>
                      <a:pt x="6248" y="8599"/>
                    </a:lnTo>
                    <a:lnTo>
                      <a:pt x="6248" y="8728"/>
                    </a:lnTo>
                    <a:lnTo>
                      <a:pt x="6102" y="8728"/>
                    </a:lnTo>
                    <a:lnTo>
                      <a:pt x="6102" y="8599"/>
                    </a:lnTo>
                    <a:lnTo>
                      <a:pt x="6248" y="8599"/>
                    </a:lnTo>
                    <a:lnTo>
                      <a:pt x="6248" y="8288"/>
                    </a:lnTo>
                    <a:lnTo>
                      <a:pt x="6102" y="8288"/>
                    </a:lnTo>
                    <a:lnTo>
                      <a:pt x="6102" y="7847"/>
                    </a:lnTo>
                    <a:lnTo>
                      <a:pt x="6248" y="7847"/>
                    </a:lnTo>
                    <a:lnTo>
                      <a:pt x="6248" y="8003"/>
                    </a:lnTo>
                    <a:lnTo>
                      <a:pt x="6369" y="8003"/>
                    </a:lnTo>
                    <a:lnTo>
                      <a:pt x="6248" y="8003"/>
                    </a:lnTo>
                    <a:lnTo>
                      <a:pt x="6248" y="7847"/>
                    </a:lnTo>
                    <a:lnTo>
                      <a:pt x="5957" y="7847"/>
                    </a:lnTo>
                    <a:lnTo>
                      <a:pt x="5957" y="7407"/>
                    </a:lnTo>
                    <a:lnTo>
                      <a:pt x="5545" y="7407"/>
                    </a:lnTo>
                    <a:lnTo>
                      <a:pt x="5545" y="7122"/>
                    </a:lnTo>
                    <a:lnTo>
                      <a:pt x="5691" y="7122"/>
                    </a:lnTo>
                    <a:lnTo>
                      <a:pt x="5691" y="7252"/>
                    </a:lnTo>
                    <a:lnTo>
                      <a:pt x="5691" y="7122"/>
                    </a:lnTo>
                    <a:lnTo>
                      <a:pt x="5836" y="7122"/>
                    </a:lnTo>
                    <a:lnTo>
                      <a:pt x="5836" y="6967"/>
                    </a:lnTo>
                    <a:lnTo>
                      <a:pt x="5957" y="6967"/>
                    </a:lnTo>
                    <a:lnTo>
                      <a:pt x="5957" y="7122"/>
                    </a:lnTo>
                    <a:lnTo>
                      <a:pt x="6102" y="7122"/>
                    </a:lnTo>
                    <a:lnTo>
                      <a:pt x="6102" y="7252"/>
                    </a:lnTo>
                    <a:lnTo>
                      <a:pt x="5957" y="7252"/>
                    </a:lnTo>
                    <a:lnTo>
                      <a:pt x="5957" y="7407"/>
                    </a:lnTo>
                    <a:lnTo>
                      <a:pt x="6102" y="7407"/>
                    </a:lnTo>
                    <a:lnTo>
                      <a:pt x="6102" y="7252"/>
                    </a:lnTo>
                    <a:lnTo>
                      <a:pt x="6102" y="7407"/>
                    </a:lnTo>
                    <a:lnTo>
                      <a:pt x="6248" y="7252"/>
                    </a:lnTo>
                    <a:lnTo>
                      <a:pt x="6102" y="7252"/>
                    </a:lnTo>
                    <a:lnTo>
                      <a:pt x="6248" y="7252"/>
                    </a:lnTo>
                    <a:lnTo>
                      <a:pt x="6248" y="7122"/>
                    </a:lnTo>
                    <a:lnTo>
                      <a:pt x="6102" y="7122"/>
                    </a:lnTo>
                    <a:lnTo>
                      <a:pt x="6248" y="7122"/>
                    </a:lnTo>
                    <a:lnTo>
                      <a:pt x="6248" y="6967"/>
                    </a:lnTo>
                    <a:lnTo>
                      <a:pt x="6248" y="7122"/>
                    </a:lnTo>
                    <a:lnTo>
                      <a:pt x="6102" y="7122"/>
                    </a:lnTo>
                    <a:lnTo>
                      <a:pt x="5957" y="6967"/>
                    </a:lnTo>
                    <a:lnTo>
                      <a:pt x="5957" y="7122"/>
                    </a:lnTo>
                    <a:lnTo>
                      <a:pt x="5957" y="6812"/>
                    </a:lnTo>
                    <a:lnTo>
                      <a:pt x="6102" y="6812"/>
                    </a:lnTo>
                    <a:lnTo>
                      <a:pt x="5836" y="6812"/>
                    </a:lnTo>
                    <a:lnTo>
                      <a:pt x="5836" y="6656"/>
                    </a:lnTo>
                    <a:lnTo>
                      <a:pt x="5545" y="6656"/>
                    </a:lnTo>
                    <a:lnTo>
                      <a:pt x="5545" y="6371"/>
                    </a:lnTo>
                    <a:lnTo>
                      <a:pt x="5691" y="6371"/>
                    </a:lnTo>
                    <a:lnTo>
                      <a:pt x="5691" y="6216"/>
                    </a:lnTo>
                    <a:lnTo>
                      <a:pt x="5836" y="6216"/>
                    </a:lnTo>
                    <a:lnTo>
                      <a:pt x="5836" y="6371"/>
                    </a:lnTo>
                    <a:lnTo>
                      <a:pt x="5957" y="6371"/>
                    </a:lnTo>
                    <a:lnTo>
                      <a:pt x="5957" y="6656"/>
                    </a:lnTo>
                    <a:lnTo>
                      <a:pt x="6102" y="6656"/>
                    </a:lnTo>
                    <a:lnTo>
                      <a:pt x="6102" y="6527"/>
                    </a:lnTo>
                    <a:lnTo>
                      <a:pt x="6248" y="6527"/>
                    </a:lnTo>
                    <a:lnTo>
                      <a:pt x="6102" y="6527"/>
                    </a:lnTo>
                    <a:lnTo>
                      <a:pt x="6102" y="6371"/>
                    </a:lnTo>
                    <a:lnTo>
                      <a:pt x="6248" y="6371"/>
                    </a:lnTo>
                    <a:lnTo>
                      <a:pt x="6248" y="6527"/>
                    </a:lnTo>
                    <a:lnTo>
                      <a:pt x="6248" y="6216"/>
                    </a:lnTo>
                    <a:lnTo>
                      <a:pt x="6369" y="6216"/>
                    </a:lnTo>
                    <a:lnTo>
                      <a:pt x="6248" y="6216"/>
                    </a:lnTo>
                    <a:lnTo>
                      <a:pt x="6369" y="6086"/>
                    </a:lnTo>
                    <a:lnTo>
                      <a:pt x="6369" y="6216"/>
                    </a:lnTo>
                    <a:lnTo>
                      <a:pt x="6369" y="6086"/>
                    </a:lnTo>
                    <a:lnTo>
                      <a:pt x="6514" y="6086"/>
                    </a:lnTo>
                    <a:lnTo>
                      <a:pt x="6514" y="5931"/>
                    </a:lnTo>
                    <a:lnTo>
                      <a:pt x="6369" y="5931"/>
                    </a:lnTo>
                    <a:lnTo>
                      <a:pt x="6514" y="5931"/>
                    </a:lnTo>
                    <a:lnTo>
                      <a:pt x="6514" y="6086"/>
                    </a:lnTo>
                    <a:lnTo>
                      <a:pt x="6659" y="6086"/>
                    </a:lnTo>
                    <a:lnTo>
                      <a:pt x="6514" y="5931"/>
                    </a:lnTo>
                    <a:lnTo>
                      <a:pt x="6659" y="5931"/>
                    </a:lnTo>
                    <a:lnTo>
                      <a:pt x="6659" y="5776"/>
                    </a:lnTo>
                    <a:lnTo>
                      <a:pt x="6369" y="5776"/>
                    </a:lnTo>
                    <a:lnTo>
                      <a:pt x="6248" y="5620"/>
                    </a:lnTo>
                    <a:lnTo>
                      <a:pt x="6248" y="5776"/>
                    </a:lnTo>
                    <a:lnTo>
                      <a:pt x="6248" y="5620"/>
                    </a:lnTo>
                    <a:lnTo>
                      <a:pt x="6369" y="5620"/>
                    </a:lnTo>
                    <a:lnTo>
                      <a:pt x="6369" y="5491"/>
                    </a:lnTo>
                    <a:lnTo>
                      <a:pt x="6369" y="5620"/>
                    </a:lnTo>
                    <a:lnTo>
                      <a:pt x="6804" y="5620"/>
                    </a:lnTo>
                    <a:lnTo>
                      <a:pt x="6804" y="5776"/>
                    </a:lnTo>
                    <a:lnTo>
                      <a:pt x="6804" y="5620"/>
                    </a:lnTo>
                    <a:lnTo>
                      <a:pt x="7071" y="5620"/>
                    </a:lnTo>
                    <a:lnTo>
                      <a:pt x="7071" y="5491"/>
                    </a:lnTo>
                    <a:lnTo>
                      <a:pt x="7216" y="5491"/>
                    </a:lnTo>
                    <a:lnTo>
                      <a:pt x="7216" y="5335"/>
                    </a:lnTo>
                    <a:lnTo>
                      <a:pt x="7337" y="5180"/>
                    </a:lnTo>
                    <a:lnTo>
                      <a:pt x="7216" y="5180"/>
                    </a:lnTo>
                    <a:lnTo>
                      <a:pt x="7483" y="5180"/>
                    </a:lnTo>
                    <a:lnTo>
                      <a:pt x="7337" y="5050"/>
                    </a:lnTo>
                    <a:lnTo>
                      <a:pt x="7337" y="5180"/>
                    </a:lnTo>
                    <a:lnTo>
                      <a:pt x="7216" y="5180"/>
                    </a:lnTo>
                    <a:lnTo>
                      <a:pt x="7216" y="5050"/>
                    </a:lnTo>
                    <a:lnTo>
                      <a:pt x="7483" y="5050"/>
                    </a:lnTo>
                    <a:lnTo>
                      <a:pt x="7483" y="4895"/>
                    </a:lnTo>
                    <a:lnTo>
                      <a:pt x="7483" y="5050"/>
                    </a:lnTo>
                    <a:lnTo>
                      <a:pt x="7773" y="5050"/>
                    </a:lnTo>
                    <a:lnTo>
                      <a:pt x="7773" y="4895"/>
                    </a:lnTo>
                    <a:lnTo>
                      <a:pt x="7894" y="4895"/>
                    </a:lnTo>
                    <a:lnTo>
                      <a:pt x="8039" y="4740"/>
                    </a:lnTo>
                    <a:lnTo>
                      <a:pt x="8306" y="4740"/>
                    </a:lnTo>
                    <a:lnTo>
                      <a:pt x="8306" y="4584"/>
                    </a:lnTo>
                    <a:lnTo>
                      <a:pt x="8451" y="4584"/>
                    </a:lnTo>
                    <a:lnTo>
                      <a:pt x="8451" y="4740"/>
                    </a:lnTo>
                    <a:lnTo>
                      <a:pt x="8596" y="4584"/>
                    </a:lnTo>
                    <a:lnTo>
                      <a:pt x="8596" y="4740"/>
                    </a:lnTo>
                    <a:lnTo>
                      <a:pt x="8863" y="4740"/>
                    </a:lnTo>
                    <a:lnTo>
                      <a:pt x="8863" y="4584"/>
                    </a:lnTo>
                    <a:lnTo>
                      <a:pt x="9008" y="4455"/>
                    </a:lnTo>
                    <a:lnTo>
                      <a:pt x="9008" y="4584"/>
                    </a:lnTo>
                    <a:lnTo>
                      <a:pt x="9008" y="4455"/>
                    </a:lnTo>
                    <a:lnTo>
                      <a:pt x="9420" y="4455"/>
                    </a:lnTo>
                    <a:lnTo>
                      <a:pt x="9420" y="4299"/>
                    </a:lnTo>
                    <a:lnTo>
                      <a:pt x="9831" y="4299"/>
                    </a:lnTo>
                    <a:lnTo>
                      <a:pt x="9977" y="4144"/>
                    </a:lnTo>
                    <a:lnTo>
                      <a:pt x="9977" y="4299"/>
                    </a:lnTo>
                    <a:lnTo>
                      <a:pt x="9977" y="4144"/>
                    </a:lnTo>
                    <a:lnTo>
                      <a:pt x="10122" y="4144"/>
                    </a:lnTo>
                    <a:lnTo>
                      <a:pt x="10122" y="4014"/>
                    </a:lnTo>
                    <a:lnTo>
                      <a:pt x="10122" y="4144"/>
                    </a:lnTo>
                    <a:lnTo>
                      <a:pt x="9831" y="4144"/>
                    </a:lnTo>
                    <a:lnTo>
                      <a:pt x="9831" y="4014"/>
                    </a:lnTo>
                    <a:lnTo>
                      <a:pt x="9831" y="4144"/>
                    </a:lnTo>
                    <a:lnTo>
                      <a:pt x="9710" y="4144"/>
                    </a:lnTo>
                    <a:lnTo>
                      <a:pt x="9710" y="4014"/>
                    </a:lnTo>
                    <a:lnTo>
                      <a:pt x="9710" y="4144"/>
                    </a:lnTo>
                    <a:lnTo>
                      <a:pt x="9710" y="4014"/>
                    </a:lnTo>
                    <a:lnTo>
                      <a:pt x="9565" y="4014"/>
                    </a:lnTo>
                    <a:lnTo>
                      <a:pt x="9565" y="4144"/>
                    </a:lnTo>
                    <a:lnTo>
                      <a:pt x="9420" y="4144"/>
                    </a:lnTo>
                    <a:lnTo>
                      <a:pt x="9565" y="4144"/>
                    </a:lnTo>
                    <a:lnTo>
                      <a:pt x="9420" y="4144"/>
                    </a:lnTo>
                    <a:lnTo>
                      <a:pt x="9420" y="4014"/>
                    </a:lnTo>
                    <a:lnTo>
                      <a:pt x="9565" y="4014"/>
                    </a:lnTo>
                    <a:lnTo>
                      <a:pt x="9565" y="3859"/>
                    </a:lnTo>
                    <a:lnTo>
                      <a:pt x="9710" y="3859"/>
                    </a:lnTo>
                    <a:lnTo>
                      <a:pt x="9710" y="3704"/>
                    </a:lnTo>
                    <a:lnTo>
                      <a:pt x="9565" y="3704"/>
                    </a:lnTo>
                    <a:lnTo>
                      <a:pt x="9710" y="3704"/>
                    </a:lnTo>
                    <a:lnTo>
                      <a:pt x="9710" y="3859"/>
                    </a:lnTo>
                    <a:lnTo>
                      <a:pt x="9831" y="3859"/>
                    </a:lnTo>
                    <a:lnTo>
                      <a:pt x="9710" y="3859"/>
                    </a:lnTo>
                    <a:lnTo>
                      <a:pt x="9977" y="3859"/>
                    </a:lnTo>
                    <a:lnTo>
                      <a:pt x="9977" y="3704"/>
                    </a:lnTo>
                    <a:lnTo>
                      <a:pt x="9831" y="3704"/>
                    </a:lnTo>
                    <a:lnTo>
                      <a:pt x="10388" y="3704"/>
                    </a:lnTo>
                    <a:lnTo>
                      <a:pt x="10243" y="3859"/>
                    </a:lnTo>
                    <a:lnTo>
                      <a:pt x="10388" y="3859"/>
                    </a:lnTo>
                    <a:lnTo>
                      <a:pt x="10388" y="3704"/>
                    </a:lnTo>
                    <a:lnTo>
                      <a:pt x="10534" y="3704"/>
                    </a:lnTo>
                    <a:lnTo>
                      <a:pt x="10388" y="3704"/>
                    </a:lnTo>
                    <a:lnTo>
                      <a:pt x="10388" y="3548"/>
                    </a:lnTo>
                    <a:lnTo>
                      <a:pt x="10534" y="3548"/>
                    </a:lnTo>
                    <a:lnTo>
                      <a:pt x="10534" y="3704"/>
                    </a:lnTo>
                    <a:lnTo>
                      <a:pt x="10800" y="3704"/>
                    </a:lnTo>
                    <a:lnTo>
                      <a:pt x="10800" y="3548"/>
                    </a:lnTo>
                    <a:lnTo>
                      <a:pt x="10800" y="3704"/>
                    </a:lnTo>
                    <a:lnTo>
                      <a:pt x="10945" y="3704"/>
                    </a:lnTo>
                    <a:lnTo>
                      <a:pt x="10945" y="3548"/>
                    </a:lnTo>
                    <a:lnTo>
                      <a:pt x="10945" y="3704"/>
                    </a:lnTo>
                    <a:lnTo>
                      <a:pt x="10945" y="3548"/>
                    </a:lnTo>
                    <a:lnTo>
                      <a:pt x="10945" y="3704"/>
                    </a:lnTo>
                    <a:lnTo>
                      <a:pt x="11212" y="3704"/>
                    </a:lnTo>
                    <a:lnTo>
                      <a:pt x="11212" y="3859"/>
                    </a:lnTo>
                    <a:lnTo>
                      <a:pt x="11212" y="3704"/>
                    </a:lnTo>
                    <a:lnTo>
                      <a:pt x="11212" y="3859"/>
                    </a:lnTo>
                    <a:lnTo>
                      <a:pt x="11091" y="3859"/>
                    </a:lnTo>
                    <a:lnTo>
                      <a:pt x="11212" y="3859"/>
                    </a:lnTo>
                    <a:lnTo>
                      <a:pt x="11091" y="3859"/>
                    </a:lnTo>
                    <a:lnTo>
                      <a:pt x="11091" y="4014"/>
                    </a:lnTo>
                    <a:lnTo>
                      <a:pt x="10945" y="4144"/>
                    </a:lnTo>
                    <a:lnTo>
                      <a:pt x="10945" y="4299"/>
                    </a:lnTo>
                    <a:lnTo>
                      <a:pt x="11091" y="4144"/>
                    </a:lnTo>
                    <a:lnTo>
                      <a:pt x="11091" y="4014"/>
                    </a:lnTo>
                    <a:lnTo>
                      <a:pt x="11212" y="4014"/>
                    </a:lnTo>
                    <a:lnTo>
                      <a:pt x="11212" y="4144"/>
                    </a:lnTo>
                    <a:lnTo>
                      <a:pt x="11212" y="4014"/>
                    </a:lnTo>
                    <a:lnTo>
                      <a:pt x="11357" y="4014"/>
                    </a:lnTo>
                    <a:lnTo>
                      <a:pt x="11212" y="4014"/>
                    </a:lnTo>
                    <a:lnTo>
                      <a:pt x="11357" y="4014"/>
                    </a:lnTo>
                    <a:lnTo>
                      <a:pt x="11357" y="3859"/>
                    </a:lnTo>
                    <a:lnTo>
                      <a:pt x="11357" y="4014"/>
                    </a:lnTo>
                    <a:lnTo>
                      <a:pt x="11502" y="4014"/>
                    </a:lnTo>
                    <a:lnTo>
                      <a:pt x="11502" y="4144"/>
                    </a:lnTo>
                    <a:lnTo>
                      <a:pt x="11357" y="4144"/>
                    </a:lnTo>
                    <a:lnTo>
                      <a:pt x="11357" y="4299"/>
                    </a:lnTo>
                    <a:lnTo>
                      <a:pt x="11357" y="4144"/>
                    </a:lnTo>
                    <a:lnTo>
                      <a:pt x="11648" y="4144"/>
                    </a:lnTo>
                    <a:lnTo>
                      <a:pt x="11648" y="4014"/>
                    </a:lnTo>
                    <a:lnTo>
                      <a:pt x="11769" y="4014"/>
                    </a:lnTo>
                    <a:lnTo>
                      <a:pt x="11769" y="3859"/>
                    </a:lnTo>
                    <a:lnTo>
                      <a:pt x="11769" y="4014"/>
                    </a:lnTo>
                    <a:lnTo>
                      <a:pt x="12059" y="4014"/>
                    </a:lnTo>
                    <a:lnTo>
                      <a:pt x="12059" y="3859"/>
                    </a:lnTo>
                    <a:lnTo>
                      <a:pt x="11914" y="3859"/>
                    </a:lnTo>
                    <a:lnTo>
                      <a:pt x="12059" y="3704"/>
                    </a:lnTo>
                    <a:lnTo>
                      <a:pt x="12059" y="3859"/>
                    </a:lnTo>
                    <a:lnTo>
                      <a:pt x="12204" y="3859"/>
                    </a:lnTo>
                    <a:lnTo>
                      <a:pt x="12204" y="3704"/>
                    </a:lnTo>
                    <a:lnTo>
                      <a:pt x="12059" y="3704"/>
                    </a:lnTo>
                    <a:lnTo>
                      <a:pt x="12204" y="3548"/>
                    </a:lnTo>
                    <a:lnTo>
                      <a:pt x="12326" y="3548"/>
                    </a:lnTo>
                    <a:lnTo>
                      <a:pt x="12471" y="3419"/>
                    </a:lnTo>
                    <a:lnTo>
                      <a:pt x="12616" y="3263"/>
                    </a:lnTo>
                    <a:lnTo>
                      <a:pt x="12616" y="3419"/>
                    </a:lnTo>
                    <a:lnTo>
                      <a:pt x="12471" y="3419"/>
                    </a:lnTo>
                    <a:lnTo>
                      <a:pt x="12471" y="3548"/>
                    </a:lnTo>
                    <a:lnTo>
                      <a:pt x="12616" y="3548"/>
                    </a:lnTo>
                    <a:lnTo>
                      <a:pt x="12616" y="3419"/>
                    </a:lnTo>
                    <a:lnTo>
                      <a:pt x="12737" y="3419"/>
                    </a:lnTo>
                    <a:lnTo>
                      <a:pt x="12737" y="3704"/>
                    </a:lnTo>
                    <a:lnTo>
                      <a:pt x="12883" y="3704"/>
                    </a:lnTo>
                    <a:lnTo>
                      <a:pt x="12883" y="3548"/>
                    </a:lnTo>
                    <a:lnTo>
                      <a:pt x="13028" y="3548"/>
                    </a:lnTo>
                    <a:lnTo>
                      <a:pt x="13028" y="3704"/>
                    </a:lnTo>
                    <a:lnTo>
                      <a:pt x="12883" y="3704"/>
                    </a:lnTo>
                    <a:lnTo>
                      <a:pt x="13028" y="3704"/>
                    </a:lnTo>
                    <a:lnTo>
                      <a:pt x="13028" y="3859"/>
                    </a:lnTo>
                    <a:lnTo>
                      <a:pt x="13028" y="3704"/>
                    </a:lnTo>
                    <a:lnTo>
                      <a:pt x="13028" y="3859"/>
                    </a:lnTo>
                    <a:lnTo>
                      <a:pt x="13173" y="3859"/>
                    </a:lnTo>
                    <a:lnTo>
                      <a:pt x="13173" y="3704"/>
                    </a:lnTo>
                    <a:lnTo>
                      <a:pt x="13028" y="3704"/>
                    </a:lnTo>
                    <a:lnTo>
                      <a:pt x="13028" y="3263"/>
                    </a:lnTo>
                    <a:lnTo>
                      <a:pt x="12883" y="3263"/>
                    </a:lnTo>
                    <a:lnTo>
                      <a:pt x="12737" y="3108"/>
                    </a:lnTo>
                    <a:lnTo>
                      <a:pt x="12616" y="3108"/>
                    </a:lnTo>
                    <a:lnTo>
                      <a:pt x="12616" y="2978"/>
                    </a:lnTo>
                    <a:lnTo>
                      <a:pt x="12616" y="3108"/>
                    </a:lnTo>
                    <a:lnTo>
                      <a:pt x="12616" y="2823"/>
                    </a:lnTo>
                    <a:lnTo>
                      <a:pt x="12737" y="2823"/>
                    </a:lnTo>
                    <a:lnTo>
                      <a:pt x="12737" y="2978"/>
                    </a:lnTo>
                    <a:lnTo>
                      <a:pt x="13439" y="2978"/>
                    </a:lnTo>
                    <a:lnTo>
                      <a:pt x="13439" y="2823"/>
                    </a:lnTo>
                    <a:lnTo>
                      <a:pt x="13706" y="2823"/>
                    </a:lnTo>
                    <a:lnTo>
                      <a:pt x="13706" y="2978"/>
                    </a:lnTo>
                    <a:lnTo>
                      <a:pt x="13996" y="2978"/>
                    </a:lnTo>
                    <a:lnTo>
                      <a:pt x="13996" y="2823"/>
                    </a:lnTo>
                    <a:lnTo>
                      <a:pt x="13585" y="2823"/>
                    </a:lnTo>
                    <a:lnTo>
                      <a:pt x="13585" y="2668"/>
                    </a:lnTo>
                    <a:lnTo>
                      <a:pt x="13706" y="2668"/>
                    </a:lnTo>
                    <a:lnTo>
                      <a:pt x="13706" y="2227"/>
                    </a:lnTo>
                    <a:lnTo>
                      <a:pt x="13585" y="2227"/>
                    </a:lnTo>
                    <a:lnTo>
                      <a:pt x="13585" y="1787"/>
                    </a:lnTo>
                    <a:lnTo>
                      <a:pt x="13706" y="1787"/>
                    </a:lnTo>
                    <a:lnTo>
                      <a:pt x="13706" y="1502"/>
                    </a:lnTo>
                    <a:lnTo>
                      <a:pt x="13851" y="1347"/>
                    </a:lnTo>
                    <a:lnTo>
                      <a:pt x="13851" y="1191"/>
                    </a:lnTo>
                    <a:lnTo>
                      <a:pt x="13996" y="1191"/>
                    </a:lnTo>
                    <a:lnTo>
                      <a:pt x="13996" y="906"/>
                    </a:lnTo>
                    <a:lnTo>
                      <a:pt x="14142" y="906"/>
                    </a:lnTo>
                    <a:lnTo>
                      <a:pt x="14142" y="751"/>
                    </a:lnTo>
                    <a:lnTo>
                      <a:pt x="14263" y="751"/>
                    </a:lnTo>
                    <a:lnTo>
                      <a:pt x="14263" y="596"/>
                    </a:lnTo>
                    <a:lnTo>
                      <a:pt x="14408" y="466"/>
                    </a:lnTo>
                    <a:lnTo>
                      <a:pt x="14408" y="311"/>
                    </a:lnTo>
                    <a:lnTo>
                      <a:pt x="14553" y="311"/>
                    </a:lnTo>
                    <a:lnTo>
                      <a:pt x="14553" y="155"/>
                    </a:lnTo>
                    <a:lnTo>
                      <a:pt x="14674" y="155"/>
                    </a:lnTo>
                    <a:lnTo>
                      <a:pt x="14674" y="311"/>
                    </a:lnTo>
                    <a:lnTo>
                      <a:pt x="14674" y="155"/>
                    </a:lnTo>
                    <a:lnTo>
                      <a:pt x="14820" y="155"/>
                    </a:lnTo>
                    <a:lnTo>
                      <a:pt x="14820" y="0"/>
                    </a:lnTo>
                    <a:lnTo>
                      <a:pt x="15110" y="0"/>
                    </a:lnTo>
                    <a:lnTo>
                      <a:pt x="15110" y="155"/>
                    </a:lnTo>
                    <a:lnTo>
                      <a:pt x="15231" y="0"/>
                    </a:lnTo>
                    <a:lnTo>
                      <a:pt x="15377" y="0"/>
                    </a:lnTo>
                    <a:lnTo>
                      <a:pt x="15377" y="311"/>
                    </a:lnTo>
                    <a:lnTo>
                      <a:pt x="15934" y="311"/>
                    </a:lnTo>
                    <a:lnTo>
                      <a:pt x="15934" y="596"/>
                    </a:lnTo>
                    <a:lnTo>
                      <a:pt x="16079" y="596"/>
                    </a:lnTo>
                    <a:lnTo>
                      <a:pt x="16079" y="751"/>
                    </a:lnTo>
                    <a:lnTo>
                      <a:pt x="15788" y="751"/>
                    </a:lnTo>
                    <a:lnTo>
                      <a:pt x="15788" y="1036"/>
                    </a:lnTo>
                    <a:lnTo>
                      <a:pt x="15643" y="1036"/>
                    </a:lnTo>
                    <a:lnTo>
                      <a:pt x="15643" y="1191"/>
                    </a:lnTo>
                    <a:lnTo>
                      <a:pt x="15377" y="1191"/>
                    </a:lnTo>
                    <a:lnTo>
                      <a:pt x="15377" y="1347"/>
                    </a:lnTo>
                    <a:lnTo>
                      <a:pt x="15231" y="1347"/>
                    </a:lnTo>
                    <a:lnTo>
                      <a:pt x="15934" y="1347"/>
                    </a:lnTo>
                    <a:lnTo>
                      <a:pt x="15934" y="1191"/>
                    </a:lnTo>
                    <a:lnTo>
                      <a:pt x="15934" y="1502"/>
                    </a:lnTo>
                    <a:lnTo>
                      <a:pt x="15788" y="1502"/>
                    </a:lnTo>
                    <a:lnTo>
                      <a:pt x="15788" y="1632"/>
                    </a:lnTo>
                    <a:lnTo>
                      <a:pt x="15788" y="1502"/>
                    </a:lnTo>
                    <a:lnTo>
                      <a:pt x="16079" y="1502"/>
                    </a:lnTo>
                    <a:lnTo>
                      <a:pt x="16079" y="1347"/>
                    </a:lnTo>
                    <a:lnTo>
                      <a:pt x="16345" y="1347"/>
                    </a:lnTo>
                    <a:lnTo>
                      <a:pt x="16345" y="1502"/>
                    </a:lnTo>
                    <a:lnTo>
                      <a:pt x="16491" y="1502"/>
                    </a:lnTo>
                    <a:lnTo>
                      <a:pt x="16491" y="1347"/>
                    </a:lnTo>
                    <a:lnTo>
                      <a:pt x="16345" y="1347"/>
                    </a:lnTo>
                    <a:lnTo>
                      <a:pt x="16612" y="1347"/>
                    </a:lnTo>
                    <a:lnTo>
                      <a:pt x="16612" y="1502"/>
                    </a:lnTo>
                    <a:lnTo>
                      <a:pt x="16757" y="1502"/>
                    </a:lnTo>
                    <a:lnTo>
                      <a:pt x="16757" y="1787"/>
                    </a:lnTo>
                    <a:lnTo>
                      <a:pt x="16612" y="1787"/>
                    </a:lnTo>
                    <a:lnTo>
                      <a:pt x="16612" y="2072"/>
                    </a:lnTo>
                    <a:lnTo>
                      <a:pt x="16491" y="2072"/>
                    </a:lnTo>
                    <a:lnTo>
                      <a:pt x="16491" y="2383"/>
                    </a:lnTo>
                    <a:lnTo>
                      <a:pt x="16345" y="2383"/>
                    </a:lnTo>
                    <a:lnTo>
                      <a:pt x="16345" y="2538"/>
                    </a:lnTo>
                    <a:lnTo>
                      <a:pt x="16757" y="2538"/>
                    </a:lnTo>
                    <a:lnTo>
                      <a:pt x="16757" y="2383"/>
                    </a:lnTo>
                    <a:lnTo>
                      <a:pt x="17169" y="2383"/>
                    </a:lnTo>
                    <a:lnTo>
                      <a:pt x="17169" y="2072"/>
                    </a:lnTo>
                    <a:lnTo>
                      <a:pt x="17048" y="1942"/>
                    </a:lnTo>
                    <a:lnTo>
                      <a:pt x="17580" y="1942"/>
                    </a:lnTo>
                    <a:lnTo>
                      <a:pt x="17580" y="1787"/>
                    </a:lnTo>
                    <a:lnTo>
                      <a:pt x="18283" y="1787"/>
                    </a:lnTo>
                    <a:lnTo>
                      <a:pt x="18283" y="1632"/>
                    </a:lnTo>
                    <a:lnTo>
                      <a:pt x="18694" y="1632"/>
                    </a:lnTo>
                    <a:lnTo>
                      <a:pt x="18694" y="1787"/>
                    </a:lnTo>
                    <a:lnTo>
                      <a:pt x="18694" y="1632"/>
                    </a:lnTo>
                    <a:lnTo>
                      <a:pt x="18839" y="1632"/>
                    </a:lnTo>
                    <a:lnTo>
                      <a:pt x="18839" y="1787"/>
                    </a:lnTo>
                    <a:lnTo>
                      <a:pt x="18985" y="1787"/>
                    </a:lnTo>
                    <a:lnTo>
                      <a:pt x="18839" y="1787"/>
                    </a:lnTo>
                    <a:lnTo>
                      <a:pt x="18839" y="1942"/>
                    </a:lnTo>
                    <a:lnTo>
                      <a:pt x="19251" y="1942"/>
                    </a:lnTo>
                    <a:lnTo>
                      <a:pt x="19251" y="2227"/>
                    </a:lnTo>
                    <a:lnTo>
                      <a:pt x="19396" y="2227"/>
                    </a:lnTo>
                    <a:lnTo>
                      <a:pt x="19396" y="2072"/>
                    </a:lnTo>
                    <a:lnTo>
                      <a:pt x="19396" y="2227"/>
                    </a:lnTo>
                    <a:lnTo>
                      <a:pt x="19517" y="2227"/>
                    </a:lnTo>
                    <a:lnTo>
                      <a:pt x="19517" y="2383"/>
                    </a:lnTo>
                    <a:lnTo>
                      <a:pt x="19663" y="2383"/>
                    </a:lnTo>
                    <a:lnTo>
                      <a:pt x="19663" y="2668"/>
                    </a:lnTo>
                    <a:lnTo>
                      <a:pt x="19808" y="2668"/>
                    </a:lnTo>
                    <a:lnTo>
                      <a:pt x="19808" y="2823"/>
                    </a:lnTo>
                    <a:lnTo>
                      <a:pt x="19663" y="2823"/>
                    </a:lnTo>
                    <a:lnTo>
                      <a:pt x="19663" y="2978"/>
                    </a:lnTo>
                    <a:lnTo>
                      <a:pt x="19808" y="2978"/>
                    </a:lnTo>
                    <a:lnTo>
                      <a:pt x="19808" y="2823"/>
                    </a:lnTo>
                    <a:lnTo>
                      <a:pt x="19953" y="2823"/>
                    </a:lnTo>
                    <a:lnTo>
                      <a:pt x="19808" y="2668"/>
                    </a:lnTo>
                    <a:lnTo>
                      <a:pt x="19953" y="2668"/>
                    </a:lnTo>
                    <a:lnTo>
                      <a:pt x="19953" y="2538"/>
                    </a:lnTo>
                    <a:lnTo>
                      <a:pt x="19808" y="2538"/>
                    </a:lnTo>
                    <a:lnTo>
                      <a:pt x="19953" y="2538"/>
                    </a:lnTo>
                    <a:lnTo>
                      <a:pt x="19953" y="2383"/>
                    </a:lnTo>
                    <a:lnTo>
                      <a:pt x="19953" y="2538"/>
                    </a:lnTo>
                    <a:lnTo>
                      <a:pt x="20074" y="2538"/>
                    </a:lnTo>
                    <a:lnTo>
                      <a:pt x="20074" y="2823"/>
                    </a:lnTo>
                    <a:lnTo>
                      <a:pt x="20220" y="2823"/>
                    </a:lnTo>
                    <a:lnTo>
                      <a:pt x="20220" y="3263"/>
                    </a:lnTo>
                    <a:lnTo>
                      <a:pt x="20365" y="3263"/>
                    </a:lnTo>
                    <a:lnTo>
                      <a:pt x="20365" y="3108"/>
                    </a:lnTo>
                    <a:lnTo>
                      <a:pt x="20220" y="3108"/>
                    </a:lnTo>
                    <a:lnTo>
                      <a:pt x="20365" y="3108"/>
                    </a:lnTo>
                    <a:lnTo>
                      <a:pt x="20365" y="2978"/>
                    </a:lnTo>
                    <a:lnTo>
                      <a:pt x="20365" y="3108"/>
                    </a:lnTo>
                    <a:lnTo>
                      <a:pt x="20486" y="3108"/>
                    </a:lnTo>
                    <a:lnTo>
                      <a:pt x="20486" y="3704"/>
                    </a:lnTo>
                    <a:lnTo>
                      <a:pt x="20365" y="3859"/>
                    </a:lnTo>
                    <a:lnTo>
                      <a:pt x="20365" y="3548"/>
                    </a:lnTo>
                    <a:lnTo>
                      <a:pt x="20074" y="3548"/>
                    </a:lnTo>
                    <a:lnTo>
                      <a:pt x="20074" y="3704"/>
                    </a:lnTo>
                    <a:lnTo>
                      <a:pt x="20074" y="3548"/>
                    </a:lnTo>
                    <a:lnTo>
                      <a:pt x="19953" y="3548"/>
                    </a:lnTo>
                    <a:lnTo>
                      <a:pt x="19953" y="3419"/>
                    </a:lnTo>
                    <a:lnTo>
                      <a:pt x="19663" y="3419"/>
                    </a:lnTo>
                    <a:lnTo>
                      <a:pt x="19808" y="3548"/>
                    </a:lnTo>
                    <a:lnTo>
                      <a:pt x="19953" y="3548"/>
                    </a:lnTo>
                    <a:lnTo>
                      <a:pt x="19953" y="3704"/>
                    </a:lnTo>
                    <a:lnTo>
                      <a:pt x="20074" y="3704"/>
                    </a:lnTo>
                    <a:lnTo>
                      <a:pt x="19953" y="3859"/>
                    </a:lnTo>
                    <a:lnTo>
                      <a:pt x="19953" y="4014"/>
                    </a:lnTo>
                    <a:lnTo>
                      <a:pt x="20074" y="4014"/>
                    </a:lnTo>
                    <a:lnTo>
                      <a:pt x="20074" y="3859"/>
                    </a:lnTo>
                    <a:lnTo>
                      <a:pt x="20220" y="3704"/>
                    </a:lnTo>
                    <a:lnTo>
                      <a:pt x="20220" y="3859"/>
                    </a:lnTo>
                    <a:lnTo>
                      <a:pt x="20365" y="3859"/>
                    </a:lnTo>
                    <a:lnTo>
                      <a:pt x="20365" y="4014"/>
                    </a:lnTo>
                    <a:lnTo>
                      <a:pt x="20486" y="4014"/>
                    </a:lnTo>
                    <a:lnTo>
                      <a:pt x="20486" y="4740"/>
                    </a:lnTo>
                    <a:lnTo>
                      <a:pt x="20365" y="4740"/>
                    </a:lnTo>
                    <a:lnTo>
                      <a:pt x="20365" y="5050"/>
                    </a:lnTo>
                    <a:lnTo>
                      <a:pt x="20220" y="5050"/>
                    </a:lnTo>
                    <a:lnTo>
                      <a:pt x="20220" y="5180"/>
                    </a:lnTo>
                    <a:lnTo>
                      <a:pt x="20074" y="5335"/>
                    </a:lnTo>
                    <a:lnTo>
                      <a:pt x="19953" y="5335"/>
                    </a:lnTo>
                    <a:lnTo>
                      <a:pt x="19953" y="5620"/>
                    </a:lnTo>
                    <a:lnTo>
                      <a:pt x="19808" y="5620"/>
                    </a:lnTo>
                    <a:lnTo>
                      <a:pt x="19808" y="5776"/>
                    </a:lnTo>
                    <a:lnTo>
                      <a:pt x="19953" y="5776"/>
                    </a:lnTo>
                    <a:lnTo>
                      <a:pt x="19808" y="5776"/>
                    </a:lnTo>
                    <a:lnTo>
                      <a:pt x="19808" y="5931"/>
                    </a:lnTo>
                    <a:lnTo>
                      <a:pt x="19663" y="5931"/>
                    </a:lnTo>
                    <a:lnTo>
                      <a:pt x="19663" y="5776"/>
                    </a:lnTo>
                    <a:lnTo>
                      <a:pt x="19663" y="5931"/>
                    </a:lnTo>
                    <a:lnTo>
                      <a:pt x="19517" y="5931"/>
                    </a:lnTo>
                    <a:lnTo>
                      <a:pt x="19517" y="6086"/>
                    </a:lnTo>
                    <a:lnTo>
                      <a:pt x="19396" y="6086"/>
                    </a:lnTo>
                    <a:lnTo>
                      <a:pt x="19517" y="6216"/>
                    </a:lnTo>
                    <a:lnTo>
                      <a:pt x="19396" y="6216"/>
                    </a:lnTo>
                    <a:lnTo>
                      <a:pt x="19251" y="6371"/>
                    </a:lnTo>
                    <a:lnTo>
                      <a:pt x="19106" y="6371"/>
                    </a:lnTo>
                    <a:lnTo>
                      <a:pt x="19106" y="6656"/>
                    </a:lnTo>
                    <a:lnTo>
                      <a:pt x="18985" y="6656"/>
                    </a:lnTo>
                    <a:lnTo>
                      <a:pt x="18839" y="6812"/>
                    </a:lnTo>
                    <a:lnTo>
                      <a:pt x="18694" y="6812"/>
                    </a:lnTo>
                    <a:lnTo>
                      <a:pt x="18694" y="6967"/>
                    </a:lnTo>
                    <a:lnTo>
                      <a:pt x="18839" y="6967"/>
                    </a:lnTo>
                    <a:lnTo>
                      <a:pt x="18839" y="6812"/>
                    </a:lnTo>
                    <a:lnTo>
                      <a:pt x="18985" y="6812"/>
                    </a:lnTo>
                    <a:lnTo>
                      <a:pt x="18985" y="7122"/>
                    </a:lnTo>
                    <a:lnTo>
                      <a:pt x="18839" y="7122"/>
                    </a:lnTo>
                    <a:lnTo>
                      <a:pt x="18839" y="7252"/>
                    </a:lnTo>
                    <a:lnTo>
                      <a:pt x="18694" y="7407"/>
                    </a:lnTo>
                    <a:lnTo>
                      <a:pt x="18549" y="7407"/>
                    </a:lnTo>
                    <a:lnTo>
                      <a:pt x="18549" y="7563"/>
                    </a:lnTo>
                    <a:lnTo>
                      <a:pt x="18428" y="7563"/>
                    </a:lnTo>
                    <a:lnTo>
                      <a:pt x="18428" y="7692"/>
                    </a:lnTo>
                    <a:lnTo>
                      <a:pt x="18283" y="7847"/>
                    </a:lnTo>
                    <a:lnTo>
                      <a:pt x="18283" y="8132"/>
                    </a:lnTo>
                    <a:lnTo>
                      <a:pt x="18137" y="8132"/>
                    </a:lnTo>
                    <a:lnTo>
                      <a:pt x="18137" y="8443"/>
                    </a:lnTo>
                    <a:lnTo>
                      <a:pt x="18016" y="8288"/>
                    </a:lnTo>
                    <a:lnTo>
                      <a:pt x="18016" y="8443"/>
                    </a:lnTo>
                    <a:lnTo>
                      <a:pt x="17726" y="8443"/>
                    </a:lnTo>
                    <a:lnTo>
                      <a:pt x="17580" y="8599"/>
                    </a:lnTo>
                    <a:lnTo>
                      <a:pt x="17580" y="8443"/>
                    </a:lnTo>
                    <a:lnTo>
                      <a:pt x="17580" y="8728"/>
                    </a:lnTo>
                    <a:lnTo>
                      <a:pt x="17459" y="8883"/>
                    </a:lnTo>
                    <a:lnTo>
                      <a:pt x="17459" y="9168"/>
                    </a:lnTo>
                    <a:lnTo>
                      <a:pt x="17169" y="9168"/>
                    </a:lnTo>
                    <a:lnTo>
                      <a:pt x="17048" y="9324"/>
                    </a:lnTo>
                    <a:lnTo>
                      <a:pt x="17048" y="9635"/>
                    </a:lnTo>
                    <a:lnTo>
                      <a:pt x="16902" y="9764"/>
                    </a:lnTo>
                    <a:lnTo>
                      <a:pt x="17048" y="9764"/>
                    </a:lnTo>
                    <a:lnTo>
                      <a:pt x="17048" y="9919"/>
                    </a:lnTo>
                    <a:lnTo>
                      <a:pt x="16902" y="9919"/>
                    </a:lnTo>
                    <a:lnTo>
                      <a:pt x="16902" y="10204"/>
                    </a:lnTo>
                    <a:lnTo>
                      <a:pt x="16757" y="10204"/>
                    </a:lnTo>
                    <a:lnTo>
                      <a:pt x="16757" y="10360"/>
                    </a:lnTo>
                    <a:lnTo>
                      <a:pt x="16612" y="10360"/>
                    </a:lnTo>
                    <a:lnTo>
                      <a:pt x="16612" y="10515"/>
                    </a:lnTo>
                    <a:lnTo>
                      <a:pt x="16757" y="10515"/>
                    </a:lnTo>
                    <a:lnTo>
                      <a:pt x="16902" y="10360"/>
                    </a:lnTo>
                    <a:lnTo>
                      <a:pt x="16902" y="10204"/>
                    </a:lnTo>
                    <a:lnTo>
                      <a:pt x="17048" y="10204"/>
                    </a:lnTo>
                    <a:lnTo>
                      <a:pt x="17048" y="10075"/>
                    </a:lnTo>
                    <a:lnTo>
                      <a:pt x="17169" y="9919"/>
                    </a:lnTo>
                    <a:lnTo>
                      <a:pt x="17314" y="9919"/>
                    </a:lnTo>
                    <a:lnTo>
                      <a:pt x="17169" y="9919"/>
                    </a:lnTo>
                    <a:lnTo>
                      <a:pt x="17169" y="9479"/>
                    </a:lnTo>
                    <a:lnTo>
                      <a:pt x="17459" y="9479"/>
                    </a:lnTo>
                    <a:lnTo>
                      <a:pt x="17459" y="9635"/>
                    </a:lnTo>
                    <a:lnTo>
                      <a:pt x="17580" y="9635"/>
                    </a:lnTo>
                    <a:lnTo>
                      <a:pt x="17580" y="9479"/>
                    </a:lnTo>
                    <a:lnTo>
                      <a:pt x="18016" y="9479"/>
                    </a:lnTo>
                    <a:lnTo>
                      <a:pt x="18137" y="9324"/>
                    </a:lnTo>
                    <a:lnTo>
                      <a:pt x="18137" y="9168"/>
                    </a:lnTo>
                    <a:lnTo>
                      <a:pt x="18283" y="9168"/>
                    </a:lnTo>
                    <a:lnTo>
                      <a:pt x="18283" y="9324"/>
                    </a:lnTo>
                    <a:lnTo>
                      <a:pt x="18428" y="9324"/>
                    </a:lnTo>
                    <a:lnTo>
                      <a:pt x="18428" y="9168"/>
                    </a:lnTo>
                    <a:lnTo>
                      <a:pt x="18283" y="9168"/>
                    </a:lnTo>
                    <a:lnTo>
                      <a:pt x="18428" y="9039"/>
                    </a:lnTo>
                    <a:lnTo>
                      <a:pt x="18694" y="9039"/>
                    </a:lnTo>
                    <a:lnTo>
                      <a:pt x="18694" y="8883"/>
                    </a:lnTo>
                    <a:lnTo>
                      <a:pt x="18839" y="8883"/>
                    </a:lnTo>
                    <a:lnTo>
                      <a:pt x="18839" y="8728"/>
                    </a:lnTo>
                    <a:lnTo>
                      <a:pt x="18985" y="8728"/>
                    </a:lnTo>
                    <a:lnTo>
                      <a:pt x="18839" y="8728"/>
                    </a:lnTo>
                    <a:lnTo>
                      <a:pt x="18839" y="8599"/>
                    </a:lnTo>
                    <a:lnTo>
                      <a:pt x="18694" y="8599"/>
                    </a:lnTo>
                    <a:lnTo>
                      <a:pt x="18694" y="8443"/>
                    </a:lnTo>
                    <a:lnTo>
                      <a:pt x="18839" y="8443"/>
                    </a:lnTo>
                    <a:lnTo>
                      <a:pt x="18839" y="8599"/>
                    </a:lnTo>
                    <a:lnTo>
                      <a:pt x="18985" y="8728"/>
                    </a:lnTo>
                    <a:lnTo>
                      <a:pt x="19106" y="8728"/>
                    </a:lnTo>
                    <a:lnTo>
                      <a:pt x="19106" y="8599"/>
                    </a:lnTo>
                    <a:lnTo>
                      <a:pt x="19251" y="8599"/>
                    </a:lnTo>
                    <a:lnTo>
                      <a:pt x="19251" y="8288"/>
                    </a:lnTo>
                    <a:lnTo>
                      <a:pt x="19396" y="8288"/>
                    </a:lnTo>
                    <a:lnTo>
                      <a:pt x="19396" y="8132"/>
                    </a:lnTo>
                    <a:lnTo>
                      <a:pt x="19663" y="8132"/>
                    </a:lnTo>
                    <a:lnTo>
                      <a:pt x="19663" y="800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45" name="Shape 2971"/>
              <p:cNvSpPr/>
              <p:nvPr/>
            </p:nvSpPr>
            <p:spPr>
              <a:xfrm>
                <a:off x="13255095" y="4058667"/>
                <a:ext cx="372620" cy="7004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051" y="0"/>
                    </a:moveTo>
                    <a:lnTo>
                      <a:pt x="11553" y="0"/>
                    </a:lnTo>
                    <a:lnTo>
                      <a:pt x="11553" y="267"/>
                    </a:lnTo>
                    <a:lnTo>
                      <a:pt x="12474" y="267"/>
                    </a:lnTo>
                    <a:lnTo>
                      <a:pt x="12474" y="490"/>
                    </a:lnTo>
                    <a:lnTo>
                      <a:pt x="12977" y="490"/>
                    </a:lnTo>
                    <a:lnTo>
                      <a:pt x="12977" y="757"/>
                    </a:lnTo>
                    <a:lnTo>
                      <a:pt x="13395" y="1024"/>
                    </a:lnTo>
                    <a:lnTo>
                      <a:pt x="13395" y="1247"/>
                    </a:lnTo>
                    <a:lnTo>
                      <a:pt x="13898" y="1247"/>
                    </a:lnTo>
                    <a:lnTo>
                      <a:pt x="14400" y="1024"/>
                    </a:lnTo>
                    <a:lnTo>
                      <a:pt x="14400" y="757"/>
                    </a:lnTo>
                    <a:lnTo>
                      <a:pt x="15321" y="757"/>
                    </a:lnTo>
                    <a:lnTo>
                      <a:pt x="15321" y="1024"/>
                    </a:lnTo>
                    <a:lnTo>
                      <a:pt x="15823" y="1024"/>
                    </a:lnTo>
                    <a:lnTo>
                      <a:pt x="15823" y="1247"/>
                    </a:lnTo>
                    <a:lnTo>
                      <a:pt x="16326" y="1247"/>
                    </a:lnTo>
                    <a:lnTo>
                      <a:pt x="16744" y="1514"/>
                    </a:lnTo>
                    <a:lnTo>
                      <a:pt x="17247" y="1781"/>
                    </a:lnTo>
                    <a:lnTo>
                      <a:pt x="17247" y="2539"/>
                    </a:lnTo>
                    <a:lnTo>
                      <a:pt x="15321" y="2539"/>
                    </a:lnTo>
                    <a:lnTo>
                      <a:pt x="15321" y="2806"/>
                    </a:lnTo>
                    <a:lnTo>
                      <a:pt x="14902" y="2806"/>
                    </a:lnTo>
                    <a:lnTo>
                      <a:pt x="14902" y="3830"/>
                    </a:lnTo>
                    <a:lnTo>
                      <a:pt x="15321" y="3830"/>
                    </a:lnTo>
                    <a:lnTo>
                      <a:pt x="15321" y="4320"/>
                    </a:lnTo>
                    <a:lnTo>
                      <a:pt x="15823" y="4320"/>
                    </a:lnTo>
                    <a:lnTo>
                      <a:pt x="15823" y="5077"/>
                    </a:lnTo>
                    <a:lnTo>
                      <a:pt x="16326" y="5077"/>
                    </a:lnTo>
                    <a:lnTo>
                      <a:pt x="16326" y="5344"/>
                    </a:lnTo>
                    <a:lnTo>
                      <a:pt x="16744" y="5344"/>
                    </a:lnTo>
                    <a:lnTo>
                      <a:pt x="16744" y="5612"/>
                    </a:lnTo>
                    <a:lnTo>
                      <a:pt x="17247" y="5612"/>
                    </a:lnTo>
                    <a:lnTo>
                      <a:pt x="17247" y="5834"/>
                    </a:lnTo>
                    <a:lnTo>
                      <a:pt x="17749" y="5834"/>
                    </a:lnTo>
                    <a:lnTo>
                      <a:pt x="18251" y="6101"/>
                    </a:lnTo>
                    <a:lnTo>
                      <a:pt x="19674" y="6101"/>
                    </a:lnTo>
                    <a:lnTo>
                      <a:pt x="19674" y="6369"/>
                    </a:lnTo>
                    <a:lnTo>
                      <a:pt x="20093" y="6369"/>
                    </a:lnTo>
                    <a:lnTo>
                      <a:pt x="20093" y="7616"/>
                    </a:lnTo>
                    <a:lnTo>
                      <a:pt x="19674" y="7616"/>
                    </a:lnTo>
                    <a:lnTo>
                      <a:pt x="19674" y="7883"/>
                    </a:lnTo>
                    <a:lnTo>
                      <a:pt x="19172" y="7883"/>
                    </a:lnTo>
                    <a:lnTo>
                      <a:pt x="19172" y="8150"/>
                    </a:lnTo>
                    <a:lnTo>
                      <a:pt x="18670" y="8150"/>
                    </a:lnTo>
                    <a:lnTo>
                      <a:pt x="18670" y="7883"/>
                    </a:lnTo>
                    <a:lnTo>
                      <a:pt x="18251" y="7883"/>
                    </a:lnTo>
                    <a:lnTo>
                      <a:pt x="18251" y="8150"/>
                    </a:lnTo>
                    <a:lnTo>
                      <a:pt x="17749" y="8373"/>
                    </a:lnTo>
                    <a:lnTo>
                      <a:pt x="17749" y="9130"/>
                    </a:lnTo>
                    <a:lnTo>
                      <a:pt x="17247" y="9130"/>
                    </a:lnTo>
                    <a:lnTo>
                      <a:pt x="17247" y="9664"/>
                    </a:lnTo>
                    <a:lnTo>
                      <a:pt x="17749" y="9664"/>
                    </a:lnTo>
                    <a:lnTo>
                      <a:pt x="17247" y="9932"/>
                    </a:lnTo>
                    <a:lnTo>
                      <a:pt x="17247" y="10421"/>
                    </a:lnTo>
                    <a:lnTo>
                      <a:pt x="17749" y="10689"/>
                    </a:lnTo>
                    <a:lnTo>
                      <a:pt x="17749" y="10911"/>
                    </a:lnTo>
                    <a:lnTo>
                      <a:pt x="18251" y="11179"/>
                    </a:lnTo>
                    <a:lnTo>
                      <a:pt x="18251" y="11446"/>
                    </a:lnTo>
                    <a:lnTo>
                      <a:pt x="18670" y="11446"/>
                    </a:lnTo>
                    <a:lnTo>
                      <a:pt x="18670" y="11713"/>
                    </a:lnTo>
                    <a:lnTo>
                      <a:pt x="18251" y="11713"/>
                    </a:lnTo>
                    <a:lnTo>
                      <a:pt x="18251" y="11446"/>
                    </a:lnTo>
                    <a:lnTo>
                      <a:pt x="18251" y="11713"/>
                    </a:lnTo>
                    <a:lnTo>
                      <a:pt x="18670" y="11713"/>
                    </a:lnTo>
                    <a:lnTo>
                      <a:pt x="18670" y="11446"/>
                    </a:lnTo>
                    <a:lnTo>
                      <a:pt x="19172" y="11446"/>
                    </a:lnTo>
                    <a:lnTo>
                      <a:pt x="19172" y="11713"/>
                    </a:lnTo>
                    <a:lnTo>
                      <a:pt x="19674" y="11713"/>
                    </a:lnTo>
                    <a:lnTo>
                      <a:pt x="19674" y="11936"/>
                    </a:lnTo>
                    <a:lnTo>
                      <a:pt x="19172" y="11936"/>
                    </a:lnTo>
                    <a:lnTo>
                      <a:pt x="19674" y="11936"/>
                    </a:lnTo>
                    <a:lnTo>
                      <a:pt x="19674" y="12203"/>
                    </a:lnTo>
                    <a:lnTo>
                      <a:pt x="20595" y="12203"/>
                    </a:lnTo>
                    <a:lnTo>
                      <a:pt x="20595" y="12470"/>
                    </a:lnTo>
                    <a:lnTo>
                      <a:pt x="20595" y="12203"/>
                    </a:lnTo>
                    <a:lnTo>
                      <a:pt x="20595" y="12470"/>
                    </a:lnTo>
                    <a:lnTo>
                      <a:pt x="21600" y="12470"/>
                    </a:lnTo>
                    <a:lnTo>
                      <a:pt x="21600" y="12693"/>
                    </a:lnTo>
                    <a:lnTo>
                      <a:pt x="20093" y="12693"/>
                    </a:lnTo>
                    <a:lnTo>
                      <a:pt x="20093" y="12470"/>
                    </a:lnTo>
                    <a:lnTo>
                      <a:pt x="20093" y="12693"/>
                    </a:lnTo>
                    <a:lnTo>
                      <a:pt x="19674" y="12693"/>
                    </a:lnTo>
                    <a:lnTo>
                      <a:pt x="19674" y="13227"/>
                    </a:lnTo>
                    <a:lnTo>
                      <a:pt x="19172" y="13494"/>
                    </a:lnTo>
                    <a:lnTo>
                      <a:pt x="19172" y="13717"/>
                    </a:lnTo>
                    <a:lnTo>
                      <a:pt x="18670" y="13984"/>
                    </a:lnTo>
                    <a:lnTo>
                      <a:pt x="18670" y="14474"/>
                    </a:lnTo>
                    <a:lnTo>
                      <a:pt x="19172" y="14474"/>
                    </a:lnTo>
                    <a:lnTo>
                      <a:pt x="18670" y="14741"/>
                    </a:lnTo>
                    <a:lnTo>
                      <a:pt x="18251" y="14741"/>
                    </a:lnTo>
                    <a:lnTo>
                      <a:pt x="18251" y="14474"/>
                    </a:lnTo>
                    <a:lnTo>
                      <a:pt x="17749" y="14474"/>
                    </a:lnTo>
                    <a:lnTo>
                      <a:pt x="17749" y="15009"/>
                    </a:lnTo>
                    <a:lnTo>
                      <a:pt x="18251" y="15009"/>
                    </a:lnTo>
                    <a:lnTo>
                      <a:pt x="18251" y="14741"/>
                    </a:lnTo>
                    <a:lnTo>
                      <a:pt x="18670" y="14741"/>
                    </a:lnTo>
                    <a:lnTo>
                      <a:pt x="18670" y="15231"/>
                    </a:lnTo>
                    <a:lnTo>
                      <a:pt x="19172" y="15231"/>
                    </a:lnTo>
                    <a:lnTo>
                      <a:pt x="19172" y="15499"/>
                    </a:lnTo>
                    <a:lnTo>
                      <a:pt x="19674" y="15499"/>
                    </a:lnTo>
                    <a:lnTo>
                      <a:pt x="19172" y="15499"/>
                    </a:lnTo>
                    <a:lnTo>
                      <a:pt x="19172" y="15766"/>
                    </a:lnTo>
                    <a:lnTo>
                      <a:pt x="20093" y="15766"/>
                    </a:lnTo>
                    <a:lnTo>
                      <a:pt x="20093" y="16033"/>
                    </a:lnTo>
                    <a:lnTo>
                      <a:pt x="20595" y="16033"/>
                    </a:lnTo>
                    <a:lnTo>
                      <a:pt x="20595" y="17013"/>
                    </a:lnTo>
                    <a:lnTo>
                      <a:pt x="21098" y="17013"/>
                    </a:lnTo>
                    <a:lnTo>
                      <a:pt x="21098" y="17814"/>
                    </a:lnTo>
                    <a:lnTo>
                      <a:pt x="21600" y="17814"/>
                    </a:lnTo>
                    <a:lnTo>
                      <a:pt x="21098" y="17814"/>
                    </a:lnTo>
                    <a:lnTo>
                      <a:pt x="21600" y="18037"/>
                    </a:lnTo>
                    <a:lnTo>
                      <a:pt x="21098" y="18037"/>
                    </a:lnTo>
                    <a:lnTo>
                      <a:pt x="21600" y="18037"/>
                    </a:lnTo>
                    <a:lnTo>
                      <a:pt x="21600" y="19061"/>
                    </a:lnTo>
                    <a:lnTo>
                      <a:pt x="21098" y="19061"/>
                    </a:lnTo>
                    <a:lnTo>
                      <a:pt x="21098" y="19596"/>
                    </a:lnTo>
                    <a:lnTo>
                      <a:pt x="21600" y="19819"/>
                    </a:lnTo>
                    <a:lnTo>
                      <a:pt x="21098" y="19819"/>
                    </a:lnTo>
                    <a:lnTo>
                      <a:pt x="21098" y="21600"/>
                    </a:lnTo>
                    <a:lnTo>
                      <a:pt x="20595" y="21600"/>
                    </a:lnTo>
                    <a:lnTo>
                      <a:pt x="20595" y="21377"/>
                    </a:lnTo>
                    <a:lnTo>
                      <a:pt x="20093" y="21377"/>
                    </a:lnTo>
                    <a:lnTo>
                      <a:pt x="20093" y="21110"/>
                    </a:lnTo>
                    <a:lnTo>
                      <a:pt x="19172" y="21110"/>
                    </a:lnTo>
                    <a:lnTo>
                      <a:pt x="18670" y="20843"/>
                    </a:lnTo>
                    <a:lnTo>
                      <a:pt x="18670" y="20576"/>
                    </a:lnTo>
                    <a:lnTo>
                      <a:pt x="18251" y="20576"/>
                    </a:lnTo>
                    <a:lnTo>
                      <a:pt x="17749" y="20353"/>
                    </a:lnTo>
                    <a:lnTo>
                      <a:pt x="16744" y="19819"/>
                    </a:lnTo>
                    <a:lnTo>
                      <a:pt x="16744" y="19596"/>
                    </a:lnTo>
                    <a:lnTo>
                      <a:pt x="16326" y="19596"/>
                    </a:lnTo>
                    <a:lnTo>
                      <a:pt x="16326" y="19329"/>
                    </a:lnTo>
                    <a:lnTo>
                      <a:pt x="15823" y="19329"/>
                    </a:lnTo>
                    <a:lnTo>
                      <a:pt x="15823" y="19061"/>
                    </a:lnTo>
                    <a:lnTo>
                      <a:pt x="15321" y="19061"/>
                    </a:lnTo>
                    <a:lnTo>
                      <a:pt x="15321" y="18794"/>
                    </a:lnTo>
                    <a:lnTo>
                      <a:pt x="14400" y="18794"/>
                    </a:lnTo>
                    <a:lnTo>
                      <a:pt x="14400" y="18572"/>
                    </a:lnTo>
                    <a:lnTo>
                      <a:pt x="13898" y="18572"/>
                    </a:lnTo>
                    <a:lnTo>
                      <a:pt x="13898" y="18304"/>
                    </a:lnTo>
                    <a:lnTo>
                      <a:pt x="12977" y="18304"/>
                    </a:lnTo>
                    <a:lnTo>
                      <a:pt x="12977" y="18037"/>
                    </a:lnTo>
                    <a:lnTo>
                      <a:pt x="12474" y="18037"/>
                    </a:lnTo>
                    <a:lnTo>
                      <a:pt x="11972" y="17814"/>
                    </a:lnTo>
                    <a:lnTo>
                      <a:pt x="11553" y="17547"/>
                    </a:lnTo>
                    <a:lnTo>
                      <a:pt x="10549" y="17013"/>
                    </a:lnTo>
                    <a:lnTo>
                      <a:pt x="10549" y="16790"/>
                    </a:lnTo>
                    <a:lnTo>
                      <a:pt x="10047" y="16790"/>
                    </a:lnTo>
                    <a:lnTo>
                      <a:pt x="9628" y="16523"/>
                    </a:lnTo>
                    <a:lnTo>
                      <a:pt x="9126" y="16256"/>
                    </a:lnTo>
                    <a:lnTo>
                      <a:pt x="8623" y="16033"/>
                    </a:lnTo>
                    <a:lnTo>
                      <a:pt x="8205" y="15766"/>
                    </a:lnTo>
                    <a:lnTo>
                      <a:pt x="7702" y="15766"/>
                    </a:lnTo>
                    <a:lnTo>
                      <a:pt x="7702" y="15499"/>
                    </a:lnTo>
                    <a:lnTo>
                      <a:pt x="7200" y="15499"/>
                    </a:lnTo>
                    <a:lnTo>
                      <a:pt x="7200" y="15231"/>
                    </a:lnTo>
                    <a:lnTo>
                      <a:pt x="6698" y="15231"/>
                    </a:lnTo>
                    <a:lnTo>
                      <a:pt x="6698" y="15009"/>
                    </a:lnTo>
                    <a:lnTo>
                      <a:pt x="6279" y="15009"/>
                    </a:lnTo>
                    <a:lnTo>
                      <a:pt x="6279" y="14741"/>
                    </a:lnTo>
                    <a:lnTo>
                      <a:pt x="5274" y="14741"/>
                    </a:lnTo>
                    <a:lnTo>
                      <a:pt x="5274" y="14474"/>
                    </a:lnTo>
                    <a:lnTo>
                      <a:pt x="4772" y="14252"/>
                    </a:lnTo>
                    <a:lnTo>
                      <a:pt x="4353" y="14252"/>
                    </a:lnTo>
                    <a:lnTo>
                      <a:pt x="4353" y="13984"/>
                    </a:lnTo>
                    <a:lnTo>
                      <a:pt x="3851" y="13984"/>
                    </a:lnTo>
                    <a:lnTo>
                      <a:pt x="3851" y="13717"/>
                    </a:lnTo>
                    <a:lnTo>
                      <a:pt x="3349" y="13717"/>
                    </a:lnTo>
                    <a:lnTo>
                      <a:pt x="3349" y="13494"/>
                    </a:lnTo>
                    <a:lnTo>
                      <a:pt x="2930" y="13494"/>
                    </a:lnTo>
                    <a:lnTo>
                      <a:pt x="2930" y="13227"/>
                    </a:lnTo>
                    <a:lnTo>
                      <a:pt x="2428" y="13227"/>
                    </a:lnTo>
                    <a:lnTo>
                      <a:pt x="2428" y="12960"/>
                    </a:lnTo>
                    <a:lnTo>
                      <a:pt x="1926" y="12960"/>
                    </a:lnTo>
                    <a:lnTo>
                      <a:pt x="1926" y="12693"/>
                    </a:lnTo>
                    <a:lnTo>
                      <a:pt x="1423" y="12693"/>
                    </a:lnTo>
                    <a:lnTo>
                      <a:pt x="1423" y="12470"/>
                    </a:lnTo>
                    <a:lnTo>
                      <a:pt x="1005" y="12203"/>
                    </a:lnTo>
                    <a:lnTo>
                      <a:pt x="1005" y="11936"/>
                    </a:lnTo>
                    <a:lnTo>
                      <a:pt x="502" y="11936"/>
                    </a:lnTo>
                    <a:lnTo>
                      <a:pt x="502" y="11446"/>
                    </a:lnTo>
                    <a:lnTo>
                      <a:pt x="0" y="11446"/>
                    </a:lnTo>
                    <a:lnTo>
                      <a:pt x="502" y="11446"/>
                    </a:lnTo>
                    <a:lnTo>
                      <a:pt x="1005" y="11179"/>
                    </a:lnTo>
                    <a:lnTo>
                      <a:pt x="1926" y="11179"/>
                    </a:lnTo>
                    <a:lnTo>
                      <a:pt x="2428" y="10911"/>
                    </a:lnTo>
                    <a:lnTo>
                      <a:pt x="2930" y="10689"/>
                    </a:lnTo>
                    <a:lnTo>
                      <a:pt x="2930" y="10421"/>
                    </a:lnTo>
                    <a:lnTo>
                      <a:pt x="3349" y="10421"/>
                    </a:lnTo>
                    <a:lnTo>
                      <a:pt x="3349" y="10154"/>
                    </a:lnTo>
                    <a:lnTo>
                      <a:pt x="3851" y="10154"/>
                    </a:lnTo>
                    <a:lnTo>
                      <a:pt x="4353" y="9932"/>
                    </a:lnTo>
                    <a:lnTo>
                      <a:pt x="4772" y="9932"/>
                    </a:lnTo>
                    <a:lnTo>
                      <a:pt x="4772" y="9664"/>
                    </a:lnTo>
                    <a:lnTo>
                      <a:pt x="5777" y="9664"/>
                    </a:lnTo>
                    <a:lnTo>
                      <a:pt x="5777" y="9397"/>
                    </a:lnTo>
                    <a:lnTo>
                      <a:pt x="5274" y="9397"/>
                    </a:lnTo>
                    <a:lnTo>
                      <a:pt x="5274" y="7616"/>
                    </a:lnTo>
                    <a:lnTo>
                      <a:pt x="4772" y="7616"/>
                    </a:lnTo>
                    <a:lnTo>
                      <a:pt x="4772" y="7883"/>
                    </a:lnTo>
                    <a:lnTo>
                      <a:pt x="4353" y="7883"/>
                    </a:lnTo>
                    <a:lnTo>
                      <a:pt x="4353" y="8150"/>
                    </a:lnTo>
                    <a:lnTo>
                      <a:pt x="3851" y="8150"/>
                    </a:lnTo>
                    <a:lnTo>
                      <a:pt x="3349" y="7883"/>
                    </a:lnTo>
                    <a:lnTo>
                      <a:pt x="2428" y="7883"/>
                    </a:lnTo>
                    <a:lnTo>
                      <a:pt x="2428" y="7616"/>
                    </a:lnTo>
                    <a:lnTo>
                      <a:pt x="1926" y="7616"/>
                    </a:lnTo>
                    <a:lnTo>
                      <a:pt x="1926" y="7348"/>
                    </a:lnTo>
                    <a:lnTo>
                      <a:pt x="1423" y="7348"/>
                    </a:lnTo>
                    <a:lnTo>
                      <a:pt x="1423" y="7126"/>
                    </a:lnTo>
                    <a:lnTo>
                      <a:pt x="1926" y="7126"/>
                    </a:lnTo>
                    <a:lnTo>
                      <a:pt x="1926" y="6591"/>
                    </a:lnTo>
                    <a:lnTo>
                      <a:pt x="2930" y="6591"/>
                    </a:lnTo>
                    <a:lnTo>
                      <a:pt x="2930" y="6369"/>
                    </a:lnTo>
                    <a:lnTo>
                      <a:pt x="3349" y="6369"/>
                    </a:lnTo>
                    <a:lnTo>
                      <a:pt x="3349" y="6101"/>
                    </a:lnTo>
                    <a:lnTo>
                      <a:pt x="3851" y="6101"/>
                    </a:lnTo>
                    <a:lnTo>
                      <a:pt x="3851" y="6369"/>
                    </a:lnTo>
                    <a:lnTo>
                      <a:pt x="4353" y="6369"/>
                    </a:lnTo>
                    <a:lnTo>
                      <a:pt x="4353" y="6591"/>
                    </a:lnTo>
                    <a:lnTo>
                      <a:pt x="4353" y="6369"/>
                    </a:lnTo>
                    <a:lnTo>
                      <a:pt x="4772" y="6369"/>
                    </a:lnTo>
                    <a:lnTo>
                      <a:pt x="4772" y="6101"/>
                    </a:lnTo>
                    <a:lnTo>
                      <a:pt x="5274" y="5834"/>
                    </a:lnTo>
                    <a:lnTo>
                      <a:pt x="5777" y="5612"/>
                    </a:lnTo>
                    <a:lnTo>
                      <a:pt x="5777" y="5344"/>
                    </a:lnTo>
                    <a:lnTo>
                      <a:pt x="6279" y="5344"/>
                    </a:lnTo>
                    <a:lnTo>
                      <a:pt x="6279" y="5077"/>
                    </a:lnTo>
                    <a:lnTo>
                      <a:pt x="6698" y="4810"/>
                    </a:lnTo>
                    <a:lnTo>
                      <a:pt x="6698" y="4587"/>
                    </a:lnTo>
                    <a:lnTo>
                      <a:pt x="6279" y="4587"/>
                    </a:lnTo>
                    <a:lnTo>
                      <a:pt x="6698" y="4587"/>
                    </a:lnTo>
                    <a:lnTo>
                      <a:pt x="6279" y="4587"/>
                    </a:lnTo>
                    <a:lnTo>
                      <a:pt x="6279" y="3830"/>
                    </a:lnTo>
                    <a:lnTo>
                      <a:pt x="5777" y="3830"/>
                    </a:lnTo>
                    <a:lnTo>
                      <a:pt x="5777" y="3563"/>
                    </a:lnTo>
                    <a:lnTo>
                      <a:pt x="6279" y="3563"/>
                    </a:lnTo>
                    <a:lnTo>
                      <a:pt x="5777" y="3563"/>
                    </a:lnTo>
                    <a:lnTo>
                      <a:pt x="5777" y="2539"/>
                    </a:lnTo>
                    <a:lnTo>
                      <a:pt x="5274" y="2539"/>
                    </a:lnTo>
                    <a:lnTo>
                      <a:pt x="5274" y="2049"/>
                    </a:lnTo>
                    <a:lnTo>
                      <a:pt x="4772" y="2049"/>
                    </a:lnTo>
                    <a:lnTo>
                      <a:pt x="5274" y="1781"/>
                    </a:lnTo>
                    <a:lnTo>
                      <a:pt x="6279" y="1781"/>
                    </a:lnTo>
                    <a:lnTo>
                      <a:pt x="6279" y="1514"/>
                    </a:lnTo>
                    <a:lnTo>
                      <a:pt x="7200" y="1514"/>
                    </a:lnTo>
                    <a:lnTo>
                      <a:pt x="7200" y="1247"/>
                    </a:lnTo>
                    <a:lnTo>
                      <a:pt x="9126" y="1247"/>
                    </a:lnTo>
                    <a:lnTo>
                      <a:pt x="9126" y="1024"/>
                    </a:lnTo>
                    <a:lnTo>
                      <a:pt x="9628" y="757"/>
                    </a:lnTo>
                    <a:lnTo>
                      <a:pt x="9628" y="490"/>
                    </a:lnTo>
                    <a:lnTo>
                      <a:pt x="10047" y="490"/>
                    </a:lnTo>
                    <a:lnTo>
                      <a:pt x="10047" y="267"/>
                    </a:lnTo>
                    <a:lnTo>
                      <a:pt x="10549" y="267"/>
                    </a:lnTo>
                    <a:lnTo>
                      <a:pt x="10549" y="0"/>
                    </a:lnTo>
                    <a:lnTo>
                      <a:pt x="11051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46" name="Shape 2972"/>
              <p:cNvSpPr/>
              <p:nvPr/>
            </p:nvSpPr>
            <p:spPr>
              <a:xfrm>
                <a:off x="12355319" y="3498292"/>
                <a:ext cx="784236" cy="9228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15" y="15042"/>
                    </a:moveTo>
                    <a:lnTo>
                      <a:pt x="676" y="14839"/>
                    </a:lnTo>
                    <a:lnTo>
                      <a:pt x="676" y="14265"/>
                    </a:lnTo>
                    <a:lnTo>
                      <a:pt x="477" y="14265"/>
                    </a:lnTo>
                    <a:lnTo>
                      <a:pt x="477" y="13690"/>
                    </a:lnTo>
                    <a:lnTo>
                      <a:pt x="239" y="13487"/>
                    </a:lnTo>
                    <a:lnTo>
                      <a:pt x="0" y="13487"/>
                    </a:lnTo>
                    <a:lnTo>
                      <a:pt x="239" y="13318"/>
                    </a:lnTo>
                    <a:lnTo>
                      <a:pt x="239" y="13115"/>
                    </a:lnTo>
                    <a:lnTo>
                      <a:pt x="477" y="13115"/>
                    </a:lnTo>
                    <a:lnTo>
                      <a:pt x="477" y="12135"/>
                    </a:lnTo>
                    <a:lnTo>
                      <a:pt x="676" y="12135"/>
                    </a:lnTo>
                    <a:lnTo>
                      <a:pt x="676" y="11966"/>
                    </a:lnTo>
                    <a:lnTo>
                      <a:pt x="1591" y="11966"/>
                    </a:lnTo>
                    <a:lnTo>
                      <a:pt x="1591" y="11561"/>
                    </a:lnTo>
                    <a:lnTo>
                      <a:pt x="1830" y="11392"/>
                    </a:lnTo>
                    <a:lnTo>
                      <a:pt x="1830" y="11561"/>
                    </a:lnTo>
                    <a:lnTo>
                      <a:pt x="2069" y="11763"/>
                    </a:lnTo>
                    <a:lnTo>
                      <a:pt x="2506" y="11763"/>
                    </a:lnTo>
                    <a:lnTo>
                      <a:pt x="2506" y="11392"/>
                    </a:lnTo>
                    <a:lnTo>
                      <a:pt x="2267" y="11392"/>
                    </a:lnTo>
                    <a:lnTo>
                      <a:pt x="2267" y="10783"/>
                    </a:lnTo>
                    <a:lnTo>
                      <a:pt x="1830" y="10783"/>
                    </a:lnTo>
                    <a:lnTo>
                      <a:pt x="1830" y="10208"/>
                    </a:lnTo>
                    <a:lnTo>
                      <a:pt x="2745" y="10208"/>
                    </a:lnTo>
                    <a:lnTo>
                      <a:pt x="2745" y="10039"/>
                    </a:lnTo>
                    <a:lnTo>
                      <a:pt x="2506" y="10039"/>
                    </a:lnTo>
                    <a:lnTo>
                      <a:pt x="2983" y="10039"/>
                    </a:lnTo>
                    <a:lnTo>
                      <a:pt x="2983" y="9837"/>
                    </a:lnTo>
                    <a:lnTo>
                      <a:pt x="3182" y="9837"/>
                    </a:lnTo>
                    <a:lnTo>
                      <a:pt x="3182" y="9431"/>
                    </a:lnTo>
                    <a:lnTo>
                      <a:pt x="3421" y="9431"/>
                    </a:lnTo>
                    <a:lnTo>
                      <a:pt x="3421" y="9262"/>
                    </a:lnTo>
                    <a:lnTo>
                      <a:pt x="3859" y="9262"/>
                    </a:lnTo>
                    <a:lnTo>
                      <a:pt x="3859" y="9634"/>
                    </a:lnTo>
                    <a:lnTo>
                      <a:pt x="4336" y="9634"/>
                    </a:lnTo>
                    <a:lnTo>
                      <a:pt x="4336" y="9837"/>
                    </a:lnTo>
                    <a:lnTo>
                      <a:pt x="4336" y="9634"/>
                    </a:lnTo>
                    <a:lnTo>
                      <a:pt x="4773" y="9634"/>
                    </a:lnTo>
                    <a:lnTo>
                      <a:pt x="4773" y="9431"/>
                    </a:lnTo>
                    <a:lnTo>
                      <a:pt x="4575" y="9262"/>
                    </a:lnTo>
                    <a:lnTo>
                      <a:pt x="4773" y="9059"/>
                    </a:lnTo>
                    <a:lnTo>
                      <a:pt x="5012" y="9059"/>
                    </a:lnTo>
                    <a:lnTo>
                      <a:pt x="5012" y="8856"/>
                    </a:lnTo>
                    <a:lnTo>
                      <a:pt x="5251" y="8856"/>
                    </a:lnTo>
                    <a:lnTo>
                      <a:pt x="5251" y="8687"/>
                    </a:lnTo>
                    <a:lnTo>
                      <a:pt x="5251" y="8856"/>
                    </a:lnTo>
                    <a:lnTo>
                      <a:pt x="5450" y="8856"/>
                    </a:lnTo>
                    <a:lnTo>
                      <a:pt x="5450" y="8687"/>
                    </a:lnTo>
                    <a:lnTo>
                      <a:pt x="5251" y="8485"/>
                    </a:lnTo>
                    <a:lnTo>
                      <a:pt x="5450" y="8485"/>
                    </a:lnTo>
                    <a:lnTo>
                      <a:pt x="5450" y="8079"/>
                    </a:lnTo>
                    <a:lnTo>
                      <a:pt x="5927" y="8079"/>
                    </a:lnTo>
                    <a:lnTo>
                      <a:pt x="5927" y="8282"/>
                    </a:lnTo>
                    <a:lnTo>
                      <a:pt x="6166" y="8282"/>
                    </a:lnTo>
                    <a:lnTo>
                      <a:pt x="6166" y="8079"/>
                    </a:lnTo>
                    <a:lnTo>
                      <a:pt x="6365" y="7910"/>
                    </a:lnTo>
                    <a:lnTo>
                      <a:pt x="6166" y="7910"/>
                    </a:lnTo>
                    <a:lnTo>
                      <a:pt x="6166" y="7707"/>
                    </a:lnTo>
                    <a:lnTo>
                      <a:pt x="5927" y="7707"/>
                    </a:lnTo>
                    <a:lnTo>
                      <a:pt x="6166" y="7707"/>
                    </a:lnTo>
                    <a:lnTo>
                      <a:pt x="6166" y="7132"/>
                    </a:lnTo>
                    <a:lnTo>
                      <a:pt x="5927" y="6930"/>
                    </a:lnTo>
                    <a:lnTo>
                      <a:pt x="5688" y="6930"/>
                    </a:lnTo>
                    <a:lnTo>
                      <a:pt x="5688" y="7132"/>
                    </a:lnTo>
                    <a:lnTo>
                      <a:pt x="5688" y="6930"/>
                    </a:lnTo>
                    <a:lnTo>
                      <a:pt x="5450" y="6930"/>
                    </a:lnTo>
                    <a:lnTo>
                      <a:pt x="5450" y="6761"/>
                    </a:lnTo>
                    <a:lnTo>
                      <a:pt x="5251" y="6761"/>
                    </a:lnTo>
                    <a:lnTo>
                      <a:pt x="5251" y="6355"/>
                    </a:lnTo>
                    <a:lnTo>
                      <a:pt x="5012" y="6355"/>
                    </a:lnTo>
                    <a:lnTo>
                      <a:pt x="5012" y="6152"/>
                    </a:lnTo>
                    <a:lnTo>
                      <a:pt x="5251" y="6152"/>
                    </a:lnTo>
                    <a:lnTo>
                      <a:pt x="5251" y="5780"/>
                    </a:lnTo>
                    <a:lnTo>
                      <a:pt x="5450" y="5780"/>
                    </a:lnTo>
                    <a:lnTo>
                      <a:pt x="5450" y="5408"/>
                    </a:lnTo>
                    <a:lnTo>
                      <a:pt x="5688" y="5408"/>
                    </a:lnTo>
                    <a:lnTo>
                      <a:pt x="5450" y="5206"/>
                    </a:lnTo>
                    <a:lnTo>
                      <a:pt x="5251" y="5206"/>
                    </a:lnTo>
                    <a:lnTo>
                      <a:pt x="5251" y="5003"/>
                    </a:lnTo>
                    <a:lnTo>
                      <a:pt x="5012" y="4800"/>
                    </a:lnTo>
                    <a:lnTo>
                      <a:pt x="5012" y="4631"/>
                    </a:lnTo>
                    <a:lnTo>
                      <a:pt x="4773" y="4631"/>
                    </a:lnTo>
                    <a:lnTo>
                      <a:pt x="4773" y="4225"/>
                    </a:lnTo>
                    <a:lnTo>
                      <a:pt x="5012" y="4225"/>
                    </a:lnTo>
                    <a:lnTo>
                      <a:pt x="5012" y="4056"/>
                    </a:lnTo>
                    <a:lnTo>
                      <a:pt x="5251" y="4056"/>
                    </a:lnTo>
                    <a:lnTo>
                      <a:pt x="5251" y="4225"/>
                    </a:lnTo>
                    <a:lnTo>
                      <a:pt x="5450" y="4225"/>
                    </a:lnTo>
                    <a:lnTo>
                      <a:pt x="5450" y="3651"/>
                    </a:lnTo>
                    <a:lnTo>
                      <a:pt x="5251" y="3651"/>
                    </a:lnTo>
                    <a:lnTo>
                      <a:pt x="5251" y="3448"/>
                    </a:lnTo>
                    <a:lnTo>
                      <a:pt x="5012" y="3448"/>
                    </a:lnTo>
                    <a:lnTo>
                      <a:pt x="5012" y="3076"/>
                    </a:lnTo>
                    <a:lnTo>
                      <a:pt x="5251" y="3076"/>
                    </a:lnTo>
                    <a:lnTo>
                      <a:pt x="5251" y="2873"/>
                    </a:lnTo>
                    <a:lnTo>
                      <a:pt x="5450" y="2873"/>
                    </a:lnTo>
                    <a:lnTo>
                      <a:pt x="5688" y="2704"/>
                    </a:lnTo>
                    <a:lnTo>
                      <a:pt x="5927" y="2704"/>
                    </a:lnTo>
                    <a:lnTo>
                      <a:pt x="5927" y="2501"/>
                    </a:lnTo>
                    <a:lnTo>
                      <a:pt x="6166" y="2501"/>
                    </a:lnTo>
                    <a:lnTo>
                      <a:pt x="6166" y="2299"/>
                    </a:lnTo>
                    <a:lnTo>
                      <a:pt x="6842" y="2299"/>
                    </a:lnTo>
                    <a:lnTo>
                      <a:pt x="6842" y="2096"/>
                    </a:lnTo>
                    <a:lnTo>
                      <a:pt x="7041" y="2096"/>
                    </a:lnTo>
                    <a:lnTo>
                      <a:pt x="7041" y="1724"/>
                    </a:lnTo>
                    <a:lnTo>
                      <a:pt x="7757" y="1724"/>
                    </a:lnTo>
                    <a:lnTo>
                      <a:pt x="7757" y="1927"/>
                    </a:lnTo>
                    <a:lnTo>
                      <a:pt x="8194" y="1927"/>
                    </a:lnTo>
                    <a:lnTo>
                      <a:pt x="8194" y="1149"/>
                    </a:lnTo>
                    <a:lnTo>
                      <a:pt x="8433" y="946"/>
                    </a:lnTo>
                    <a:lnTo>
                      <a:pt x="8433" y="777"/>
                    </a:lnTo>
                    <a:lnTo>
                      <a:pt x="8871" y="777"/>
                    </a:lnTo>
                    <a:lnTo>
                      <a:pt x="8871" y="575"/>
                    </a:lnTo>
                    <a:lnTo>
                      <a:pt x="8433" y="575"/>
                    </a:lnTo>
                    <a:lnTo>
                      <a:pt x="8433" y="372"/>
                    </a:lnTo>
                    <a:lnTo>
                      <a:pt x="8632" y="372"/>
                    </a:lnTo>
                    <a:lnTo>
                      <a:pt x="8433" y="372"/>
                    </a:lnTo>
                    <a:lnTo>
                      <a:pt x="8433" y="169"/>
                    </a:lnTo>
                    <a:lnTo>
                      <a:pt x="8632" y="0"/>
                    </a:lnTo>
                    <a:lnTo>
                      <a:pt x="8632" y="169"/>
                    </a:lnTo>
                    <a:lnTo>
                      <a:pt x="8871" y="169"/>
                    </a:lnTo>
                    <a:lnTo>
                      <a:pt x="8871" y="0"/>
                    </a:lnTo>
                    <a:lnTo>
                      <a:pt x="9547" y="0"/>
                    </a:lnTo>
                    <a:lnTo>
                      <a:pt x="9547" y="777"/>
                    </a:lnTo>
                    <a:lnTo>
                      <a:pt x="9786" y="777"/>
                    </a:lnTo>
                    <a:lnTo>
                      <a:pt x="9786" y="946"/>
                    </a:lnTo>
                    <a:lnTo>
                      <a:pt x="10462" y="946"/>
                    </a:lnTo>
                    <a:lnTo>
                      <a:pt x="10701" y="777"/>
                    </a:lnTo>
                    <a:lnTo>
                      <a:pt x="12053" y="777"/>
                    </a:lnTo>
                    <a:lnTo>
                      <a:pt x="12053" y="946"/>
                    </a:lnTo>
                    <a:lnTo>
                      <a:pt x="12729" y="946"/>
                    </a:lnTo>
                    <a:lnTo>
                      <a:pt x="12968" y="777"/>
                    </a:lnTo>
                    <a:lnTo>
                      <a:pt x="12968" y="575"/>
                    </a:lnTo>
                    <a:lnTo>
                      <a:pt x="13207" y="575"/>
                    </a:lnTo>
                    <a:lnTo>
                      <a:pt x="13445" y="372"/>
                    </a:lnTo>
                    <a:lnTo>
                      <a:pt x="14122" y="372"/>
                    </a:lnTo>
                    <a:lnTo>
                      <a:pt x="14122" y="575"/>
                    </a:lnTo>
                    <a:lnTo>
                      <a:pt x="14798" y="575"/>
                    </a:lnTo>
                    <a:lnTo>
                      <a:pt x="15036" y="372"/>
                    </a:lnTo>
                    <a:lnTo>
                      <a:pt x="15235" y="372"/>
                    </a:lnTo>
                    <a:lnTo>
                      <a:pt x="15235" y="169"/>
                    </a:lnTo>
                    <a:lnTo>
                      <a:pt x="15912" y="169"/>
                    </a:lnTo>
                    <a:lnTo>
                      <a:pt x="15912" y="0"/>
                    </a:lnTo>
                    <a:lnTo>
                      <a:pt x="16150" y="0"/>
                    </a:lnTo>
                    <a:lnTo>
                      <a:pt x="16150" y="169"/>
                    </a:lnTo>
                    <a:lnTo>
                      <a:pt x="16827" y="169"/>
                    </a:lnTo>
                    <a:lnTo>
                      <a:pt x="16827" y="777"/>
                    </a:lnTo>
                    <a:lnTo>
                      <a:pt x="17065" y="777"/>
                    </a:lnTo>
                    <a:lnTo>
                      <a:pt x="16827" y="946"/>
                    </a:lnTo>
                    <a:lnTo>
                      <a:pt x="16827" y="1352"/>
                    </a:lnTo>
                    <a:lnTo>
                      <a:pt x="17304" y="1352"/>
                    </a:lnTo>
                    <a:lnTo>
                      <a:pt x="17304" y="1521"/>
                    </a:lnTo>
                    <a:lnTo>
                      <a:pt x="17503" y="1521"/>
                    </a:lnTo>
                    <a:lnTo>
                      <a:pt x="17304" y="1521"/>
                    </a:lnTo>
                    <a:lnTo>
                      <a:pt x="17304" y="1724"/>
                    </a:lnTo>
                    <a:lnTo>
                      <a:pt x="17503" y="1927"/>
                    </a:lnTo>
                    <a:lnTo>
                      <a:pt x="17980" y="1927"/>
                    </a:lnTo>
                    <a:lnTo>
                      <a:pt x="17980" y="2096"/>
                    </a:lnTo>
                    <a:lnTo>
                      <a:pt x="18219" y="2096"/>
                    </a:lnTo>
                    <a:lnTo>
                      <a:pt x="18219" y="2704"/>
                    </a:lnTo>
                    <a:lnTo>
                      <a:pt x="18418" y="2704"/>
                    </a:lnTo>
                    <a:lnTo>
                      <a:pt x="18656" y="2873"/>
                    </a:lnTo>
                    <a:lnTo>
                      <a:pt x="18656" y="3076"/>
                    </a:lnTo>
                    <a:lnTo>
                      <a:pt x="18418" y="3076"/>
                    </a:lnTo>
                    <a:lnTo>
                      <a:pt x="18656" y="3076"/>
                    </a:lnTo>
                    <a:lnTo>
                      <a:pt x="18656" y="3279"/>
                    </a:lnTo>
                    <a:lnTo>
                      <a:pt x="18418" y="3279"/>
                    </a:lnTo>
                    <a:lnTo>
                      <a:pt x="18418" y="3448"/>
                    </a:lnTo>
                    <a:lnTo>
                      <a:pt x="18656" y="3448"/>
                    </a:lnTo>
                    <a:lnTo>
                      <a:pt x="18656" y="3854"/>
                    </a:lnTo>
                    <a:lnTo>
                      <a:pt x="18895" y="3854"/>
                    </a:lnTo>
                    <a:lnTo>
                      <a:pt x="18895" y="3651"/>
                    </a:lnTo>
                    <a:lnTo>
                      <a:pt x="19333" y="3651"/>
                    </a:lnTo>
                    <a:lnTo>
                      <a:pt x="19333" y="3854"/>
                    </a:lnTo>
                    <a:lnTo>
                      <a:pt x="19571" y="3854"/>
                    </a:lnTo>
                    <a:lnTo>
                      <a:pt x="19571" y="3651"/>
                    </a:lnTo>
                    <a:lnTo>
                      <a:pt x="19810" y="3854"/>
                    </a:lnTo>
                    <a:lnTo>
                      <a:pt x="19810" y="4056"/>
                    </a:lnTo>
                    <a:lnTo>
                      <a:pt x="20009" y="4056"/>
                    </a:lnTo>
                    <a:lnTo>
                      <a:pt x="20009" y="4225"/>
                    </a:lnTo>
                    <a:lnTo>
                      <a:pt x="20248" y="4225"/>
                    </a:lnTo>
                    <a:lnTo>
                      <a:pt x="20248" y="4428"/>
                    </a:lnTo>
                    <a:lnTo>
                      <a:pt x="20486" y="4428"/>
                    </a:lnTo>
                    <a:lnTo>
                      <a:pt x="20486" y="4631"/>
                    </a:lnTo>
                    <a:lnTo>
                      <a:pt x="20248" y="4631"/>
                    </a:lnTo>
                    <a:lnTo>
                      <a:pt x="20248" y="5003"/>
                    </a:lnTo>
                    <a:lnTo>
                      <a:pt x="20009" y="5003"/>
                    </a:lnTo>
                    <a:lnTo>
                      <a:pt x="20009" y="5206"/>
                    </a:lnTo>
                    <a:lnTo>
                      <a:pt x="20486" y="5206"/>
                    </a:lnTo>
                    <a:lnTo>
                      <a:pt x="20486" y="5003"/>
                    </a:lnTo>
                    <a:lnTo>
                      <a:pt x="20685" y="5003"/>
                    </a:lnTo>
                    <a:lnTo>
                      <a:pt x="20685" y="5408"/>
                    </a:lnTo>
                    <a:lnTo>
                      <a:pt x="20924" y="5408"/>
                    </a:lnTo>
                    <a:lnTo>
                      <a:pt x="20924" y="5577"/>
                    </a:lnTo>
                    <a:lnTo>
                      <a:pt x="21162" y="5577"/>
                    </a:lnTo>
                    <a:lnTo>
                      <a:pt x="21162" y="5780"/>
                    </a:lnTo>
                    <a:lnTo>
                      <a:pt x="21401" y="5780"/>
                    </a:lnTo>
                    <a:lnTo>
                      <a:pt x="21401" y="6761"/>
                    </a:lnTo>
                    <a:lnTo>
                      <a:pt x="21162" y="6761"/>
                    </a:lnTo>
                    <a:lnTo>
                      <a:pt x="21401" y="6761"/>
                    </a:lnTo>
                    <a:lnTo>
                      <a:pt x="21401" y="8687"/>
                    </a:lnTo>
                    <a:lnTo>
                      <a:pt x="21600" y="8687"/>
                    </a:lnTo>
                    <a:lnTo>
                      <a:pt x="21600" y="8856"/>
                    </a:lnTo>
                    <a:lnTo>
                      <a:pt x="21401" y="8856"/>
                    </a:lnTo>
                    <a:lnTo>
                      <a:pt x="21401" y="9059"/>
                    </a:lnTo>
                    <a:lnTo>
                      <a:pt x="21401" y="8856"/>
                    </a:lnTo>
                    <a:lnTo>
                      <a:pt x="21401" y="9059"/>
                    </a:lnTo>
                    <a:lnTo>
                      <a:pt x="21162" y="9059"/>
                    </a:lnTo>
                    <a:lnTo>
                      <a:pt x="21162" y="9431"/>
                    </a:lnTo>
                    <a:lnTo>
                      <a:pt x="20924" y="9431"/>
                    </a:lnTo>
                    <a:lnTo>
                      <a:pt x="20924" y="9059"/>
                    </a:lnTo>
                    <a:lnTo>
                      <a:pt x="20685" y="9059"/>
                    </a:lnTo>
                    <a:lnTo>
                      <a:pt x="20685" y="8687"/>
                    </a:lnTo>
                    <a:lnTo>
                      <a:pt x="20486" y="8485"/>
                    </a:lnTo>
                    <a:lnTo>
                      <a:pt x="20486" y="8687"/>
                    </a:lnTo>
                    <a:lnTo>
                      <a:pt x="20248" y="8687"/>
                    </a:lnTo>
                    <a:lnTo>
                      <a:pt x="20248" y="9262"/>
                    </a:lnTo>
                    <a:lnTo>
                      <a:pt x="20009" y="9262"/>
                    </a:lnTo>
                    <a:lnTo>
                      <a:pt x="20009" y="8687"/>
                    </a:lnTo>
                    <a:lnTo>
                      <a:pt x="19810" y="8687"/>
                    </a:lnTo>
                    <a:lnTo>
                      <a:pt x="19571" y="8485"/>
                    </a:lnTo>
                    <a:lnTo>
                      <a:pt x="19571" y="8687"/>
                    </a:lnTo>
                    <a:lnTo>
                      <a:pt x="19571" y="8079"/>
                    </a:lnTo>
                    <a:lnTo>
                      <a:pt x="19333" y="8079"/>
                    </a:lnTo>
                    <a:lnTo>
                      <a:pt x="19333" y="7504"/>
                    </a:lnTo>
                    <a:lnTo>
                      <a:pt x="19094" y="7504"/>
                    </a:lnTo>
                    <a:lnTo>
                      <a:pt x="19094" y="7132"/>
                    </a:lnTo>
                    <a:lnTo>
                      <a:pt x="18895" y="7132"/>
                    </a:lnTo>
                    <a:lnTo>
                      <a:pt x="18895" y="6930"/>
                    </a:lnTo>
                    <a:lnTo>
                      <a:pt x="18656" y="6930"/>
                    </a:lnTo>
                    <a:lnTo>
                      <a:pt x="18656" y="7910"/>
                    </a:lnTo>
                    <a:lnTo>
                      <a:pt x="18418" y="7910"/>
                    </a:lnTo>
                    <a:lnTo>
                      <a:pt x="18656" y="7910"/>
                    </a:lnTo>
                    <a:lnTo>
                      <a:pt x="18418" y="7910"/>
                    </a:lnTo>
                    <a:lnTo>
                      <a:pt x="18418" y="8079"/>
                    </a:lnTo>
                    <a:lnTo>
                      <a:pt x="18418" y="7910"/>
                    </a:lnTo>
                    <a:lnTo>
                      <a:pt x="18219" y="7910"/>
                    </a:lnTo>
                    <a:lnTo>
                      <a:pt x="18219" y="7707"/>
                    </a:lnTo>
                    <a:lnTo>
                      <a:pt x="18219" y="7910"/>
                    </a:lnTo>
                    <a:lnTo>
                      <a:pt x="17503" y="7910"/>
                    </a:lnTo>
                    <a:lnTo>
                      <a:pt x="17503" y="8485"/>
                    </a:lnTo>
                    <a:lnTo>
                      <a:pt x="17304" y="8485"/>
                    </a:lnTo>
                    <a:lnTo>
                      <a:pt x="17304" y="8687"/>
                    </a:lnTo>
                    <a:lnTo>
                      <a:pt x="16827" y="8687"/>
                    </a:lnTo>
                    <a:lnTo>
                      <a:pt x="16827" y="9059"/>
                    </a:lnTo>
                    <a:lnTo>
                      <a:pt x="16628" y="9059"/>
                    </a:lnTo>
                    <a:lnTo>
                      <a:pt x="16628" y="9262"/>
                    </a:lnTo>
                    <a:lnTo>
                      <a:pt x="16150" y="9262"/>
                    </a:lnTo>
                    <a:lnTo>
                      <a:pt x="16150" y="9837"/>
                    </a:lnTo>
                    <a:lnTo>
                      <a:pt x="15912" y="9837"/>
                    </a:lnTo>
                    <a:lnTo>
                      <a:pt x="15912" y="10783"/>
                    </a:lnTo>
                    <a:lnTo>
                      <a:pt x="16150" y="10783"/>
                    </a:lnTo>
                    <a:lnTo>
                      <a:pt x="16150" y="10986"/>
                    </a:lnTo>
                    <a:lnTo>
                      <a:pt x="16389" y="10986"/>
                    </a:lnTo>
                    <a:lnTo>
                      <a:pt x="16389" y="11189"/>
                    </a:lnTo>
                    <a:lnTo>
                      <a:pt x="16150" y="11392"/>
                    </a:lnTo>
                    <a:lnTo>
                      <a:pt x="16150" y="12338"/>
                    </a:lnTo>
                    <a:lnTo>
                      <a:pt x="16389" y="12541"/>
                    </a:lnTo>
                    <a:lnTo>
                      <a:pt x="16389" y="13318"/>
                    </a:lnTo>
                    <a:lnTo>
                      <a:pt x="16150" y="13487"/>
                    </a:lnTo>
                    <a:lnTo>
                      <a:pt x="16150" y="15042"/>
                    </a:lnTo>
                    <a:lnTo>
                      <a:pt x="16389" y="15042"/>
                    </a:lnTo>
                    <a:lnTo>
                      <a:pt x="16150" y="15042"/>
                    </a:lnTo>
                    <a:lnTo>
                      <a:pt x="16150" y="14839"/>
                    </a:lnTo>
                    <a:lnTo>
                      <a:pt x="16150" y="15042"/>
                    </a:lnTo>
                    <a:lnTo>
                      <a:pt x="16389" y="15245"/>
                    </a:lnTo>
                    <a:lnTo>
                      <a:pt x="16150" y="15245"/>
                    </a:lnTo>
                    <a:lnTo>
                      <a:pt x="16150" y="15617"/>
                    </a:lnTo>
                    <a:lnTo>
                      <a:pt x="16389" y="15617"/>
                    </a:lnTo>
                    <a:lnTo>
                      <a:pt x="16628" y="15820"/>
                    </a:lnTo>
                    <a:lnTo>
                      <a:pt x="16827" y="15820"/>
                    </a:lnTo>
                    <a:lnTo>
                      <a:pt x="16827" y="16023"/>
                    </a:lnTo>
                    <a:lnTo>
                      <a:pt x="16827" y="15820"/>
                    </a:lnTo>
                    <a:lnTo>
                      <a:pt x="16628" y="15820"/>
                    </a:lnTo>
                    <a:lnTo>
                      <a:pt x="16628" y="16192"/>
                    </a:lnTo>
                    <a:lnTo>
                      <a:pt x="16827" y="16192"/>
                    </a:lnTo>
                    <a:lnTo>
                      <a:pt x="16827" y="16394"/>
                    </a:lnTo>
                    <a:lnTo>
                      <a:pt x="16827" y="16192"/>
                    </a:lnTo>
                    <a:lnTo>
                      <a:pt x="17065" y="16192"/>
                    </a:lnTo>
                    <a:lnTo>
                      <a:pt x="17065" y="16023"/>
                    </a:lnTo>
                    <a:lnTo>
                      <a:pt x="16827" y="16023"/>
                    </a:lnTo>
                    <a:lnTo>
                      <a:pt x="17065" y="16023"/>
                    </a:lnTo>
                    <a:lnTo>
                      <a:pt x="17065" y="16192"/>
                    </a:lnTo>
                    <a:lnTo>
                      <a:pt x="17304" y="16192"/>
                    </a:lnTo>
                    <a:lnTo>
                      <a:pt x="17304" y="16023"/>
                    </a:lnTo>
                    <a:lnTo>
                      <a:pt x="17065" y="16023"/>
                    </a:lnTo>
                    <a:lnTo>
                      <a:pt x="17065" y="15820"/>
                    </a:lnTo>
                    <a:lnTo>
                      <a:pt x="17503" y="15820"/>
                    </a:lnTo>
                    <a:lnTo>
                      <a:pt x="17503" y="15617"/>
                    </a:lnTo>
                    <a:lnTo>
                      <a:pt x="17741" y="15617"/>
                    </a:lnTo>
                    <a:lnTo>
                      <a:pt x="17980" y="15820"/>
                    </a:lnTo>
                    <a:lnTo>
                      <a:pt x="17980" y="15617"/>
                    </a:lnTo>
                    <a:lnTo>
                      <a:pt x="18219" y="15617"/>
                    </a:lnTo>
                    <a:lnTo>
                      <a:pt x="18219" y="15820"/>
                    </a:lnTo>
                    <a:lnTo>
                      <a:pt x="18418" y="16023"/>
                    </a:lnTo>
                    <a:lnTo>
                      <a:pt x="18219" y="16023"/>
                    </a:lnTo>
                    <a:lnTo>
                      <a:pt x="18219" y="16192"/>
                    </a:lnTo>
                    <a:lnTo>
                      <a:pt x="17980" y="16192"/>
                    </a:lnTo>
                    <a:lnTo>
                      <a:pt x="17980" y="16394"/>
                    </a:lnTo>
                    <a:lnTo>
                      <a:pt x="17503" y="16394"/>
                    </a:lnTo>
                    <a:lnTo>
                      <a:pt x="17503" y="17172"/>
                    </a:lnTo>
                    <a:lnTo>
                      <a:pt x="16827" y="17172"/>
                    </a:lnTo>
                    <a:lnTo>
                      <a:pt x="16827" y="16969"/>
                    </a:lnTo>
                    <a:lnTo>
                      <a:pt x="16628" y="16969"/>
                    </a:lnTo>
                    <a:lnTo>
                      <a:pt x="16628" y="17172"/>
                    </a:lnTo>
                    <a:lnTo>
                      <a:pt x="16389" y="17172"/>
                    </a:lnTo>
                    <a:lnTo>
                      <a:pt x="16389" y="17544"/>
                    </a:lnTo>
                    <a:lnTo>
                      <a:pt x="16628" y="17544"/>
                    </a:lnTo>
                    <a:lnTo>
                      <a:pt x="16389" y="17544"/>
                    </a:lnTo>
                    <a:lnTo>
                      <a:pt x="16389" y="17746"/>
                    </a:lnTo>
                    <a:lnTo>
                      <a:pt x="16150" y="17949"/>
                    </a:lnTo>
                    <a:lnTo>
                      <a:pt x="16150" y="18118"/>
                    </a:lnTo>
                    <a:lnTo>
                      <a:pt x="16389" y="18118"/>
                    </a:lnTo>
                    <a:lnTo>
                      <a:pt x="16389" y="18321"/>
                    </a:lnTo>
                    <a:lnTo>
                      <a:pt x="15912" y="18321"/>
                    </a:lnTo>
                    <a:lnTo>
                      <a:pt x="15912" y="18524"/>
                    </a:lnTo>
                    <a:lnTo>
                      <a:pt x="15713" y="18321"/>
                    </a:lnTo>
                    <a:lnTo>
                      <a:pt x="15474" y="18321"/>
                    </a:lnTo>
                    <a:lnTo>
                      <a:pt x="15474" y="18896"/>
                    </a:lnTo>
                    <a:lnTo>
                      <a:pt x="15235" y="19099"/>
                    </a:lnTo>
                    <a:lnTo>
                      <a:pt x="15235" y="19301"/>
                    </a:lnTo>
                    <a:lnTo>
                      <a:pt x="14798" y="19301"/>
                    </a:lnTo>
                    <a:lnTo>
                      <a:pt x="14798" y="19470"/>
                    </a:lnTo>
                    <a:lnTo>
                      <a:pt x="14320" y="19470"/>
                    </a:lnTo>
                    <a:lnTo>
                      <a:pt x="14320" y="19301"/>
                    </a:lnTo>
                    <a:lnTo>
                      <a:pt x="13883" y="19301"/>
                    </a:lnTo>
                    <a:lnTo>
                      <a:pt x="14122" y="19099"/>
                    </a:lnTo>
                    <a:lnTo>
                      <a:pt x="14320" y="18896"/>
                    </a:lnTo>
                    <a:lnTo>
                      <a:pt x="14122" y="18896"/>
                    </a:lnTo>
                    <a:lnTo>
                      <a:pt x="14320" y="18896"/>
                    </a:lnTo>
                    <a:lnTo>
                      <a:pt x="14320" y="18693"/>
                    </a:lnTo>
                    <a:lnTo>
                      <a:pt x="14798" y="18693"/>
                    </a:lnTo>
                    <a:lnTo>
                      <a:pt x="14798" y="18524"/>
                    </a:lnTo>
                    <a:lnTo>
                      <a:pt x="15036" y="18524"/>
                    </a:lnTo>
                    <a:lnTo>
                      <a:pt x="15036" y="18118"/>
                    </a:lnTo>
                    <a:lnTo>
                      <a:pt x="15235" y="18118"/>
                    </a:lnTo>
                    <a:lnTo>
                      <a:pt x="14798" y="18118"/>
                    </a:lnTo>
                    <a:lnTo>
                      <a:pt x="14798" y="18321"/>
                    </a:lnTo>
                    <a:lnTo>
                      <a:pt x="14122" y="18321"/>
                    </a:lnTo>
                    <a:lnTo>
                      <a:pt x="14122" y="18118"/>
                    </a:lnTo>
                    <a:lnTo>
                      <a:pt x="13207" y="18118"/>
                    </a:lnTo>
                    <a:lnTo>
                      <a:pt x="13207" y="18321"/>
                    </a:lnTo>
                    <a:lnTo>
                      <a:pt x="12968" y="18321"/>
                    </a:lnTo>
                    <a:lnTo>
                      <a:pt x="12968" y="18524"/>
                    </a:lnTo>
                    <a:lnTo>
                      <a:pt x="13207" y="18524"/>
                    </a:lnTo>
                    <a:lnTo>
                      <a:pt x="13207" y="18693"/>
                    </a:lnTo>
                    <a:lnTo>
                      <a:pt x="12968" y="18693"/>
                    </a:lnTo>
                    <a:lnTo>
                      <a:pt x="12968" y="18896"/>
                    </a:lnTo>
                    <a:lnTo>
                      <a:pt x="12968" y="18693"/>
                    </a:lnTo>
                    <a:lnTo>
                      <a:pt x="12729" y="18693"/>
                    </a:lnTo>
                    <a:lnTo>
                      <a:pt x="12729" y="18896"/>
                    </a:lnTo>
                    <a:lnTo>
                      <a:pt x="12530" y="18896"/>
                    </a:lnTo>
                    <a:lnTo>
                      <a:pt x="12729" y="18896"/>
                    </a:lnTo>
                    <a:lnTo>
                      <a:pt x="12729" y="18693"/>
                    </a:lnTo>
                    <a:lnTo>
                      <a:pt x="12053" y="18693"/>
                    </a:lnTo>
                    <a:lnTo>
                      <a:pt x="11854" y="18896"/>
                    </a:lnTo>
                    <a:lnTo>
                      <a:pt x="11138" y="18896"/>
                    </a:lnTo>
                    <a:lnTo>
                      <a:pt x="11138" y="19099"/>
                    </a:lnTo>
                    <a:lnTo>
                      <a:pt x="10939" y="19099"/>
                    </a:lnTo>
                    <a:lnTo>
                      <a:pt x="10939" y="19470"/>
                    </a:lnTo>
                    <a:lnTo>
                      <a:pt x="10701" y="19470"/>
                    </a:lnTo>
                    <a:lnTo>
                      <a:pt x="10701" y="19673"/>
                    </a:lnTo>
                    <a:lnTo>
                      <a:pt x="10939" y="19673"/>
                    </a:lnTo>
                    <a:lnTo>
                      <a:pt x="10939" y="19876"/>
                    </a:lnTo>
                    <a:lnTo>
                      <a:pt x="10939" y="19673"/>
                    </a:lnTo>
                    <a:lnTo>
                      <a:pt x="11138" y="19673"/>
                    </a:lnTo>
                    <a:lnTo>
                      <a:pt x="11138" y="19876"/>
                    </a:lnTo>
                    <a:lnTo>
                      <a:pt x="10939" y="19876"/>
                    </a:lnTo>
                    <a:lnTo>
                      <a:pt x="10939" y="20045"/>
                    </a:lnTo>
                    <a:lnTo>
                      <a:pt x="10701" y="20045"/>
                    </a:lnTo>
                    <a:lnTo>
                      <a:pt x="10701" y="19876"/>
                    </a:lnTo>
                    <a:lnTo>
                      <a:pt x="10701" y="20451"/>
                    </a:lnTo>
                    <a:lnTo>
                      <a:pt x="10939" y="20451"/>
                    </a:lnTo>
                    <a:lnTo>
                      <a:pt x="10939" y="20248"/>
                    </a:lnTo>
                    <a:lnTo>
                      <a:pt x="11138" y="20248"/>
                    </a:lnTo>
                    <a:lnTo>
                      <a:pt x="11138" y="20451"/>
                    </a:lnTo>
                    <a:lnTo>
                      <a:pt x="10939" y="20451"/>
                    </a:lnTo>
                    <a:lnTo>
                      <a:pt x="10939" y="20654"/>
                    </a:lnTo>
                    <a:lnTo>
                      <a:pt x="10701" y="20654"/>
                    </a:lnTo>
                    <a:lnTo>
                      <a:pt x="10701" y="20823"/>
                    </a:lnTo>
                    <a:lnTo>
                      <a:pt x="10462" y="20823"/>
                    </a:lnTo>
                    <a:lnTo>
                      <a:pt x="10462" y="20654"/>
                    </a:lnTo>
                    <a:lnTo>
                      <a:pt x="10024" y="20654"/>
                    </a:lnTo>
                    <a:lnTo>
                      <a:pt x="10024" y="20823"/>
                    </a:lnTo>
                    <a:lnTo>
                      <a:pt x="9786" y="20823"/>
                    </a:lnTo>
                    <a:lnTo>
                      <a:pt x="9786" y="21228"/>
                    </a:lnTo>
                    <a:lnTo>
                      <a:pt x="9547" y="21228"/>
                    </a:lnTo>
                    <a:lnTo>
                      <a:pt x="9547" y="21397"/>
                    </a:lnTo>
                    <a:lnTo>
                      <a:pt x="9109" y="21397"/>
                    </a:lnTo>
                    <a:lnTo>
                      <a:pt x="9109" y="21600"/>
                    </a:lnTo>
                    <a:lnTo>
                      <a:pt x="8632" y="21600"/>
                    </a:lnTo>
                    <a:lnTo>
                      <a:pt x="8632" y="21397"/>
                    </a:lnTo>
                    <a:lnTo>
                      <a:pt x="8871" y="21397"/>
                    </a:lnTo>
                    <a:lnTo>
                      <a:pt x="8632" y="21397"/>
                    </a:lnTo>
                    <a:lnTo>
                      <a:pt x="8632" y="21025"/>
                    </a:lnTo>
                    <a:lnTo>
                      <a:pt x="8433" y="21025"/>
                    </a:lnTo>
                    <a:lnTo>
                      <a:pt x="8433" y="20654"/>
                    </a:lnTo>
                    <a:lnTo>
                      <a:pt x="8194" y="20654"/>
                    </a:lnTo>
                    <a:lnTo>
                      <a:pt x="8194" y="20451"/>
                    </a:lnTo>
                    <a:lnTo>
                      <a:pt x="7757" y="20451"/>
                    </a:lnTo>
                    <a:lnTo>
                      <a:pt x="7757" y="20654"/>
                    </a:lnTo>
                    <a:lnTo>
                      <a:pt x="7518" y="20654"/>
                    </a:lnTo>
                    <a:lnTo>
                      <a:pt x="7280" y="20451"/>
                    </a:lnTo>
                    <a:lnTo>
                      <a:pt x="7280" y="20248"/>
                    </a:lnTo>
                    <a:lnTo>
                      <a:pt x="7041" y="20248"/>
                    </a:lnTo>
                    <a:lnTo>
                      <a:pt x="7041" y="20451"/>
                    </a:lnTo>
                    <a:lnTo>
                      <a:pt x="6842" y="20451"/>
                    </a:lnTo>
                    <a:lnTo>
                      <a:pt x="6842" y="20248"/>
                    </a:lnTo>
                    <a:lnTo>
                      <a:pt x="6365" y="20248"/>
                    </a:lnTo>
                    <a:lnTo>
                      <a:pt x="6365" y="20451"/>
                    </a:lnTo>
                    <a:lnTo>
                      <a:pt x="6166" y="20451"/>
                    </a:lnTo>
                    <a:lnTo>
                      <a:pt x="6166" y="20654"/>
                    </a:lnTo>
                    <a:lnTo>
                      <a:pt x="5450" y="20654"/>
                    </a:lnTo>
                    <a:lnTo>
                      <a:pt x="5450" y="20451"/>
                    </a:lnTo>
                    <a:lnTo>
                      <a:pt x="5251" y="20451"/>
                    </a:lnTo>
                    <a:lnTo>
                      <a:pt x="5251" y="19876"/>
                    </a:lnTo>
                    <a:lnTo>
                      <a:pt x="5450" y="19876"/>
                    </a:lnTo>
                    <a:lnTo>
                      <a:pt x="5450" y="19301"/>
                    </a:lnTo>
                    <a:lnTo>
                      <a:pt x="5688" y="19301"/>
                    </a:lnTo>
                    <a:lnTo>
                      <a:pt x="5688" y="19470"/>
                    </a:lnTo>
                    <a:lnTo>
                      <a:pt x="5927" y="19470"/>
                    </a:lnTo>
                    <a:lnTo>
                      <a:pt x="5927" y="18896"/>
                    </a:lnTo>
                    <a:lnTo>
                      <a:pt x="5688" y="18896"/>
                    </a:lnTo>
                    <a:lnTo>
                      <a:pt x="5688" y="18693"/>
                    </a:lnTo>
                    <a:lnTo>
                      <a:pt x="5927" y="18693"/>
                    </a:lnTo>
                    <a:lnTo>
                      <a:pt x="5927" y="18524"/>
                    </a:lnTo>
                    <a:lnTo>
                      <a:pt x="5688" y="18321"/>
                    </a:lnTo>
                    <a:lnTo>
                      <a:pt x="5688" y="18118"/>
                    </a:lnTo>
                    <a:lnTo>
                      <a:pt x="5450" y="18118"/>
                    </a:lnTo>
                    <a:lnTo>
                      <a:pt x="5450" y="17949"/>
                    </a:lnTo>
                    <a:lnTo>
                      <a:pt x="5251" y="17949"/>
                    </a:lnTo>
                    <a:lnTo>
                      <a:pt x="5251" y="17544"/>
                    </a:lnTo>
                    <a:lnTo>
                      <a:pt x="4773" y="17544"/>
                    </a:lnTo>
                    <a:lnTo>
                      <a:pt x="4773" y="17375"/>
                    </a:lnTo>
                    <a:lnTo>
                      <a:pt x="4575" y="17172"/>
                    </a:lnTo>
                    <a:lnTo>
                      <a:pt x="4575" y="17375"/>
                    </a:lnTo>
                    <a:lnTo>
                      <a:pt x="4575" y="17172"/>
                    </a:lnTo>
                    <a:lnTo>
                      <a:pt x="4336" y="17172"/>
                    </a:lnTo>
                    <a:lnTo>
                      <a:pt x="4097" y="16969"/>
                    </a:lnTo>
                    <a:lnTo>
                      <a:pt x="2983" y="16969"/>
                    </a:lnTo>
                    <a:lnTo>
                      <a:pt x="2983" y="17375"/>
                    </a:lnTo>
                    <a:lnTo>
                      <a:pt x="2506" y="17375"/>
                    </a:lnTo>
                    <a:lnTo>
                      <a:pt x="2506" y="17544"/>
                    </a:lnTo>
                    <a:lnTo>
                      <a:pt x="2267" y="17544"/>
                    </a:lnTo>
                    <a:lnTo>
                      <a:pt x="2267" y="17375"/>
                    </a:lnTo>
                    <a:lnTo>
                      <a:pt x="2069" y="17375"/>
                    </a:lnTo>
                    <a:lnTo>
                      <a:pt x="2069" y="17544"/>
                    </a:lnTo>
                    <a:lnTo>
                      <a:pt x="1830" y="17544"/>
                    </a:lnTo>
                    <a:lnTo>
                      <a:pt x="1830" y="17375"/>
                    </a:lnTo>
                    <a:lnTo>
                      <a:pt x="2069" y="17375"/>
                    </a:lnTo>
                    <a:lnTo>
                      <a:pt x="2069" y="17172"/>
                    </a:lnTo>
                    <a:lnTo>
                      <a:pt x="1830" y="16969"/>
                    </a:lnTo>
                    <a:lnTo>
                      <a:pt x="2069" y="16969"/>
                    </a:lnTo>
                    <a:lnTo>
                      <a:pt x="2069" y="16766"/>
                    </a:lnTo>
                    <a:lnTo>
                      <a:pt x="1830" y="16597"/>
                    </a:lnTo>
                    <a:lnTo>
                      <a:pt x="1830" y="16192"/>
                    </a:lnTo>
                    <a:lnTo>
                      <a:pt x="2069" y="16192"/>
                    </a:lnTo>
                    <a:lnTo>
                      <a:pt x="2069" y="16023"/>
                    </a:lnTo>
                    <a:lnTo>
                      <a:pt x="1591" y="16023"/>
                    </a:lnTo>
                    <a:lnTo>
                      <a:pt x="1591" y="15820"/>
                    </a:lnTo>
                    <a:lnTo>
                      <a:pt x="1392" y="15820"/>
                    </a:lnTo>
                    <a:lnTo>
                      <a:pt x="1392" y="15414"/>
                    </a:lnTo>
                    <a:lnTo>
                      <a:pt x="1154" y="15414"/>
                    </a:lnTo>
                    <a:lnTo>
                      <a:pt x="1154" y="15245"/>
                    </a:lnTo>
                    <a:lnTo>
                      <a:pt x="915" y="15245"/>
                    </a:lnTo>
                    <a:lnTo>
                      <a:pt x="915" y="1504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>
                      <a:lumMod val="75000"/>
                    </a:srgbClr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47" name="Shape 2973"/>
              <p:cNvSpPr/>
              <p:nvPr/>
            </p:nvSpPr>
            <p:spPr>
              <a:xfrm>
                <a:off x="12017361" y="4223312"/>
                <a:ext cx="883890" cy="16652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647" y="5133"/>
                    </a:moveTo>
                    <a:lnTo>
                      <a:pt x="5859" y="5133"/>
                    </a:lnTo>
                    <a:lnTo>
                      <a:pt x="5859" y="5245"/>
                    </a:lnTo>
                    <a:lnTo>
                      <a:pt x="6035" y="5245"/>
                    </a:lnTo>
                    <a:lnTo>
                      <a:pt x="6035" y="5133"/>
                    </a:lnTo>
                    <a:lnTo>
                      <a:pt x="5859" y="5021"/>
                    </a:lnTo>
                    <a:lnTo>
                      <a:pt x="5859" y="4815"/>
                    </a:lnTo>
                    <a:lnTo>
                      <a:pt x="5647" y="4815"/>
                    </a:lnTo>
                    <a:lnTo>
                      <a:pt x="5647" y="4702"/>
                    </a:lnTo>
                    <a:lnTo>
                      <a:pt x="5435" y="4702"/>
                    </a:lnTo>
                    <a:lnTo>
                      <a:pt x="5435" y="4384"/>
                    </a:lnTo>
                    <a:lnTo>
                      <a:pt x="5259" y="4271"/>
                    </a:lnTo>
                    <a:lnTo>
                      <a:pt x="5259" y="3953"/>
                    </a:lnTo>
                    <a:lnTo>
                      <a:pt x="4835" y="3953"/>
                    </a:lnTo>
                    <a:lnTo>
                      <a:pt x="4835" y="3859"/>
                    </a:lnTo>
                    <a:lnTo>
                      <a:pt x="4624" y="3859"/>
                    </a:lnTo>
                    <a:lnTo>
                      <a:pt x="4624" y="3541"/>
                    </a:lnTo>
                    <a:lnTo>
                      <a:pt x="4447" y="3541"/>
                    </a:lnTo>
                    <a:lnTo>
                      <a:pt x="4624" y="3541"/>
                    </a:lnTo>
                    <a:lnTo>
                      <a:pt x="4624" y="3428"/>
                    </a:lnTo>
                    <a:lnTo>
                      <a:pt x="4835" y="3316"/>
                    </a:lnTo>
                    <a:lnTo>
                      <a:pt x="4835" y="3203"/>
                    </a:lnTo>
                    <a:lnTo>
                      <a:pt x="4624" y="3203"/>
                    </a:lnTo>
                    <a:lnTo>
                      <a:pt x="4624" y="3110"/>
                    </a:lnTo>
                    <a:lnTo>
                      <a:pt x="4835" y="3110"/>
                    </a:lnTo>
                    <a:lnTo>
                      <a:pt x="5047" y="2997"/>
                    </a:lnTo>
                    <a:lnTo>
                      <a:pt x="5047" y="2885"/>
                    </a:lnTo>
                    <a:lnTo>
                      <a:pt x="4835" y="2885"/>
                    </a:lnTo>
                    <a:lnTo>
                      <a:pt x="5047" y="2885"/>
                    </a:lnTo>
                    <a:lnTo>
                      <a:pt x="5047" y="2791"/>
                    </a:lnTo>
                    <a:lnTo>
                      <a:pt x="5259" y="2791"/>
                    </a:lnTo>
                    <a:lnTo>
                      <a:pt x="5259" y="2679"/>
                    </a:lnTo>
                    <a:lnTo>
                      <a:pt x="5435" y="2679"/>
                    </a:lnTo>
                    <a:lnTo>
                      <a:pt x="5435" y="2454"/>
                    </a:lnTo>
                    <a:lnTo>
                      <a:pt x="5259" y="2454"/>
                    </a:lnTo>
                    <a:lnTo>
                      <a:pt x="5435" y="2454"/>
                    </a:lnTo>
                    <a:lnTo>
                      <a:pt x="5435" y="2136"/>
                    </a:lnTo>
                    <a:lnTo>
                      <a:pt x="5259" y="2136"/>
                    </a:lnTo>
                    <a:lnTo>
                      <a:pt x="5259" y="1930"/>
                    </a:lnTo>
                    <a:lnTo>
                      <a:pt x="5435" y="1930"/>
                    </a:lnTo>
                    <a:lnTo>
                      <a:pt x="5435" y="1705"/>
                    </a:lnTo>
                    <a:lnTo>
                      <a:pt x="5259" y="1611"/>
                    </a:lnTo>
                    <a:lnTo>
                      <a:pt x="5259" y="1499"/>
                    </a:lnTo>
                    <a:lnTo>
                      <a:pt x="5047" y="1499"/>
                    </a:lnTo>
                    <a:lnTo>
                      <a:pt x="5047" y="1293"/>
                    </a:lnTo>
                    <a:lnTo>
                      <a:pt x="5259" y="1293"/>
                    </a:lnTo>
                    <a:lnTo>
                      <a:pt x="5259" y="1068"/>
                    </a:lnTo>
                    <a:lnTo>
                      <a:pt x="5859" y="1068"/>
                    </a:lnTo>
                    <a:lnTo>
                      <a:pt x="5859" y="1180"/>
                    </a:lnTo>
                    <a:lnTo>
                      <a:pt x="5859" y="1068"/>
                    </a:lnTo>
                    <a:lnTo>
                      <a:pt x="6247" y="1068"/>
                    </a:lnTo>
                    <a:lnTo>
                      <a:pt x="6247" y="1180"/>
                    </a:lnTo>
                    <a:lnTo>
                      <a:pt x="6459" y="1180"/>
                    </a:lnTo>
                    <a:lnTo>
                      <a:pt x="6671" y="1293"/>
                    </a:lnTo>
                    <a:lnTo>
                      <a:pt x="7271" y="1293"/>
                    </a:lnTo>
                    <a:lnTo>
                      <a:pt x="7271" y="1180"/>
                    </a:lnTo>
                    <a:lnTo>
                      <a:pt x="7447" y="1180"/>
                    </a:lnTo>
                    <a:lnTo>
                      <a:pt x="7447" y="1293"/>
                    </a:lnTo>
                    <a:lnTo>
                      <a:pt x="7871" y="1293"/>
                    </a:lnTo>
                    <a:lnTo>
                      <a:pt x="7871" y="1180"/>
                    </a:lnTo>
                    <a:lnTo>
                      <a:pt x="8082" y="1180"/>
                    </a:lnTo>
                    <a:lnTo>
                      <a:pt x="8082" y="1068"/>
                    </a:lnTo>
                    <a:lnTo>
                      <a:pt x="8259" y="1068"/>
                    </a:lnTo>
                    <a:lnTo>
                      <a:pt x="8259" y="749"/>
                    </a:lnTo>
                    <a:lnTo>
                      <a:pt x="8471" y="749"/>
                    </a:lnTo>
                    <a:lnTo>
                      <a:pt x="8471" y="862"/>
                    </a:lnTo>
                    <a:lnTo>
                      <a:pt x="8682" y="862"/>
                    </a:lnTo>
                    <a:lnTo>
                      <a:pt x="8682" y="749"/>
                    </a:lnTo>
                    <a:lnTo>
                      <a:pt x="8859" y="749"/>
                    </a:lnTo>
                    <a:lnTo>
                      <a:pt x="8859" y="862"/>
                    </a:lnTo>
                    <a:lnTo>
                      <a:pt x="9071" y="862"/>
                    </a:lnTo>
                    <a:lnTo>
                      <a:pt x="9071" y="955"/>
                    </a:lnTo>
                    <a:lnTo>
                      <a:pt x="9071" y="862"/>
                    </a:lnTo>
                    <a:lnTo>
                      <a:pt x="9282" y="862"/>
                    </a:lnTo>
                    <a:lnTo>
                      <a:pt x="9071" y="749"/>
                    </a:lnTo>
                    <a:lnTo>
                      <a:pt x="9282" y="749"/>
                    </a:lnTo>
                    <a:lnTo>
                      <a:pt x="9282" y="637"/>
                    </a:lnTo>
                    <a:lnTo>
                      <a:pt x="9282" y="749"/>
                    </a:lnTo>
                    <a:lnTo>
                      <a:pt x="9494" y="749"/>
                    </a:lnTo>
                    <a:lnTo>
                      <a:pt x="9494" y="955"/>
                    </a:lnTo>
                    <a:lnTo>
                      <a:pt x="9671" y="955"/>
                    </a:lnTo>
                    <a:lnTo>
                      <a:pt x="9671" y="862"/>
                    </a:lnTo>
                    <a:lnTo>
                      <a:pt x="9882" y="862"/>
                    </a:lnTo>
                    <a:lnTo>
                      <a:pt x="9882" y="637"/>
                    </a:lnTo>
                    <a:lnTo>
                      <a:pt x="10094" y="637"/>
                    </a:lnTo>
                    <a:lnTo>
                      <a:pt x="10094" y="543"/>
                    </a:lnTo>
                    <a:lnTo>
                      <a:pt x="9882" y="543"/>
                    </a:lnTo>
                    <a:lnTo>
                      <a:pt x="9882" y="318"/>
                    </a:lnTo>
                    <a:lnTo>
                      <a:pt x="10094" y="318"/>
                    </a:lnTo>
                    <a:lnTo>
                      <a:pt x="10094" y="225"/>
                    </a:lnTo>
                    <a:lnTo>
                      <a:pt x="10271" y="225"/>
                    </a:lnTo>
                    <a:lnTo>
                      <a:pt x="10271" y="318"/>
                    </a:lnTo>
                    <a:lnTo>
                      <a:pt x="10482" y="318"/>
                    </a:lnTo>
                    <a:lnTo>
                      <a:pt x="10482" y="225"/>
                    </a:lnTo>
                    <a:lnTo>
                      <a:pt x="10906" y="225"/>
                    </a:lnTo>
                    <a:lnTo>
                      <a:pt x="10906" y="0"/>
                    </a:lnTo>
                    <a:lnTo>
                      <a:pt x="11894" y="0"/>
                    </a:lnTo>
                    <a:lnTo>
                      <a:pt x="12106" y="112"/>
                    </a:lnTo>
                    <a:lnTo>
                      <a:pt x="12318" y="112"/>
                    </a:lnTo>
                    <a:lnTo>
                      <a:pt x="12318" y="225"/>
                    </a:lnTo>
                    <a:lnTo>
                      <a:pt x="12318" y="112"/>
                    </a:lnTo>
                    <a:lnTo>
                      <a:pt x="12494" y="225"/>
                    </a:lnTo>
                    <a:lnTo>
                      <a:pt x="12494" y="318"/>
                    </a:lnTo>
                    <a:lnTo>
                      <a:pt x="12918" y="318"/>
                    </a:lnTo>
                    <a:lnTo>
                      <a:pt x="12918" y="543"/>
                    </a:lnTo>
                    <a:lnTo>
                      <a:pt x="13094" y="543"/>
                    </a:lnTo>
                    <a:lnTo>
                      <a:pt x="13094" y="637"/>
                    </a:lnTo>
                    <a:lnTo>
                      <a:pt x="13306" y="637"/>
                    </a:lnTo>
                    <a:lnTo>
                      <a:pt x="13306" y="749"/>
                    </a:lnTo>
                    <a:lnTo>
                      <a:pt x="13518" y="862"/>
                    </a:lnTo>
                    <a:lnTo>
                      <a:pt x="13518" y="955"/>
                    </a:lnTo>
                    <a:lnTo>
                      <a:pt x="13306" y="955"/>
                    </a:lnTo>
                    <a:lnTo>
                      <a:pt x="13306" y="1068"/>
                    </a:lnTo>
                    <a:lnTo>
                      <a:pt x="13518" y="1068"/>
                    </a:lnTo>
                    <a:lnTo>
                      <a:pt x="13518" y="1386"/>
                    </a:lnTo>
                    <a:lnTo>
                      <a:pt x="13306" y="1386"/>
                    </a:lnTo>
                    <a:lnTo>
                      <a:pt x="13306" y="1293"/>
                    </a:lnTo>
                    <a:lnTo>
                      <a:pt x="13094" y="1293"/>
                    </a:lnTo>
                    <a:lnTo>
                      <a:pt x="13094" y="1611"/>
                    </a:lnTo>
                    <a:lnTo>
                      <a:pt x="12918" y="1611"/>
                    </a:lnTo>
                    <a:lnTo>
                      <a:pt x="12918" y="1930"/>
                    </a:lnTo>
                    <a:lnTo>
                      <a:pt x="13094" y="1930"/>
                    </a:lnTo>
                    <a:lnTo>
                      <a:pt x="13094" y="2042"/>
                    </a:lnTo>
                    <a:lnTo>
                      <a:pt x="13729" y="2042"/>
                    </a:lnTo>
                    <a:lnTo>
                      <a:pt x="13729" y="1930"/>
                    </a:lnTo>
                    <a:lnTo>
                      <a:pt x="13906" y="1930"/>
                    </a:lnTo>
                    <a:lnTo>
                      <a:pt x="13906" y="1817"/>
                    </a:lnTo>
                    <a:lnTo>
                      <a:pt x="14329" y="1817"/>
                    </a:lnTo>
                    <a:lnTo>
                      <a:pt x="14329" y="1930"/>
                    </a:lnTo>
                    <a:lnTo>
                      <a:pt x="14506" y="1930"/>
                    </a:lnTo>
                    <a:lnTo>
                      <a:pt x="14506" y="1817"/>
                    </a:lnTo>
                    <a:lnTo>
                      <a:pt x="14718" y="1817"/>
                    </a:lnTo>
                    <a:lnTo>
                      <a:pt x="14718" y="1930"/>
                    </a:lnTo>
                    <a:lnTo>
                      <a:pt x="14929" y="2042"/>
                    </a:lnTo>
                    <a:lnTo>
                      <a:pt x="15141" y="2042"/>
                    </a:lnTo>
                    <a:lnTo>
                      <a:pt x="15141" y="1930"/>
                    </a:lnTo>
                    <a:lnTo>
                      <a:pt x="15529" y="1930"/>
                    </a:lnTo>
                    <a:lnTo>
                      <a:pt x="15529" y="2042"/>
                    </a:lnTo>
                    <a:lnTo>
                      <a:pt x="15741" y="2042"/>
                    </a:lnTo>
                    <a:lnTo>
                      <a:pt x="15741" y="2248"/>
                    </a:lnTo>
                    <a:lnTo>
                      <a:pt x="15918" y="2248"/>
                    </a:lnTo>
                    <a:lnTo>
                      <a:pt x="15918" y="2454"/>
                    </a:lnTo>
                    <a:lnTo>
                      <a:pt x="16129" y="2454"/>
                    </a:lnTo>
                    <a:lnTo>
                      <a:pt x="15918" y="2454"/>
                    </a:lnTo>
                    <a:lnTo>
                      <a:pt x="15918" y="2567"/>
                    </a:lnTo>
                    <a:lnTo>
                      <a:pt x="15741" y="2567"/>
                    </a:lnTo>
                    <a:lnTo>
                      <a:pt x="15741" y="2679"/>
                    </a:lnTo>
                    <a:lnTo>
                      <a:pt x="15529" y="2567"/>
                    </a:lnTo>
                    <a:lnTo>
                      <a:pt x="15318" y="2567"/>
                    </a:lnTo>
                    <a:lnTo>
                      <a:pt x="15318" y="2885"/>
                    </a:lnTo>
                    <a:lnTo>
                      <a:pt x="15529" y="2885"/>
                    </a:lnTo>
                    <a:lnTo>
                      <a:pt x="15529" y="2997"/>
                    </a:lnTo>
                    <a:lnTo>
                      <a:pt x="15318" y="2997"/>
                    </a:lnTo>
                    <a:lnTo>
                      <a:pt x="15318" y="3203"/>
                    </a:lnTo>
                    <a:lnTo>
                      <a:pt x="15141" y="3203"/>
                    </a:lnTo>
                    <a:lnTo>
                      <a:pt x="15141" y="3110"/>
                    </a:lnTo>
                    <a:lnTo>
                      <a:pt x="14929" y="3110"/>
                    </a:lnTo>
                    <a:lnTo>
                      <a:pt x="14929" y="2885"/>
                    </a:lnTo>
                    <a:lnTo>
                      <a:pt x="14718" y="2885"/>
                    </a:lnTo>
                    <a:lnTo>
                      <a:pt x="14718" y="2997"/>
                    </a:lnTo>
                    <a:lnTo>
                      <a:pt x="14329" y="2997"/>
                    </a:lnTo>
                    <a:lnTo>
                      <a:pt x="14329" y="3110"/>
                    </a:lnTo>
                    <a:lnTo>
                      <a:pt x="14118" y="3110"/>
                    </a:lnTo>
                    <a:lnTo>
                      <a:pt x="13906" y="3203"/>
                    </a:lnTo>
                    <a:lnTo>
                      <a:pt x="13906" y="3316"/>
                    </a:lnTo>
                    <a:lnTo>
                      <a:pt x="13729" y="3316"/>
                    </a:lnTo>
                    <a:lnTo>
                      <a:pt x="13518" y="3428"/>
                    </a:lnTo>
                    <a:lnTo>
                      <a:pt x="13306" y="3428"/>
                    </a:lnTo>
                    <a:lnTo>
                      <a:pt x="13306" y="3541"/>
                    </a:lnTo>
                    <a:lnTo>
                      <a:pt x="12918" y="3541"/>
                    </a:lnTo>
                    <a:lnTo>
                      <a:pt x="12706" y="3634"/>
                    </a:lnTo>
                    <a:lnTo>
                      <a:pt x="12494" y="3634"/>
                    </a:lnTo>
                    <a:lnTo>
                      <a:pt x="12494" y="3859"/>
                    </a:lnTo>
                    <a:lnTo>
                      <a:pt x="12106" y="3859"/>
                    </a:lnTo>
                    <a:lnTo>
                      <a:pt x="12106" y="3953"/>
                    </a:lnTo>
                    <a:lnTo>
                      <a:pt x="11894" y="3953"/>
                    </a:lnTo>
                    <a:lnTo>
                      <a:pt x="11894" y="4065"/>
                    </a:lnTo>
                    <a:lnTo>
                      <a:pt x="11682" y="4065"/>
                    </a:lnTo>
                    <a:lnTo>
                      <a:pt x="11682" y="4271"/>
                    </a:lnTo>
                    <a:lnTo>
                      <a:pt x="11506" y="4271"/>
                    </a:lnTo>
                    <a:lnTo>
                      <a:pt x="11506" y="4384"/>
                    </a:lnTo>
                    <a:lnTo>
                      <a:pt x="11294" y="4384"/>
                    </a:lnTo>
                    <a:lnTo>
                      <a:pt x="11294" y="4702"/>
                    </a:lnTo>
                    <a:lnTo>
                      <a:pt x="11082" y="4702"/>
                    </a:lnTo>
                    <a:lnTo>
                      <a:pt x="11082" y="4927"/>
                    </a:lnTo>
                    <a:lnTo>
                      <a:pt x="11294" y="4927"/>
                    </a:lnTo>
                    <a:lnTo>
                      <a:pt x="11294" y="5245"/>
                    </a:lnTo>
                    <a:lnTo>
                      <a:pt x="11082" y="5358"/>
                    </a:lnTo>
                    <a:lnTo>
                      <a:pt x="11082" y="5564"/>
                    </a:lnTo>
                    <a:lnTo>
                      <a:pt x="10906" y="5564"/>
                    </a:lnTo>
                    <a:lnTo>
                      <a:pt x="10906" y="5676"/>
                    </a:lnTo>
                    <a:lnTo>
                      <a:pt x="10694" y="5770"/>
                    </a:lnTo>
                    <a:lnTo>
                      <a:pt x="10694" y="6426"/>
                    </a:lnTo>
                    <a:lnTo>
                      <a:pt x="10906" y="6426"/>
                    </a:lnTo>
                    <a:lnTo>
                      <a:pt x="10906" y="6744"/>
                    </a:lnTo>
                    <a:lnTo>
                      <a:pt x="10694" y="6744"/>
                    </a:lnTo>
                    <a:lnTo>
                      <a:pt x="10694" y="6857"/>
                    </a:lnTo>
                    <a:lnTo>
                      <a:pt x="10482" y="6857"/>
                    </a:lnTo>
                    <a:lnTo>
                      <a:pt x="10482" y="7269"/>
                    </a:lnTo>
                    <a:lnTo>
                      <a:pt x="10271" y="7269"/>
                    </a:lnTo>
                    <a:lnTo>
                      <a:pt x="10271" y="7700"/>
                    </a:lnTo>
                    <a:lnTo>
                      <a:pt x="10094" y="7700"/>
                    </a:lnTo>
                    <a:lnTo>
                      <a:pt x="10094" y="7924"/>
                    </a:lnTo>
                    <a:lnTo>
                      <a:pt x="9882" y="7924"/>
                    </a:lnTo>
                    <a:lnTo>
                      <a:pt x="10094" y="8018"/>
                    </a:lnTo>
                    <a:lnTo>
                      <a:pt x="10094" y="8130"/>
                    </a:lnTo>
                    <a:lnTo>
                      <a:pt x="9882" y="8130"/>
                    </a:lnTo>
                    <a:lnTo>
                      <a:pt x="9882" y="8449"/>
                    </a:lnTo>
                    <a:lnTo>
                      <a:pt x="9671" y="8449"/>
                    </a:lnTo>
                    <a:lnTo>
                      <a:pt x="9882" y="8449"/>
                    </a:lnTo>
                    <a:lnTo>
                      <a:pt x="9671" y="8449"/>
                    </a:lnTo>
                    <a:lnTo>
                      <a:pt x="9882" y="8561"/>
                    </a:lnTo>
                    <a:lnTo>
                      <a:pt x="9671" y="8561"/>
                    </a:lnTo>
                    <a:lnTo>
                      <a:pt x="9671" y="8880"/>
                    </a:lnTo>
                    <a:lnTo>
                      <a:pt x="9882" y="8992"/>
                    </a:lnTo>
                    <a:lnTo>
                      <a:pt x="9882" y="8880"/>
                    </a:lnTo>
                    <a:lnTo>
                      <a:pt x="9882" y="8992"/>
                    </a:lnTo>
                    <a:lnTo>
                      <a:pt x="9671" y="8992"/>
                    </a:lnTo>
                    <a:lnTo>
                      <a:pt x="9671" y="9086"/>
                    </a:lnTo>
                    <a:lnTo>
                      <a:pt x="9882" y="9086"/>
                    </a:lnTo>
                    <a:lnTo>
                      <a:pt x="9671" y="9086"/>
                    </a:lnTo>
                    <a:lnTo>
                      <a:pt x="9671" y="9517"/>
                    </a:lnTo>
                    <a:lnTo>
                      <a:pt x="9494" y="9517"/>
                    </a:lnTo>
                    <a:lnTo>
                      <a:pt x="9494" y="9835"/>
                    </a:lnTo>
                    <a:lnTo>
                      <a:pt x="9282" y="9835"/>
                    </a:lnTo>
                    <a:lnTo>
                      <a:pt x="9282" y="10154"/>
                    </a:lnTo>
                    <a:lnTo>
                      <a:pt x="9071" y="10154"/>
                    </a:lnTo>
                    <a:lnTo>
                      <a:pt x="9071" y="10378"/>
                    </a:lnTo>
                    <a:lnTo>
                      <a:pt x="8859" y="10378"/>
                    </a:lnTo>
                    <a:lnTo>
                      <a:pt x="8859" y="10585"/>
                    </a:lnTo>
                    <a:lnTo>
                      <a:pt x="8682" y="10585"/>
                    </a:lnTo>
                    <a:lnTo>
                      <a:pt x="8682" y="11128"/>
                    </a:lnTo>
                    <a:lnTo>
                      <a:pt x="8471" y="11128"/>
                    </a:lnTo>
                    <a:lnTo>
                      <a:pt x="8471" y="11334"/>
                    </a:lnTo>
                    <a:lnTo>
                      <a:pt x="8259" y="11334"/>
                    </a:lnTo>
                    <a:lnTo>
                      <a:pt x="8259" y="11446"/>
                    </a:lnTo>
                    <a:lnTo>
                      <a:pt x="8082" y="11446"/>
                    </a:lnTo>
                    <a:lnTo>
                      <a:pt x="8082" y="11765"/>
                    </a:lnTo>
                    <a:lnTo>
                      <a:pt x="7871" y="11765"/>
                    </a:lnTo>
                    <a:lnTo>
                      <a:pt x="7871" y="11877"/>
                    </a:lnTo>
                    <a:lnTo>
                      <a:pt x="8082" y="11877"/>
                    </a:lnTo>
                    <a:lnTo>
                      <a:pt x="8259" y="11990"/>
                    </a:lnTo>
                    <a:lnTo>
                      <a:pt x="8471" y="11990"/>
                    </a:lnTo>
                    <a:lnTo>
                      <a:pt x="8471" y="11877"/>
                    </a:lnTo>
                    <a:lnTo>
                      <a:pt x="8859" y="11877"/>
                    </a:lnTo>
                    <a:lnTo>
                      <a:pt x="8859" y="11990"/>
                    </a:lnTo>
                    <a:lnTo>
                      <a:pt x="9071" y="11990"/>
                    </a:lnTo>
                    <a:lnTo>
                      <a:pt x="9071" y="11877"/>
                    </a:lnTo>
                    <a:lnTo>
                      <a:pt x="9494" y="11877"/>
                    </a:lnTo>
                    <a:lnTo>
                      <a:pt x="9494" y="11765"/>
                    </a:lnTo>
                    <a:lnTo>
                      <a:pt x="9671" y="11765"/>
                    </a:lnTo>
                    <a:lnTo>
                      <a:pt x="9882" y="11652"/>
                    </a:lnTo>
                    <a:lnTo>
                      <a:pt x="10094" y="11652"/>
                    </a:lnTo>
                    <a:lnTo>
                      <a:pt x="10094" y="11559"/>
                    </a:lnTo>
                    <a:lnTo>
                      <a:pt x="10094" y="11652"/>
                    </a:lnTo>
                    <a:lnTo>
                      <a:pt x="10094" y="11559"/>
                    </a:lnTo>
                    <a:lnTo>
                      <a:pt x="10271" y="11559"/>
                    </a:lnTo>
                    <a:lnTo>
                      <a:pt x="10271" y="11652"/>
                    </a:lnTo>
                    <a:lnTo>
                      <a:pt x="10482" y="11652"/>
                    </a:lnTo>
                    <a:lnTo>
                      <a:pt x="10482" y="11877"/>
                    </a:lnTo>
                    <a:lnTo>
                      <a:pt x="10694" y="11877"/>
                    </a:lnTo>
                    <a:lnTo>
                      <a:pt x="10482" y="11990"/>
                    </a:lnTo>
                    <a:lnTo>
                      <a:pt x="10694" y="11990"/>
                    </a:lnTo>
                    <a:lnTo>
                      <a:pt x="10694" y="12196"/>
                    </a:lnTo>
                    <a:lnTo>
                      <a:pt x="10906" y="12196"/>
                    </a:lnTo>
                    <a:lnTo>
                      <a:pt x="10906" y="12308"/>
                    </a:lnTo>
                    <a:lnTo>
                      <a:pt x="10694" y="12308"/>
                    </a:lnTo>
                    <a:lnTo>
                      <a:pt x="10906" y="12308"/>
                    </a:lnTo>
                    <a:lnTo>
                      <a:pt x="10906" y="12514"/>
                    </a:lnTo>
                    <a:lnTo>
                      <a:pt x="11294" y="12514"/>
                    </a:lnTo>
                    <a:lnTo>
                      <a:pt x="11294" y="12402"/>
                    </a:lnTo>
                    <a:lnTo>
                      <a:pt x="11506" y="12402"/>
                    </a:lnTo>
                    <a:lnTo>
                      <a:pt x="11506" y="12308"/>
                    </a:lnTo>
                    <a:lnTo>
                      <a:pt x="11506" y="12402"/>
                    </a:lnTo>
                    <a:lnTo>
                      <a:pt x="11506" y="12308"/>
                    </a:lnTo>
                    <a:lnTo>
                      <a:pt x="11682" y="12308"/>
                    </a:lnTo>
                    <a:lnTo>
                      <a:pt x="11506" y="12308"/>
                    </a:lnTo>
                    <a:lnTo>
                      <a:pt x="11506" y="12083"/>
                    </a:lnTo>
                    <a:lnTo>
                      <a:pt x="11082" y="12083"/>
                    </a:lnTo>
                    <a:lnTo>
                      <a:pt x="11082" y="11990"/>
                    </a:lnTo>
                    <a:lnTo>
                      <a:pt x="11294" y="11990"/>
                    </a:lnTo>
                    <a:lnTo>
                      <a:pt x="11294" y="11877"/>
                    </a:lnTo>
                    <a:lnTo>
                      <a:pt x="11082" y="11877"/>
                    </a:lnTo>
                    <a:lnTo>
                      <a:pt x="11294" y="11877"/>
                    </a:lnTo>
                    <a:lnTo>
                      <a:pt x="11294" y="11652"/>
                    </a:lnTo>
                    <a:lnTo>
                      <a:pt x="11682" y="11652"/>
                    </a:lnTo>
                    <a:lnTo>
                      <a:pt x="11682" y="11559"/>
                    </a:lnTo>
                    <a:lnTo>
                      <a:pt x="11682" y="11877"/>
                    </a:lnTo>
                    <a:lnTo>
                      <a:pt x="11506" y="11877"/>
                    </a:lnTo>
                    <a:lnTo>
                      <a:pt x="11506" y="12083"/>
                    </a:lnTo>
                    <a:lnTo>
                      <a:pt x="11682" y="11990"/>
                    </a:lnTo>
                    <a:lnTo>
                      <a:pt x="12318" y="11990"/>
                    </a:lnTo>
                    <a:lnTo>
                      <a:pt x="12318" y="11877"/>
                    </a:lnTo>
                    <a:lnTo>
                      <a:pt x="12318" y="12083"/>
                    </a:lnTo>
                    <a:lnTo>
                      <a:pt x="12106" y="12083"/>
                    </a:lnTo>
                    <a:lnTo>
                      <a:pt x="12106" y="12308"/>
                    </a:lnTo>
                    <a:lnTo>
                      <a:pt x="12318" y="12308"/>
                    </a:lnTo>
                    <a:lnTo>
                      <a:pt x="12106" y="12308"/>
                    </a:lnTo>
                    <a:lnTo>
                      <a:pt x="12106" y="12402"/>
                    </a:lnTo>
                    <a:lnTo>
                      <a:pt x="11894" y="12514"/>
                    </a:lnTo>
                    <a:lnTo>
                      <a:pt x="11894" y="12627"/>
                    </a:lnTo>
                    <a:lnTo>
                      <a:pt x="12318" y="12627"/>
                    </a:lnTo>
                    <a:lnTo>
                      <a:pt x="12318" y="12514"/>
                    </a:lnTo>
                    <a:lnTo>
                      <a:pt x="12494" y="12514"/>
                    </a:lnTo>
                    <a:lnTo>
                      <a:pt x="12494" y="12402"/>
                    </a:lnTo>
                    <a:lnTo>
                      <a:pt x="12918" y="12402"/>
                    </a:lnTo>
                    <a:lnTo>
                      <a:pt x="12918" y="12196"/>
                    </a:lnTo>
                    <a:lnTo>
                      <a:pt x="13094" y="12196"/>
                    </a:lnTo>
                    <a:lnTo>
                      <a:pt x="13094" y="11877"/>
                    </a:lnTo>
                    <a:lnTo>
                      <a:pt x="12918" y="11765"/>
                    </a:lnTo>
                    <a:lnTo>
                      <a:pt x="13094" y="11765"/>
                    </a:lnTo>
                    <a:lnTo>
                      <a:pt x="13094" y="11652"/>
                    </a:lnTo>
                    <a:lnTo>
                      <a:pt x="13306" y="11652"/>
                    </a:lnTo>
                    <a:lnTo>
                      <a:pt x="13306" y="12308"/>
                    </a:lnTo>
                    <a:lnTo>
                      <a:pt x="13518" y="12308"/>
                    </a:lnTo>
                    <a:lnTo>
                      <a:pt x="13518" y="11652"/>
                    </a:lnTo>
                    <a:lnTo>
                      <a:pt x="13306" y="11652"/>
                    </a:lnTo>
                    <a:lnTo>
                      <a:pt x="13518" y="11652"/>
                    </a:lnTo>
                    <a:lnTo>
                      <a:pt x="13306" y="11559"/>
                    </a:lnTo>
                    <a:lnTo>
                      <a:pt x="13306" y="11446"/>
                    </a:lnTo>
                    <a:lnTo>
                      <a:pt x="13306" y="11559"/>
                    </a:lnTo>
                    <a:lnTo>
                      <a:pt x="13094" y="11559"/>
                    </a:lnTo>
                    <a:lnTo>
                      <a:pt x="13094" y="11240"/>
                    </a:lnTo>
                    <a:lnTo>
                      <a:pt x="12918" y="11240"/>
                    </a:lnTo>
                    <a:lnTo>
                      <a:pt x="13729" y="11240"/>
                    </a:lnTo>
                    <a:lnTo>
                      <a:pt x="13906" y="11128"/>
                    </a:lnTo>
                    <a:lnTo>
                      <a:pt x="14118" y="11015"/>
                    </a:lnTo>
                    <a:lnTo>
                      <a:pt x="14118" y="10903"/>
                    </a:lnTo>
                    <a:lnTo>
                      <a:pt x="14506" y="10903"/>
                    </a:lnTo>
                    <a:lnTo>
                      <a:pt x="14506" y="11015"/>
                    </a:lnTo>
                    <a:lnTo>
                      <a:pt x="15318" y="11015"/>
                    </a:lnTo>
                    <a:lnTo>
                      <a:pt x="15318" y="11240"/>
                    </a:lnTo>
                    <a:lnTo>
                      <a:pt x="15918" y="11240"/>
                    </a:lnTo>
                    <a:lnTo>
                      <a:pt x="15918" y="11334"/>
                    </a:lnTo>
                    <a:lnTo>
                      <a:pt x="16729" y="11334"/>
                    </a:lnTo>
                    <a:lnTo>
                      <a:pt x="16729" y="11446"/>
                    </a:lnTo>
                    <a:lnTo>
                      <a:pt x="16729" y="11334"/>
                    </a:lnTo>
                    <a:lnTo>
                      <a:pt x="16941" y="11446"/>
                    </a:lnTo>
                    <a:lnTo>
                      <a:pt x="16941" y="11334"/>
                    </a:lnTo>
                    <a:lnTo>
                      <a:pt x="16941" y="11446"/>
                    </a:lnTo>
                    <a:lnTo>
                      <a:pt x="17365" y="11446"/>
                    </a:lnTo>
                    <a:lnTo>
                      <a:pt x="17365" y="11334"/>
                    </a:lnTo>
                    <a:lnTo>
                      <a:pt x="17541" y="11334"/>
                    </a:lnTo>
                    <a:lnTo>
                      <a:pt x="17541" y="11446"/>
                    </a:lnTo>
                    <a:lnTo>
                      <a:pt x="17753" y="11559"/>
                    </a:lnTo>
                    <a:lnTo>
                      <a:pt x="17541" y="11559"/>
                    </a:lnTo>
                    <a:lnTo>
                      <a:pt x="17753" y="11559"/>
                    </a:lnTo>
                    <a:lnTo>
                      <a:pt x="17753" y="11652"/>
                    </a:lnTo>
                    <a:lnTo>
                      <a:pt x="17541" y="11652"/>
                    </a:lnTo>
                    <a:lnTo>
                      <a:pt x="17541" y="11765"/>
                    </a:lnTo>
                    <a:lnTo>
                      <a:pt x="16729" y="11765"/>
                    </a:lnTo>
                    <a:lnTo>
                      <a:pt x="16729" y="11877"/>
                    </a:lnTo>
                    <a:lnTo>
                      <a:pt x="17365" y="11877"/>
                    </a:lnTo>
                    <a:lnTo>
                      <a:pt x="17365" y="11990"/>
                    </a:lnTo>
                    <a:lnTo>
                      <a:pt x="17541" y="11877"/>
                    </a:lnTo>
                    <a:lnTo>
                      <a:pt x="17541" y="11990"/>
                    </a:lnTo>
                    <a:lnTo>
                      <a:pt x="17753" y="11990"/>
                    </a:lnTo>
                    <a:lnTo>
                      <a:pt x="17753" y="11877"/>
                    </a:lnTo>
                    <a:lnTo>
                      <a:pt x="17753" y="11990"/>
                    </a:lnTo>
                    <a:lnTo>
                      <a:pt x="17965" y="11990"/>
                    </a:lnTo>
                    <a:lnTo>
                      <a:pt x="17965" y="12083"/>
                    </a:lnTo>
                    <a:lnTo>
                      <a:pt x="18141" y="12083"/>
                    </a:lnTo>
                    <a:lnTo>
                      <a:pt x="18141" y="12402"/>
                    </a:lnTo>
                    <a:lnTo>
                      <a:pt x="18353" y="12402"/>
                    </a:lnTo>
                    <a:lnTo>
                      <a:pt x="18353" y="12514"/>
                    </a:lnTo>
                    <a:lnTo>
                      <a:pt x="18953" y="12514"/>
                    </a:lnTo>
                    <a:lnTo>
                      <a:pt x="18953" y="12833"/>
                    </a:lnTo>
                    <a:lnTo>
                      <a:pt x="19165" y="12833"/>
                    </a:lnTo>
                    <a:lnTo>
                      <a:pt x="19165" y="12945"/>
                    </a:lnTo>
                    <a:lnTo>
                      <a:pt x="18953" y="12945"/>
                    </a:lnTo>
                    <a:lnTo>
                      <a:pt x="18953" y="13263"/>
                    </a:lnTo>
                    <a:lnTo>
                      <a:pt x="19165" y="13263"/>
                    </a:lnTo>
                    <a:lnTo>
                      <a:pt x="18953" y="13263"/>
                    </a:lnTo>
                    <a:lnTo>
                      <a:pt x="18953" y="13376"/>
                    </a:lnTo>
                    <a:lnTo>
                      <a:pt x="18776" y="13470"/>
                    </a:lnTo>
                    <a:lnTo>
                      <a:pt x="18953" y="13470"/>
                    </a:lnTo>
                    <a:lnTo>
                      <a:pt x="18953" y="13694"/>
                    </a:lnTo>
                    <a:lnTo>
                      <a:pt x="18776" y="13694"/>
                    </a:lnTo>
                    <a:lnTo>
                      <a:pt x="19165" y="13694"/>
                    </a:lnTo>
                    <a:lnTo>
                      <a:pt x="19165" y="13807"/>
                    </a:lnTo>
                    <a:lnTo>
                      <a:pt x="18953" y="13807"/>
                    </a:lnTo>
                    <a:lnTo>
                      <a:pt x="18953" y="14013"/>
                    </a:lnTo>
                    <a:lnTo>
                      <a:pt x="19165" y="14013"/>
                    </a:lnTo>
                    <a:lnTo>
                      <a:pt x="19165" y="14125"/>
                    </a:lnTo>
                    <a:lnTo>
                      <a:pt x="19376" y="14125"/>
                    </a:lnTo>
                    <a:lnTo>
                      <a:pt x="19376" y="14650"/>
                    </a:lnTo>
                    <a:lnTo>
                      <a:pt x="19553" y="14650"/>
                    </a:lnTo>
                    <a:lnTo>
                      <a:pt x="19553" y="14875"/>
                    </a:lnTo>
                    <a:lnTo>
                      <a:pt x="19765" y="14875"/>
                    </a:lnTo>
                    <a:lnTo>
                      <a:pt x="19765" y="14968"/>
                    </a:lnTo>
                    <a:lnTo>
                      <a:pt x="19976" y="14968"/>
                    </a:lnTo>
                    <a:lnTo>
                      <a:pt x="19976" y="15193"/>
                    </a:lnTo>
                    <a:lnTo>
                      <a:pt x="20188" y="15193"/>
                    </a:lnTo>
                    <a:lnTo>
                      <a:pt x="20365" y="15305"/>
                    </a:lnTo>
                    <a:lnTo>
                      <a:pt x="20365" y="15193"/>
                    </a:lnTo>
                    <a:lnTo>
                      <a:pt x="20365" y="15305"/>
                    </a:lnTo>
                    <a:lnTo>
                      <a:pt x="20188" y="15399"/>
                    </a:lnTo>
                    <a:lnTo>
                      <a:pt x="20365" y="15399"/>
                    </a:lnTo>
                    <a:lnTo>
                      <a:pt x="20188" y="15512"/>
                    </a:lnTo>
                    <a:lnTo>
                      <a:pt x="20365" y="15512"/>
                    </a:lnTo>
                    <a:lnTo>
                      <a:pt x="20365" y="15624"/>
                    </a:lnTo>
                    <a:lnTo>
                      <a:pt x="20576" y="15624"/>
                    </a:lnTo>
                    <a:lnTo>
                      <a:pt x="20576" y="15718"/>
                    </a:lnTo>
                    <a:lnTo>
                      <a:pt x="20788" y="15718"/>
                    </a:lnTo>
                    <a:lnTo>
                      <a:pt x="20788" y="16055"/>
                    </a:lnTo>
                    <a:lnTo>
                      <a:pt x="20965" y="16055"/>
                    </a:lnTo>
                    <a:lnTo>
                      <a:pt x="20965" y="16148"/>
                    </a:lnTo>
                    <a:lnTo>
                      <a:pt x="20788" y="16261"/>
                    </a:lnTo>
                    <a:lnTo>
                      <a:pt x="20965" y="16261"/>
                    </a:lnTo>
                    <a:lnTo>
                      <a:pt x="20965" y="16148"/>
                    </a:lnTo>
                    <a:lnTo>
                      <a:pt x="20965" y="16373"/>
                    </a:lnTo>
                    <a:lnTo>
                      <a:pt x="21176" y="16373"/>
                    </a:lnTo>
                    <a:lnTo>
                      <a:pt x="20965" y="16467"/>
                    </a:lnTo>
                    <a:lnTo>
                      <a:pt x="21176" y="16467"/>
                    </a:lnTo>
                    <a:lnTo>
                      <a:pt x="20965" y="16467"/>
                    </a:lnTo>
                    <a:lnTo>
                      <a:pt x="20965" y="16579"/>
                    </a:lnTo>
                    <a:lnTo>
                      <a:pt x="21176" y="16467"/>
                    </a:lnTo>
                    <a:lnTo>
                      <a:pt x="21176" y="16579"/>
                    </a:lnTo>
                    <a:lnTo>
                      <a:pt x="21176" y="16467"/>
                    </a:lnTo>
                    <a:lnTo>
                      <a:pt x="21388" y="16467"/>
                    </a:lnTo>
                    <a:lnTo>
                      <a:pt x="21388" y="16692"/>
                    </a:lnTo>
                    <a:lnTo>
                      <a:pt x="21176" y="16692"/>
                    </a:lnTo>
                    <a:lnTo>
                      <a:pt x="21176" y="16785"/>
                    </a:lnTo>
                    <a:lnTo>
                      <a:pt x="21388" y="16785"/>
                    </a:lnTo>
                    <a:lnTo>
                      <a:pt x="21388" y="17010"/>
                    </a:lnTo>
                    <a:lnTo>
                      <a:pt x="21600" y="17010"/>
                    </a:lnTo>
                    <a:lnTo>
                      <a:pt x="21388" y="17010"/>
                    </a:lnTo>
                    <a:lnTo>
                      <a:pt x="21388" y="17123"/>
                    </a:lnTo>
                    <a:lnTo>
                      <a:pt x="21600" y="17123"/>
                    </a:lnTo>
                    <a:lnTo>
                      <a:pt x="21600" y="17441"/>
                    </a:lnTo>
                    <a:lnTo>
                      <a:pt x="21388" y="17441"/>
                    </a:lnTo>
                    <a:lnTo>
                      <a:pt x="21388" y="17872"/>
                    </a:lnTo>
                    <a:lnTo>
                      <a:pt x="21176" y="17966"/>
                    </a:lnTo>
                    <a:lnTo>
                      <a:pt x="21388" y="17966"/>
                    </a:lnTo>
                    <a:lnTo>
                      <a:pt x="21176" y="17966"/>
                    </a:lnTo>
                    <a:lnTo>
                      <a:pt x="21176" y="18827"/>
                    </a:lnTo>
                    <a:lnTo>
                      <a:pt x="20965" y="18715"/>
                    </a:lnTo>
                    <a:lnTo>
                      <a:pt x="20788" y="18827"/>
                    </a:lnTo>
                    <a:lnTo>
                      <a:pt x="20576" y="18827"/>
                    </a:lnTo>
                    <a:lnTo>
                      <a:pt x="20576" y="18940"/>
                    </a:lnTo>
                    <a:lnTo>
                      <a:pt x="20365" y="18940"/>
                    </a:lnTo>
                    <a:lnTo>
                      <a:pt x="20365" y="18827"/>
                    </a:lnTo>
                    <a:lnTo>
                      <a:pt x="20576" y="18827"/>
                    </a:lnTo>
                    <a:lnTo>
                      <a:pt x="20365" y="18827"/>
                    </a:lnTo>
                    <a:lnTo>
                      <a:pt x="20365" y="18715"/>
                    </a:lnTo>
                    <a:lnTo>
                      <a:pt x="20188" y="18715"/>
                    </a:lnTo>
                    <a:lnTo>
                      <a:pt x="20188" y="18621"/>
                    </a:lnTo>
                    <a:lnTo>
                      <a:pt x="20365" y="18621"/>
                    </a:lnTo>
                    <a:lnTo>
                      <a:pt x="20365" y="18509"/>
                    </a:lnTo>
                    <a:lnTo>
                      <a:pt x="20576" y="18509"/>
                    </a:lnTo>
                    <a:lnTo>
                      <a:pt x="20365" y="18397"/>
                    </a:lnTo>
                    <a:lnTo>
                      <a:pt x="20365" y="18284"/>
                    </a:lnTo>
                    <a:lnTo>
                      <a:pt x="19976" y="18284"/>
                    </a:lnTo>
                    <a:lnTo>
                      <a:pt x="19976" y="18190"/>
                    </a:lnTo>
                    <a:lnTo>
                      <a:pt x="19765" y="18190"/>
                    </a:lnTo>
                    <a:lnTo>
                      <a:pt x="19976" y="18190"/>
                    </a:lnTo>
                    <a:lnTo>
                      <a:pt x="19976" y="18078"/>
                    </a:lnTo>
                    <a:lnTo>
                      <a:pt x="19553" y="18078"/>
                    </a:lnTo>
                    <a:lnTo>
                      <a:pt x="19553" y="17966"/>
                    </a:lnTo>
                    <a:lnTo>
                      <a:pt x="19376" y="17966"/>
                    </a:lnTo>
                    <a:lnTo>
                      <a:pt x="19376" y="17872"/>
                    </a:lnTo>
                    <a:lnTo>
                      <a:pt x="19165" y="17872"/>
                    </a:lnTo>
                    <a:lnTo>
                      <a:pt x="18953" y="17966"/>
                    </a:lnTo>
                    <a:lnTo>
                      <a:pt x="18953" y="18190"/>
                    </a:lnTo>
                    <a:lnTo>
                      <a:pt x="18776" y="18190"/>
                    </a:lnTo>
                    <a:lnTo>
                      <a:pt x="18776" y="18397"/>
                    </a:lnTo>
                    <a:lnTo>
                      <a:pt x="18353" y="18397"/>
                    </a:lnTo>
                    <a:lnTo>
                      <a:pt x="18141" y="18509"/>
                    </a:lnTo>
                    <a:lnTo>
                      <a:pt x="18141" y="18715"/>
                    </a:lnTo>
                    <a:lnTo>
                      <a:pt x="18353" y="18715"/>
                    </a:lnTo>
                    <a:lnTo>
                      <a:pt x="18353" y="18827"/>
                    </a:lnTo>
                    <a:lnTo>
                      <a:pt x="18353" y="18715"/>
                    </a:lnTo>
                    <a:lnTo>
                      <a:pt x="18565" y="18715"/>
                    </a:lnTo>
                    <a:lnTo>
                      <a:pt x="18776" y="18827"/>
                    </a:lnTo>
                    <a:lnTo>
                      <a:pt x="18565" y="18827"/>
                    </a:lnTo>
                    <a:lnTo>
                      <a:pt x="18565" y="18940"/>
                    </a:lnTo>
                    <a:lnTo>
                      <a:pt x="19376" y="18940"/>
                    </a:lnTo>
                    <a:lnTo>
                      <a:pt x="19376" y="18827"/>
                    </a:lnTo>
                    <a:lnTo>
                      <a:pt x="19376" y="18940"/>
                    </a:lnTo>
                    <a:lnTo>
                      <a:pt x="19553" y="18827"/>
                    </a:lnTo>
                    <a:lnTo>
                      <a:pt x="19553" y="18940"/>
                    </a:lnTo>
                    <a:lnTo>
                      <a:pt x="19765" y="18940"/>
                    </a:lnTo>
                    <a:lnTo>
                      <a:pt x="19765" y="19146"/>
                    </a:lnTo>
                    <a:lnTo>
                      <a:pt x="19553" y="19146"/>
                    </a:lnTo>
                    <a:lnTo>
                      <a:pt x="19553" y="19352"/>
                    </a:lnTo>
                    <a:lnTo>
                      <a:pt x="19376" y="19352"/>
                    </a:lnTo>
                    <a:lnTo>
                      <a:pt x="19376" y="19577"/>
                    </a:lnTo>
                    <a:lnTo>
                      <a:pt x="19165" y="19577"/>
                    </a:lnTo>
                    <a:lnTo>
                      <a:pt x="19165" y="19689"/>
                    </a:lnTo>
                    <a:lnTo>
                      <a:pt x="18953" y="19689"/>
                    </a:lnTo>
                    <a:lnTo>
                      <a:pt x="18953" y="19577"/>
                    </a:lnTo>
                    <a:lnTo>
                      <a:pt x="18776" y="19577"/>
                    </a:lnTo>
                    <a:lnTo>
                      <a:pt x="18776" y="19689"/>
                    </a:lnTo>
                    <a:lnTo>
                      <a:pt x="18565" y="19689"/>
                    </a:lnTo>
                    <a:lnTo>
                      <a:pt x="18565" y="20008"/>
                    </a:lnTo>
                    <a:lnTo>
                      <a:pt x="18776" y="20008"/>
                    </a:lnTo>
                    <a:lnTo>
                      <a:pt x="18776" y="20101"/>
                    </a:lnTo>
                    <a:lnTo>
                      <a:pt x="18565" y="20101"/>
                    </a:lnTo>
                    <a:lnTo>
                      <a:pt x="18565" y="20439"/>
                    </a:lnTo>
                    <a:lnTo>
                      <a:pt x="18141" y="20439"/>
                    </a:lnTo>
                    <a:lnTo>
                      <a:pt x="18141" y="20532"/>
                    </a:lnTo>
                    <a:lnTo>
                      <a:pt x="17541" y="20532"/>
                    </a:lnTo>
                    <a:lnTo>
                      <a:pt x="17541" y="20645"/>
                    </a:lnTo>
                    <a:lnTo>
                      <a:pt x="17153" y="20645"/>
                    </a:lnTo>
                    <a:lnTo>
                      <a:pt x="17153" y="20532"/>
                    </a:lnTo>
                    <a:lnTo>
                      <a:pt x="16941" y="20532"/>
                    </a:lnTo>
                    <a:lnTo>
                      <a:pt x="16941" y="20645"/>
                    </a:lnTo>
                    <a:lnTo>
                      <a:pt x="16729" y="20645"/>
                    </a:lnTo>
                    <a:lnTo>
                      <a:pt x="16553" y="20757"/>
                    </a:lnTo>
                    <a:lnTo>
                      <a:pt x="16553" y="20532"/>
                    </a:lnTo>
                    <a:lnTo>
                      <a:pt x="15741" y="20532"/>
                    </a:lnTo>
                    <a:lnTo>
                      <a:pt x="15741" y="20645"/>
                    </a:lnTo>
                    <a:lnTo>
                      <a:pt x="15529" y="20645"/>
                    </a:lnTo>
                    <a:lnTo>
                      <a:pt x="15529" y="20757"/>
                    </a:lnTo>
                    <a:lnTo>
                      <a:pt x="15318" y="20757"/>
                    </a:lnTo>
                    <a:lnTo>
                      <a:pt x="15318" y="20963"/>
                    </a:lnTo>
                    <a:lnTo>
                      <a:pt x="15141" y="20963"/>
                    </a:lnTo>
                    <a:lnTo>
                      <a:pt x="15141" y="21075"/>
                    </a:lnTo>
                    <a:lnTo>
                      <a:pt x="15318" y="21075"/>
                    </a:lnTo>
                    <a:lnTo>
                      <a:pt x="15318" y="21394"/>
                    </a:lnTo>
                    <a:lnTo>
                      <a:pt x="15141" y="21394"/>
                    </a:lnTo>
                    <a:lnTo>
                      <a:pt x="15141" y="21506"/>
                    </a:lnTo>
                    <a:lnTo>
                      <a:pt x="14929" y="21506"/>
                    </a:lnTo>
                    <a:lnTo>
                      <a:pt x="14929" y="21600"/>
                    </a:lnTo>
                    <a:lnTo>
                      <a:pt x="14929" y="21506"/>
                    </a:lnTo>
                    <a:lnTo>
                      <a:pt x="14718" y="21506"/>
                    </a:lnTo>
                    <a:lnTo>
                      <a:pt x="14718" y="21188"/>
                    </a:lnTo>
                    <a:lnTo>
                      <a:pt x="14506" y="21188"/>
                    </a:lnTo>
                    <a:lnTo>
                      <a:pt x="14506" y="21075"/>
                    </a:lnTo>
                    <a:lnTo>
                      <a:pt x="14718" y="21075"/>
                    </a:lnTo>
                    <a:lnTo>
                      <a:pt x="14506" y="21075"/>
                    </a:lnTo>
                    <a:lnTo>
                      <a:pt x="14506" y="20963"/>
                    </a:lnTo>
                    <a:lnTo>
                      <a:pt x="14718" y="20963"/>
                    </a:lnTo>
                    <a:lnTo>
                      <a:pt x="14718" y="20851"/>
                    </a:lnTo>
                    <a:lnTo>
                      <a:pt x="14506" y="20851"/>
                    </a:lnTo>
                    <a:lnTo>
                      <a:pt x="14506" y="20532"/>
                    </a:lnTo>
                    <a:lnTo>
                      <a:pt x="14718" y="20532"/>
                    </a:lnTo>
                    <a:lnTo>
                      <a:pt x="14718" y="20326"/>
                    </a:lnTo>
                    <a:lnTo>
                      <a:pt x="14929" y="20326"/>
                    </a:lnTo>
                    <a:lnTo>
                      <a:pt x="14929" y="20008"/>
                    </a:lnTo>
                    <a:lnTo>
                      <a:pt x="14506" y="20008"/>
                    </a:lnTo>
                    <a:lnTo>
                      <a:pt x="14506" y="19895"/>
                    </a:lnTo>
                    <a:lnTo>
                      <a:pt x="14329" y="19895"/>
                    </a:lnTo>
                    <a:lnTo>
                      <a:pt x="14329" y="19577"/>
                    </a:lnTo>
                    <a:lnTo>
                      <a:pt x="14118" y="19577"/>
                    </a:lnTo>
                    <a:lnTo>
                      <a:pt x="14118" y="19464"/>
                    </a:lnTo>
                    <a:lnTo>
                      <a:pt x="13729" y="19464"/>
                    </a:lnTo>
                    <a:lnTo>
                      <a:pt x="13729" y="19352"/>
                    </a:lnTo>
                    <a:lnTo>
                      <a:pt x="14118" y="19352"/>
                    </a:lnTo>
                    <a:lnTo>
                      <a:pt x="14118" y="19258"/>
                    </a:lnTo>
                    <a:lnTo>
                      <a:pt x="14329" y="19258"/>
                    </a:lnTo>
                    <a:lnTo>
                      <a:pt x="14329" y="19033"/>
                    </a:lnTo>
                    <a:lnTo>
                      <a:pt x="13906" y="19033"/>
                    </a:lnTo>
                    <a:lnTo>
                      <a:pt x="13906" y="19146"/>
                    </a:lnTo>
                    <a:lnTo>
                      <a:pt x="13729" y="19146"/>
                    </a:lnTo>
                    <a:lnTo>
                      <a:pt x="13729" y="19033"/>
                    </a:lnTo>
                    <a:lnTo>
                      <a:pt x="13729" y="19146"/>
                    </a:lnTo>
                    <a:lnTo>
                      <a:pt x="13518" y="19146"/>
                    </a:lnTo>
                    <a:lnTo>
                      <a:pt x="13518" y="19033"/>
                    </a:lnTo>
                    <a:lnTo>
                      <a:pt x="13306" y="19033"/>
                    </a:lnTo>
                    <a:lnTo>
                      <a:pt x="13306" y="19146"/>
                    </a:lnTo>
                    <a:lnTo>
                      <a:pt x="13094" y="19146"/>
                    </a:lnTo>
                    <a:lnTo>
                      <a:pt x="13094" y="19258"/>
                    </a:lnTo>
                    <a:lnTo>
                      <a:pt x="12918" y="19258"/>
                    </a:lnTo>
                    <a:lnTo>
                      <a:pt x="12706" y="19352"/>
                    </a:lnTo>
                    <a:lnTo>
                      <a:pt x="11682" y="19352"/>
                    </a:lnTo>
                    <a:lnTo>
                      <a:pt x="11682" y="19258"/>
                    </a:lnTo>
                    <a:lnTo>
                      <a:pt x="11506" y="19258"/>
                    </a:lnTo>
                    <a:lnTo>
                      <a:pt x="11506" y="19146"/>
                    </a:lnTo>
                    <a:lnTo>
                      <a:pt x="11294" y="19146"/>
                    </a:lnTo>
                    <a:lnTo>
                      <a:pt x="11294" y="19033"/>
                    </a:lnTo>
                    <a:lnTo>
                      <a:pt x="11082" y="18940"/>
                    </a:lnTo>
                    <a:lnTo>
                      <a:pt x="11082" y="19033"/>
                    </a:lnTo>
                    <a:lnTo>
                      <a:pt x="10482" y="19033"/>
                    </a:lnTo>
                    <a:lnTo>
                      <a:pt x="10482" y="18940"/>
                    </a:lnTo>
                    <a:lnTo>
                      <a:pt x="10271" y="18940"/>
                    </a:lnTo>
                    <a:lnTo>
                      <a:pt x="10271" y="19033"/>
                    </a:lnTo>
                    <a:lnTo>
                      <a:pt x="10094" y="19033"/>
                    </a:lnTo>
                    <a:lnTo>
                      <a:pt x="10094" y="19146"/>
                    </a:lnTo>
                    <a:lnTo>
                      <a:pt x="9882" y="19146"/>
                    </a:lnTo>
                    <a:lnTo>
                      <a:pt x="9882" y="19033"/>
                    </a:lnTo>
                    <a:lnTo>
                      <a:pt x="9494" y="19033"/>
                    </a:lnTo>
                    <a:lnTo>
                      <a:pt x="9494" y="18940"/>
                    </a:lnTo>
                    <a:lnTo>
                      <a:pt x="9282" y="19033"/>
                    </a:lnTo>
                    <a:lnTo>
                      <a:pt x="9282" y="19258"/>
                    </a:lnTo>
                    <a:lnTo>
                      <a:pt x="9494" y="19352"/>
                    </a:lnTo>
                    <a:lnTo>
                      <a:pt x="9282" y="19352"/>
                    </a:lnTo>
                    <a:lnTo>
                      <a:pt x="9282" y="19258"/>
                    </a:lnTo>
                    <a:lnTo>
                      <a:pt x="9071" y="19258"/>
                    </a:lnTo>
                    <a:lnTo>
                      <a:pt x="9071" y="19352"/>
                    </a:lnTo>
                    <a:lnTo>
                      <a:pt x="8859" y="19352"/>
                    </a:lnTo>
                    <a:lnTo>
                      <a:pt x="8859" y="19464"/>
                    </a:lnTo>
                    <a:lnTo>
                      <a:pt x="8682" y="19464"/>
                    </a:lnTo>
                    <a:lnTo>
                      <a:pt x="8682" y="19577"/>
                    </a:lnTo>
                    <a:lnTo>
                      <a:pt x="8471" y="19577"/>
                    </a:lnTo>
                    <a:lnTo>
                      <a:pt x="8682" y="19464"/>
                    </a:lnTo>
                    <a:lnTo>
                      <a:pt x="8682" y="19258"/>
                    </a:lnTo>
                    <a:lnTo>
                      <a:pt x="8471" y="19258"/>
                    </a:lnTo>
                    <a:lnTo>
                      <a:pt x="8471" y="19146"/>
                    </a:lnTo>
                    <a:lnTo>
                      <a:pt x="8259" y="19033"/>
                    </a:lnTo>
                    <a:lnTo>
                      <a:pt x="8082" y="19033"/>
                    </a:lnTo>
                    <a:lnTo>
                      <a:pt x="8082" y="18940"/>
                    </a:lnTo>
                    <a:lnTo>
                      <a:pt x="8259" y="18940"/>
                    </a:lnTo>
                    <a:lnTo>
                      <a:pt x="8259" y="18827"/>
                    </a:lnTo>
                    <a:lnTo>
                      <a:pt x="8082" y="18827"/>
                    </a:lnTo>
                    <a:lnTo>
                      <a:pt x="8082" y="18715"/>
                    </a:lnTo>
                    <a:lnTo>
                      <a:pt x="7871" y="18621"/>
                    </a:lnTo>
                    <a:lnTo>
                      <a:pt x="7659" y="18621"/>
                    </a:lnTo>
                    <a:lnTo>
                      <a:pt x="7659" y="18509"/>
                    </a:lnTo>
                    <a:lnTo>
                      <a:pt x="7871" y="18509"/>
                    </a:lnTo>
                    <a:lnTo>
                      <a:pt x="7871" y="18397"/>
                    </a:lnTo>
                    <a:lnTo>
                      <a:pt x="7659" y="18397"/>
                    </a:lnTo>
                    <a:lnTo>
                      <a:pt x="7659" y="18284"/>
                    </a:lnTo>
                    <a:lnTo>
                      <a:pt x="7659" y="18397"/>
                    </a:lnTo>
                    <a:lnTo>
                      <a:pt x="7447" y="18397"/>
                    </a:lnTo>
                    <a:lnTo>
                      <a:pt x="7447" y="18284"/>
                    </a:lnTo>
                    <a:lnTo>
                      <a:pt x="6847" y="18284"/>
                    </a:lnTo>
                    <a:lnTo>
                      <a:pt x="6847" y="18397"/>
                    </a:lnTo>
                    <a:lnTo>
                      <a:pt x="6671" y="18284"/>
                    </a:lnTo>
                    <a:lnTo>
                      <a:pt x="6847" y="18284"/>
                    </a:lnTo>
                    <a:lnTo>
                      <a:pt x="6847" y="18078"/>
                    </a:lnTo>
                    <a:lnTo>
                      <a:pt x="6459" y="18078"/>
                    </a:lnTo>
                    <a:lnTo>
                      <a:pt x="6459" y="18190"/>
                    </a:lnTo>
                    <a:lnTo>
                      <a:pt x="6247" y="18190"/>
                    </a:lnTo>
                    <a:lnTo>
                      <a:pt x="6247" y="17760"/>
                    </a:lnTo>
                    <a:lnTo>
                      <a:pt x="6035" y="17760"/>
                    </a:lnTo>
                    <a:lnTo>
                      <a:pt x="6035" y="17647"/>
                    </a:lnTo>
                    <a:lnTo>
                      <a:pt x="6247" y="17647"/>
                    </a:lnTo>
                    <a:lnTo>
                      <a:pt x="6247" y="17329"/>
                    </a:lnTo>
                    <a:lnTo>
                      <a:pt x="6459" y="17216"/>
                    </a:lnTo>
                    <a:lnTo>
                      <a:pt x="6459" y="17123"/>
                    </a:lnTo>
                    <a:lnTo>
                      <a:pt x="6671" y="17123"/>
                    </a:lnTo>
                    <a:lnTo>
                      <a:pt x="6671" y="16898"/>
                    </a:lnTo>
                    <a:lnTo>
                      <a:pt x="6459" y="16898"/>
                    </a:lnTo>
                    <a:lnTo>
                      <a:pt x="6459" y="16785"/>
                    </a:lnTo>
                    <a:lnTo>
                      <a:pt x="6247" y="16785"/>
                    </a:lnTo>
                    <a:lnTo>
                      <a:pt x="6247" y="16692"/>
                    </a:lnTo>
                    <a:lnTo>
                      <a:pt x="6459" y="16692"/>
                    </a:lnTo>
                    <a:lnTo>
                      <a:pt x="6671" y="16579"/>
                    </a:lnTo>
                    <a:lnTo>
                      <a:pt x="6847" y="16579"/>
                    </a:lnTo>
                    <a:lnTo>
                      <a:pt x="6847" y="16467"/>
                    </a:lnTo>
                    <a:lnTo>
                      <a:pt x="7059" y="16467"/>
                    </a:lnTo>
                    <a:lnTo>
                      <a:pt x="6847" y="16467"/>
                    </a:lnTo>
                    <a:lnTo>
                      <a:pt x="7059" y="16373"/>
                    </a:lnTo>
                    <a:lnTo>
                      <a:pt x="7271" y="16373"/>
                    </a:lnTo>
                    <a:lnTo>
                      <a:pt x="7271" y="16261"/>
                    </a:lnTo>
                    <a:lnTo>
                      <a:pt x="7447" y="16261"/>
                    </a:lnTo>
                    <a:lnTo>
                      <a:pt x="7447" y="16148"/>
                    </a:lnTo>
                    <a:lnTo>
                      <a:pt x="7271" y="16148"/>
                    </a:lnTo>
                    <a:lnTo>
                      <a:pt x="7271" y="16055"/>
                    </a:lnTo>
                    <a:lnTo>
                      <a:pt x="7447" y="16055"/>
                    </a:lnTo>
                    <a:lnTo>
                      <a:pt x="7447" y="15830"/>
                    </a:lnTo>
                    <a:lnTo>
                      <a:pt x="7659" y="15830"/>
                    </a:lnTo>
                    <a:lnTo>
                      <a:pt x="7659" y="15624"/>
                    </a:lnTo>
                    <a:lnTo>
                      <a:pt x="8082" y="15624"/>
                    </a:lnTo>
                    <a:lnTo>
                      <a:pt x="8259" y="15512"/>
                    </a:lnTo>
                    <a:lnTo>
                      <a:pt x="8471" y="15399"/>
                    </a:lnTo>
                    <a:lnTo>
                      <a:pt x="8259" y="15399"/>
                    </a:lnTo>
                    <a:lnTo>
                      <a:pt x="8259" y="15305"/>
                    </a:lnTo>
                    <a:lnTo>
                      <a:pt x="8082" y="15305"/>
                    </a:lnTo>
                    <a:lnTo>
                      <a:pt x="8082" y="15193"/>
                    </a:lnTo>
                    <a:lnTo>
                      <a:pt x="7871" y="15193"/>
                    </a:lnTo>
                    <a:lnTo>
                      <a:pt x="7871" y="14875"/>
                    </a:lnTo>
                    <a:lnTo>
                      <a:pt x="8259" y="14875"/>
                    </a:lnTo>
                    <a:lnTo>
                      <a:pt x="8259" y="14968"/>
                    </a:lnTo>
                    <a:lnTo>
                      <a:pt x="8471" y="14968"/>
                    </a:lnTo>
                    <a:lnTo>
                      <a:pt x="8682" y="14875"/>
                    </a:lnTo>
                    <a:lnTo>
                      <a:pt x="8682" y="14968"/>
                    </a:lnTo>
                    <a:lnTo>
                      <a:pt x="8682" y="14875"/>
                    </a:lnTo>
                    <a:lnTo>
                      <a:pt x="9671" y="14875"/>
                    </a:lnTo>
                    <a:lnTo>
                      <a:pt x="9671" y="14762"/>
                    </a:lnTo>
                    <a:lnTo>
                      <a:pt x="9882" y="14762"/>
                    </a:lnTo>
                    <a:lnTo>
                      <a:pt x="9671" y="14650"/>
                    </a:lnTo>
                    <a:lnTo>
                      <a:pt x="9671" y="14444"/>
                    </a:lnTo>
                    <a:lnTo>
                      <a:pt x="9494" y="14444"/>
                    </a:lnTo>
                    <a:lnTo>
                      <a:pt x="9494" y="14331"/>
                    </a:lnTo>
                    <a:lnTo>
                      <a:pt x="9282" y="14331"/>
                    </a:lnTo>
                    <a:lnTo>
                      <a:pt x="9282" y="14013"/>
                    </a:lnTo>
                    <a:lnTo>
                      <a:pt x="9494" y="14013"/>
                    </a:lnTo>
                    <a:lnTo>
                      <a:pt x="9494" y="13900"/>
                    </a:lnTo>
                    <a:lnTo>
                      <a:pt x="9282" y="13900"/>
                    </a:lnTo>
                    <a:lnTo>
                      <a:pt x="9282" y="13694"/>
                    </a:lnTo>
                    <a:lnTo>
                      <a:pt x="9071" y="13694"/>
                    </a:lnTo>
                    <a:lnTo>
                      <a:pt x="9071" y="13582"/>
                    </a:lnTo>
                    <a:lnTo>
                      <a:pt x="9282" y="13582"/>
                    </a:lnTo>
                    <a:lnTo>
                      <a:pt x="9071" y="13582"/>
                    </a:lnTo>
                    <a:lnTo>
                      <a:pt x="9071" y="13470"/>
                    </a:lnTo>
                    <a:lnTo>
                      <a:pt x="8859" y="13470"/>
                    </a:lnTo>
                    <a:lnTo>
                      <a:pt x="8859" y="13582"/>
                    </a:lnTo>
                    <a:lnTo>
                      <a:pt x="8859" y="13470"/>
                    </a:lnTo>
                    <a:lnTo>
                      <a:pt x="8471" y="13470"/>
                    </a:lnTo>
                    <a:lnTo>
                      <a:pt x="8471" y="13582"/>
                    </a:lnTo>
                    <a:lnTo>
                      <a:pt x="8259" y="13582"/>
                    </a:lnTo>
                    <a:lnTo>
                      <a:pt x="8259" y="13694"/>
                    </a:lnTo>
                    <a:lnTo>
                      <a:pt x="8082" y="13694"/>
                    </a:lnTo>
                    <a:lnTo>
                      <a:pt x="8082" y="13807"/>
                    </a:lnTo>
                    <a:lnTo>
                      <a:pt x="7659" y="13807"/>
                    </a:lnTo>
                    <a:lnTo>
                      <a:pt x="7659" y="13900"/>
                    </a:lnTo>
                    <a:lnTo>
                      <a:pt x="7447" y="13900"/>
                    </a:lnTo>
                    <a:lnTo>
                      <a:pt x="7447" y="13807"/>
                    </a:lnTo>
                    <a:lnTo>
                      <a:pt x="7271" y="13807"/>
                    </a:lnTo>
                    <a:lnTo>
                      <a:pt x="7271" y="13900"/>
                    </a:lnTo>
                    <a:lnTo>
                      <a:pt x="7059" y="13900"/>
                    </a:lnTo>
                    <a:lnTo>
                      <a:pt x="7059" y="14125"/>
                    </a:lnTo>
                    <a:lnTo>
                      <a:pt x="6847" y="14125"/>
                    </a:lnTo>
                    <a:lnTo>
                      <a:pt x="6847" y="14219"/>
                    </a:lnTo>
                    <a:lnTo>
                      <a:pt x="7059" y="14219"/>
                    </a:lnTo>
                    <a:lnTo>
                      <a:pt x="6847" y="14331"/>
                    </a:lnTo>
                    <a:lnTo>
                      <a:pt x="6671" y="14331"/>
                    </a:lnTo>
                    <a:lnTo>
                      <a:pt x="6671" y="14444"/>
                    </a:lnTo>
                    <a:lnTo>
                      <a:pt x="6459" y="14444"/>
                    </a:lnTo>
                    <a:lnTo>
                      <a:pt x="6459" y="14556"/>
                    </a:lnTo>
                    <a:lnTo>
                      <a:pt x="6035" y="14556"/>
                    </a:lnTo>
                    <a:lnTo>
                      <a:pt x="6035" y="14650"/>
                    </a:lnTo>
                    <a:lnTo>
                      <a:pt x="5647" y="14650"/>
                    </a:lnTo>
                    <a:lnTo>
                      <a:pt x="5647" y="14875"/>
                    </a:lnTo>
                    <a:lnTo>
                      <a:pt x="5435" y="14875"/>
                    </a:lnTo>
                    <a:lnTo>
                      <a:pt x="5435" y="14762"/>
                    </a:lnTo>
                    <a:lnTo>
                      <a:pt x="5259" y="14762"/>
                    </a:lnTo>
                    <a:lnTo>
                      <a:pt x="5047" y="14875"/>
                    </a:lnTo>
                    <a:lnTo>
                      <a:pt x="4835" y="14875"/>
                    </a:lnTo>
                    <a:lnTo>
                      <a:pt x="4835" y="14650"/>
                    </a:lnTo>
                    <a:lnTo>
                      <a:pt x="4624" y="14650"/>
                    </a:lnTo>
                    <a:lnTo>
                      <a:pt x="4624" y="14556"/>
                    </a:lnTo>
                    <a:lnTo>
                      <a:pt x="4447" y="14444"/>
                    </a:lnTo>
                    <a:lnTo>
                      <a:pt x="4447" y="14331"/>
                    </a:lnTo>
                    <a:lnTo>
                      <a:pt x="4235" y="14331"/>
                    </a:lnTo>
                    <a:lnTo>
                      <a:pt x="4235" y="14219"/>
                    </a:lnTo>
                    <a:lnTo>
                      <a:pt x="4024" y="14219"/>
                    </a:lnTo>
                    <a:lnTo>
                      <a:pt x="4024" y="14331"/>
                    </a:lnTo>
                    <a:lnTo>
                      <a:pt x="3635" y="14331"/>
                    </a:lnTo>
                    <a:lnTo>
                      <a:pt x="3635" y="14444"/>
                    </a:lnTo>
                    <a:lnTo>
                      <a:pt x="3424" y="14331"/>
                    </a:lnTo>
                    <a:lnTo>
                      <a:pt x="3424" y="14444"/>
                    </a:lnTo>
                    <a:lnTo>
                      <a:pt x="3212" y="14331"/>
                    </a:lnTo>
                    <a:lnTo>
                      <a:pt x="3035" y="14331"/>
                    </a:lnTo>
                    <a:lnTo>
                      <a:pt x="3035" y="14444"/>
                    </a:lnTo>
                    <a:lnTo>
                      <a:pt x="3035" y="14331"/>
                    </a:lnTo>
                    <a:lnTo>
                      <a:pt x="2824" y="14444"/>
                    </a:lnTo>
                    <a:lnTo>
                      <a:pt x="2824" y="13807"/>
                    </a:lnTo>
                    <a:lnTo>
                      <a:pt x="3035" y="13807"/>
                    </a:lnTo>
                    <a:lnTo>
                      <a:pt x="3035" y="13694"/>
                    </a:lnTo>
                    <a:lnTo>
                      <a:pt x="3212" y="13694"/>
                    </a:lnTo>
                    <a:lnTo>
                      <a:pt x="3212" y="13807"/>
                    </a:lnTo>
                    <a:lnTo>
                      <a:pt x="3212" y="13694"/>
                    </a:lnTo>
                    <a:lnTo>
                      <a:pt x="3424" y="13694"/>
                    </a:lnTo>
                    <a:lnTo>
                      <a:pt x="3212" y="13694"/>
                    </a:lnTo>
                    <a:lnTo>
                      <a:pt x="3212" y="13151"/>
                    </a:lnTo>
                    <a:lnTo>
                      <a:pt x="3424" y="13151"/>
                    </a:lnTo>
                    <a:lnTo>
                      <a:pt x="3424" y="13057"/>
                    </a:lnTo>
                    <a:lnTo>
                      <a:pt x="3635" y="13057"/>
                    </a:lnTo>
                    <a:lnTo>
                      <a:pt x="3635" y="12833"/>
                    </a:lnTo>
                    <a:lnTo>
                      <a:pt x="3847" y="12833"/>
                    </a:lnTo>
                    <a:lnTo>
                      <a:pt x="3847" y="12627"/>
                    </a:lnTo>
                    <a:lnTo>
                      <a:pt x="4447" y="12402"/>
                    </a:lnTo>
                    <a:lnTo>
                      <a:pt x="4235" y="12402"/>
                    </a:lnTo>
                    <a:lnTo>
                      <a:pt x="4235" y="12308"/>
                    </a:lnTo>
                    <a:lnTo>
                      <a:pt x="4024" y="12308"/>
                    </a:lnTo>
                    <a:lnTo>
                      <a:pt x="4024" y="12196"/>
                    </a:lnTo>
                    <a:lnTo>
                      <a:pt x="4447" y="12196"/>
                    </a:lnTo>
                    <a:lnTo>
                      <a:pt x="4447" y="12083"/>
                    </a:lnTo>
                    <a:lnTo>
                      <a:pt x="4235" y="11990"/>
                    </a:lnTo>
                    <a:lnTo>
                      <a:pt x="4447" y="11990"/>
                    </a:lnTo>
                    <a:lnTo>
                      <a:pt x="4624" y="11877"/>
                    </a:lnTo>
                    <a:lnTo>
                      <a:pt x="4024" y="11877"/>
                    </a:lnTo>
                    <a:lnTo>
                      <a:pt x="4024" y="11652"/>
                    </a:lnTo>
                    <a:lnTo>
                      <a:pt x="3424" y="11652"/>
                    </a:lnTo>
                    <a:lnTo>
                      <a:pt x="3424" y="11765"/>
                    </a:lnTo>
                    <a:lnTo>
                      <a:pt x="3212" y="11765"/>
                    </a:lnTo>
                    <a:lnTo>
                      <a:pt x="3035" y="11877"/>
                    </a:lnTo>
                    <a:lnTo>
                      <a:pt x="3035" y="11990"/>
                    </a:lnTo>
                    <a:lnTo>
                      <a:pt x="2824" y="11877"/>
                    </a:lnTo>
                    <a:lnTo>
                      <a:pt x="2612" y="11990"/>
                    </a:lnTo>
                    <a:lnTo>
                      <a:pt x="2435" y="11990"/>
                    </a:lnTo>
                    <a:lnTo>
                      <a:pt x="2435" y="12083"/>
                    </a:lnTo>
                    <a:lnTo>
                      <a:pt x="1800" y="12083"/>
                    </a:lnTo>
                    <a:lnTo>
                      <a:pt x="1800" y="11990"/>
                    </a:lnTo>
                    <a:lnTo>
                      <a:pt x="1624" y="11990"/>
                    </a:lnTo>
                    <a:lnTo>
                      <a:pt x="1624" y="11877"/>
                    </a:lnTo>
                    <a:lnTo>
                      <a:pt x="1412" y="11877"/>
                    </a:lnTo>
                    <a:lnTo>
                      <a:pt x="1624" y="11877"/>
                    </a:lnTo>
                    <a:lnTo>
                      <a:pt x="1624" y="11765"/>
                    </a:lnTo>
                    <a:lnTo>
                      <a:pt x="1412" y="11765"/>
                    </a:lnTo>
                    <a:lnTo>
                      <a:pt x="1412" y="11015"/>
                    </a:lnTo>
                    <a:lnTo>
                      <a:pt x="1624" y="11015"/>
                    </a:lnTo>
                    <a:lnTo>
                      <a:pt x="1624" y="11128"/>
                    </a:lnTo>
                    <a:lnTo>
                      <a:pt x="1624" y="11015"/>
                    </a:lnTo>
                    <a:lnTo>
                      <a:pt x="1800" y="11015"/>
                    </a:lnTo>
                    <a:lnTo>
                      <a:pt x="1624" y="11015"/>
                    </a:lnTo>
                    <a:lnTo>
                      <a:pt x="1624" y="10903"/>
                    </a:lnTo>
                    <a:lnTo>
                      <a:pt x="1800" y="10903"/>
                    </a:lnTo>
                    <a:lnTo>
                      <a:pt x="1800" y="11015"/>
                    </a:lnTo>
                    <a:lnTo>
                      <a:pt x="2012" y="11015"/>
                    </a:lnTo>
                    <a:lnTo>
                      <a:pt x="2012" y="10903"/>
                    </a:lnTo>
                    <a:lnTo>
                      <a:pt x="1800" y="10903"/>
                    </a:lnTo>
                    <a:lnTo>
                      <a:pt x="1800" y="10491"/>
                    </a:lnTo>
                    <a:lnTo>
                      <a:pt x="1412" y="10491"/>
                    </a:lnTo>
                    <a:lnTo>
                      <a:pt x="1412" y="10378"/>
                    </a:lnTo>
                    <a:lnTo>
                      <a:pt x="1200" y="10378"/>
                    </a:lnTo>
                    <a:lnTo>
                      <a:pt x="988" y="10266"/>
                    </a:lnTo>
                    <a:lnTo>
                      <a:pt x="1200" y="10266"/>
                    </a:lnTo>
                    <a:lnTo>
                      <a:pt x="600" y="10266"/>
                    </a:lnTo>
                    <a:lnTo>
                      <a:pt x="600" y="10060"/>
                    </a:lnTo>
                    <a:lnTo>
                      <a:pt x="988" y="10060"/>
                    </a:lnTo>
                    <a:lnTo>
                      <a:pt x="988" y="9517"/>
                    </a:lnTo>
                    <a:lnTo>
                      <a:pt x="1200" y="9517"/>
                    </a:lnTo>
                    <a:lnTo>
                      <a:pt x="1200" y="9311"/>
                    </a:lnTo>
                    <a:lnTo>
                      <a:pt x="600" y="9311"/>
                    </a:lnTo>
                    <a:lnTo>
                      <a:pt x="600" y="9198"/>
                    </a:lnTo>
                    <a:lnTo>
                      <a:pt x="388" y="9198"/>
                    </a:lnTo>
                    <a:lnTo>
                      <a:pt x="388" y="9086"/>
                    </a:lnTo>
                    <a:lnTo>
                      <a:pt x="212" y="9086"/>
                    </a:lnTo>
                    <a:lnTo>
                      <a:pt x="212" y="8992"/>
                    </a:lnTo>
                    <a:lnTo>
                      <a:pt x="0" y="8992"/>
                    </a:lnTo>
                    <a:lnTo>
                      <a:pt x="212" y="8992"/>
                    </a:lnTo>
                    <a:lnTo>
                      <a:pt x="212" y="8880"/>
                    </a:lnTo>
                    <a:lnTo>
                      <a:pt x="388" y="8880"/>
                    </a:lnTo>
                    <a:lnTo>
                      <a:pt x="388" y="8992"/>
                    </a:lnTo>
                    <a:lnTo>
                      <a:pt x="388" y="8880"/>
                    </a:lnTo>
                    <a:lnTo>
                      <a:pt x="600" y="8880"/>
                    </a:lnTo>
                    <a:lnTo>
                      <a:pt x="600" y="8992"/>
                    </a:lnTo>
                    <a:lnTo>
                      <a:pt x="812" y="8992"/>
                    </a:lnTo>
                    <a:lnTo>
                      <a:pt x="812" y="8880"/>
                    </a:lnTo>
                    <a:lnTo>
                      <a:pt x="600" y="8880"/>
                    </a:lnTo>
                    <a:lnTo>
                      <a:pt x="600" y="8674"/>
                    </a:lnTo>
                    <a:lnTo>
                      <a:pt x="812" y="8674"/>
                    </a:lnTo>
                    <a:lnTo>
                      <a:pt x="812" y="8561"/>
                    </a:lnTo>
                    <a:lnTo>
                      <a:pt x="600" y="8561"/>
                    </a:lnTo>
                    <a:lnTo>
                      <a:pt x="600" y="8449"/>
                    </a:lnTo>
                    <a:lnTo>
                      <a:pt x="388" y="8449"/>
                    </a:lnTo>
                    <a:lnTo>
                      <a:pt x="388" y="8337"/>
                    </a:lnTo>
                    <a:lnTo>
                      <a:pt x="812" y="8337"/>
                    </a:lnTo>
                    <a:lnTo>
                      <a:pt x="812" y="8018"/>
                    </a:lnTo>
                    <a:lnTo>
                      <a:pt x="600" y="8018"/>
                    </a:lnTo>
                    <a:lnTo>
                      <a:pt x="600" y="7812"/>
                    </a:lnTo>
                    <a:lnTo>
                      <a:pt x="812" y="7812"/>
                    </a:lnTo>
                    <a:lnTo>
                      <a:pt x="812" y="7493"/>
                    </a:lnTo>
                    <a:lnTo>
                      <a:pt x="600" y="7493"/>
                    </a:lnTo>
                    <a:lnTo>
                      <a:pt x="812" y="7493"/>
                    </a:lnTo>
                    <a:lnTo>
                      <a:pt x="812" y="7269"/>
                    </a:lnTo>
                    <a:lnTo>
                      <a:pt x="988" y="7269"/>
                    </a:lnTo>
                    <a:lnTo>
                      <a:pt x="988" y="7175"/>
                    </a:lnTo>
                    <a:lnTo>
                      <a:pt x="1200" y="7175"/>
                    </a:lnTo>
                    <a:lnTo>
                      <a:pt x="1200" y="7063"/>
                    </a:lnTo>
                    <a:lnTo>
                      <a:pt x="1624" y="7063"/>
                    </a:lnTo>
                    <a:lnTo>
                      <a:pt x="1800" y="6950"/>
                    </a:lnTo>
                    <a:lnTo>
                      <a:pt x="2612" y="6950"/>
                    </a:lnTo>
                    <a:lnTo>
                      <a:pt x="2612" y="6857"/>
                    </a:lnTo>
                    <a:lnTo>
                      <a:pt x="3424" y="6857"/>
                    </a:lnTo>
                    <a:lnTo>
                      <a:pt x="3424" y="6632"/>
                    </a:lnTo>
                    <a:lnTo>
                      <a:pt x="3212" y="6632"/>
                    </a:lnTo>
                    <a:lnTo>
                      <a:pt x="3212" y="6426"/>
                    </a:lnTo>
                    <a:lnTo>
                      <a:pt x="3424" y="6313"/>
                    </a:lnTo>
                    <a:lnTo>
                      <a:pt x="3424" y="6201"/>
                    </a:lnTo>
                    <a:lnTo>
                      <a:pt x="3635" y="6201"/>
                    </a:lnTo>
                    <a:lnTo>
                      <a:pt x="3635" y="6107"/>
                    </a:lnTo>
                    <a:lnTo>
                      <a:pt x="3847" y="6107"/>
                    </a:lnTo>
                    <a:lnTo>
                      <a:pt x="3847" y="6201"/>
                    </a:lnTo>
                    <a:lnTo>
                      <a:pt x="3847" y="6107"/>
                    </a:lnTo>
                    <a:lnTo>
                      <a:pt x="4024" y="6201"/>
                    </a:lnTo>
                    <a:lnTo>
                      <a:pt x="4235" y="6201"/>
                    </a:lnTo>
                    <a:lnTo>
                      <a:pt x="4235" y="6107"/>
                    </a:lnTo>
                    <a:lnTo>
                      <a:pt x="4835" y="6107"/>
                    </a:lnTo>
                    <a:lnTo>
                      <a:pt x="4835" y="5995"/>
                    </a:lnTo>
                    <a:lnTo>
                      <a:pt x="5047" y="5995"/>
                    </a:lnTo>
                    <a:lnTo>
                      <a:pt x="5047" y="5882"/>
                    </a:lnTo>
                    <a:lnTo>
                      <a:pt x="5259" y="5882"/>
                    </a:lnTo>
                    <a:lnTo>
                      <a:pt x="5259" y="5676"/>
                    </a:lnTo>
                    <a:lnTo>
                      <a:pt x="5435" y="5676"/>
                    </a:lnTo>
                    <a:lnTo>
                      <a:pt x="5435" y="5564"/>
                    </a:lnTo>
                    <a:lnTo>
                      <a:pt x="5259" y="5452"/>
                    </a:lnTo>
                    <a:lnTo>
                      <a:pt x="5435" y="5452"/>
                    </a:lnTo>
                    <a:lnTo>
                      <a:pt x="5435" y="5245"/>
                    </a:lnTo>
                    <a:lnTo>
                      <a:pt x="5859" y="5245"/>
                    </a:lnTo>
                    <a:lnTo>
                      <a:pt x="5859" y="5133"/>
                    </a:lnTo>
                    <a:lnTo>
                      <a:pt x="5647" y="513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48" name="Shape 2974"/>
              <p:cNvSpPr/>
              <p:nvPr/>
            </p:nvSpPr>
            <p:spPr>
              <a:xfrm>
                <a:off x="12528629" y="2442535"/>
                <a:ext cx="1114972" cy="10961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194" y="16904"/>
                    </a:moveTo>
                    <a:lnTo>
                      <a:pt x="19194" y="16563"/>
                    </a:lnTo>
                    <a:lnTo>
                      <a:pt x="19054" y="16563"/>
                    </a:lnTo>
                    <a:lnTo>
                      <a:pt x="19054" y="16421"/>
                    </a:lnTo>
                    <a:lnTo>
                      <a:pt x="19054" y="16563"/>
                    </a:lnTo>
                    <a:lnTo>
                      <a:pt x="19194" y="16563"/>
                    </a:lnTo>
                    <a:lnTo>
                      <a:pt x="19194" y="15282"/>
                    </a:lnTo>
                    <a:lnTo>
                      <a:pt x="19362" y="15111"/>
                    </a:lnTo>
                    <a:lnTo>
                      <a:pt x="19362" y="14457"/>
                    </a:lnTo>
                    <a:lnTo>
                      <a:pt x="19194" y="14457"/>
                    </a:lnTo>
                    <a:lnTo>
                      <a:pt x="19194" y="14286"/>
                    </a:lnTo>
                    <a:lnTo>
                      <a:pt x="19362" y="14286"/>
                    </a:lnTo>
                    <a:lnTo>
                      <a:pt x="19362" y="13973"/>
                    </a:lnTo>
                    <a:lnTo>
                      <a:pt x="19530" y="13973"/>
                    </a:lnTo>
                    <a:lnTo>
                      <a:pt x="19530" y="13802"/>
                    </a:lnTo>
                    <a:lnTo>
                      <a:pt x="19362" y="13802"/>
                    </a:lnTo>
                    <a:lnTo>
                      <a:pt x="19362" y="13973"/>
                    </a:lnTo>
                    <a:lnTo>
                      <a:pt x="19054" y="13973"/>
                    </a:lnTo>
                    <a:lnTo>
                      <a:pt x="19054" y="13802"/>
                    </a:lnTo>
                    <a:lnTo>
                      <a:pt x="18886" y="13802"/>
                    </a:lnTo>
                    <a:lnTo>
                      <a:pt x="18886" y="13632"/>
                    </a:lnTo>
                    <a:lnTo>
                      <a:pt x="19054" y="13632"/>
                    </a:lnTo>
                    <a:lnTo>
                      <a:pt x="19194" y="13802"/>
                    </a:lnTo>
                    <a:lnTo>
                      <a:pt x="19194" y="13489"/>
                    </a:lnTo>
                    <a:lnTo>
                      <a:pt x="19362" y="13489"/>
                    </a:lnTo>
                    <a:lnTo>
                      <a:pt x="19194" y="13489"/>
                    </a:lnTo>
                    <a:lnTo>
                      <a:pt x="19194" y="13632"/>
                    </a:lnTo>
                    <a:lnTo>
                      <a:pt x="19362" y="13632"/>
                    </a:lnTo>
                    <a:lnTo>
                      <a:pt x="19362" y="13802"/>
                    </a:lnTo>
                    <a:lnTo>
                      <a:pt x="19530" y="13802"/>
                    </a:lnTo>
                    <a:lnTo>
                      <a:pt x="19530" y="13632"/>
                    </a:lnTo>
                    <a:lnTo>
                      <a:pt x="19669" y="13632"/>
                    </a:lnTo>
                    <a:lnTo>
                      <a:pt x="19669" y="13489"/>
                    </a:lnTo>
                    <a:lnTo>
                      <a:pt x="19530" y="13489"/>
                    </a:lnTo>
                    <a:lnTo>
                      <a:pt x="19837" y="13489"/>
                    </a:lnTo>
                    <a:lnTo>
                      <a:pt x="19837" y="13319"/>
                    </a:lnTo>
                    <a:lnTo>
                      <a:pt x="20173" y="13319"/>
                    </a:lnTo>
                    <a:lnTo>
                      <a:pt x="20173" y="13148"/>
                    </a:lnTo>
                    <a:lnTo>
                      <a:pt x="20313" y="13148"/>
                    </a:lnTo>
                    <a:lnTo>
                      <a:pt x="20313" y="13006"/>
                    </a:lnTo>
                    <a:lnTo>
                      <a:pt x="20649" y="13006"/>
                    </a:lnTo>
                    <a:lnTo>
                      <a:pt x="20649" y="12835"/>
                    </a:lnTo>
                    <a:lnTo>
                      <a:pt x="20956" y="12835"/>
                    </a:lnTo>
                    <a:lnTo>
                      <a:pt x="20956" y="12664"/>
                    </a:lnTo>
                    <a:lnTo>
                      <a:pt x="20649" y="12664"/>
                    </a:lnTo>
                    <a:lnTo>
                      <a:pt x="20649" y="12493"/>
                    </a:lnTo>
                    <a:lnTo>
                      <a:pt x="20789" y="12351"/>
                    </a:lnTo>
                    <a:lnTo>
                      <a:pt x="20789" y="12180"/>
                    </a:lnTo>
                    <a:lnTo>
                      <a:pt x="20649" y="12180"/>
                    </a:lnTo>
                    <a:lnTo>
                      <a:pt x="20649" y="11867"/>
                    </a:lnTo>
                    <a:lnTo>
                      <a:pt x="20313" y="11867"/>
                    </a:lnTo>
                    <a:lnTo>
                      <a:pt x="20313" y="11696"/>
                    </a:lnTo>
                    <a:lnTo>
                      <a:pt x="20173" y="11696"/>
                    </a:lnTo>
                    <a:lnTo>
                      <a:pt x="20173" y="11867"/>
                    </a:lnTo>
                    <a:lnTo>
                      <a:pt x="19837" y="11867"/>
                    </a:lnTo>
                    <a:lnTo>
                      <a:pt x="19837" y="11526"/>
                    </a:lnTo>
                    <a:lnTo>
                      <a:pt x="19362" y="11526"/>
                    </a:lnTo>
                    <a:lnTo>
                      <a:pt x="19362" y="11696"/>
                    </a:lnTo>
                    <a:lnTo>
                      <a:pt x="19054" y="11696"/>
                    </a:lnTo>
                    <a:lnTo>
                      <a:pt x="19054" y="11526"/>
                    </a:lnTo>
                    <a:lnTo>
                      <a:pt x="19194" y="11526"/>
                    </a:lnTo>
                    <a:lnTo>
                      <a:pt x="18718" y="11526"/>
                    </a:lnTo>
                    <a:lnTo>
                      <a:pt x="18718" y="11383"/>
                    </a:lnTo>
                    <a:lnTo>
                      <a:pt x="18550" y="11383"/>
                    </a:lnTo>
                    <a:lnTo>
                      <a:pt x="18550" y="11526"/>
                    </a:lnTo>
                    <a:lnTo>
                      <a:pt x="18886" y="11526"/>
                    </a:lnTo>
                    <a:lnTo>
                      <a:pt x="18886" y="11696"/>
                    </a:lnTo>
                    <a:lnTo>
                      <a:pt x="18718" y="11696"/>
                    </a:lnTo>
                    <a:lnTo>
                      <a:pt x="18886" y="11696"/>
                    </a:lnTo>
                    <a:lnTo>
                      <a:pt x="18718" y="11526"/>
                    </a:lnTo>
                    <a:lnTo>
                      <a:pt x="18550" y="11526"/>
                    </a:lnTo>
                    <a:lnTo>
                      <a:pt x="18550" y="11867"/>
                    </a:lnTo>
                    <a:lnTo>
                      <a:pt x="18410" y="11867"/>
                    </a:lnTo>
                    <a:lnTo>
                      <a:pt x="18410" y="11696"/>
                    </a:lnTo>
                    <a:lnTo>
                      <a:pt x="18242" y="11696"/>
                    </a:lnTo>
                    <a:lnTo>
                      <a:pt x="18410" y="11696"/>
                    </a:lnTo>
                    <a:lnTo>
                      <a:pt x="18410" y="11526"/>
                    </a:lnTo>
                    <a:lnTo>
                      <a:pt x="18550" y="11526"/>
                    </a:lnTo>
                    <a:lnTo>
                      <a:pt x="18410" y="11526"/>
                    </a:lnTo>
                    <a:lnTo>
                      <a:pt x="18410" y="11383"/>
                    </a:lnTo>
                    <a:lnTo>
                      <a:pt x="18410" y="11526"/>
                    </a:lnTo>
                    <a:lnTo>
                      <a:pt x="18410" y="11383"/>
                    </a:lnTo>
                    <a:lnTo>
                      <a:pt x="18550" y="11383"/>
                    </a:lnTo>
                    <a:lnTo>
                      <a:pt x="18410" y="11383"/>
                    </a:lnTo>
                    <a:lnTo>
                      <a:pt x="18410" y="11213"/>
                    </a:lnTo>
                    <a:lnTo>
                      <a:pt x="18242" y="11213"/>
                    </a:lnTo>
                    <a:lnTo>
                      <a:pt x="18075" y="11042"/>
                    </a:lnTo>
                    <a:lnTo>
                      <a:pt x="17935" y="11042"/>
                    </a:lnTo>
                    <a:lnTo>
                      <a:pt x="17935" y="11213"/>
                    </a:lnTo>
                    <a:lnTo>
                      <a:pt x="17767" y="11213"/>
                    </a:lnTo>
                    <a:lnTo>
                      <a:pt x="17767" y="11042"/>
                    </a:lnTo>
                    <a:lnTo>
                      <a:pt x="17599" y="11042"/>
                    </a:lnTo>
                    <a:lnTo>
                      <a:pt x="17767" y="11042"/>
                    </a:lnTo>
                    <a:lnTo>
                      <a:pt x="17431" y="11042"/>
                    </a:lnTo>
                    <a:lnTo>
                      <a:pt x="17291" y="10871"/>
                    </a:lnTo>
                    <a:lnTo>
                      <a:pt x="17123" y="10871"/>
                    </a:lnTo>
                    <a:lnTo>
                      <a:pt x="17123" y="11213"/>
                    </a:lnTo>
                    <a:lnTo>
                      <a:pt x="17291" y="11213"/>
                    </a:lnTo>
                    <a:lnTo>
                      <a:pt x="17123" y="11383"/>
                    </a:lnTo>
                    <a:lnTo>
                      <a:pt x="16312" y="11383"/>
                    </a:lnTo>
                    <a:lnTo>
                      <a:pt x="16312" y="11213"/>
                    </a:lnTo>
                    <a:lnTo>
                      <a:pt x="16172" y="11213"/>
                    </a:lnTo>
                    <a:lnTo>
                      <a:pt x="16172" y="11042"/>
                    </a:lnTo>
                    <a:lnTo>
                      <a:pt x="15836" y="11042"/>
                    </a:lnTo>
                    <a:lnTo>
                      <a:pt x="15836" y="11526"/>
                    </a:lnTo>
                    <a:lnTo>
                      <a:pt x="16004" y="11696"/>
                    </a:lnTo>
                    <a:lnTo>
                      <a:pt x="15668" y="11696"/>
                    </a:lnTo>
                    <a:lnTo>
                      <a:pt x="15668" y="11867"/>
                    </a:lnTo>
                    <a:lnTo>
                      <a:pt x="15528" y="11867"/>
                    </a:lnTo>
                    <a:lnTo>
                      <a:pt x="15668" y="11867"/>
                    </a:lnTo>
                    <a:lnTo>
                      <a:pt x="15668" y="12009"/>
                    </a:lnTo>
                    <a:lnTo>
                      <a:pt x="15528" y="12009"/>
                    </a:lnTo>
                    <a:lnTo>
                      <a:pt x="15528" y="12180"/>
                    </a:lnTo>
                    <a:lnTo>
                      <a:pt x="15668" y="12180"/>
                    </a:lnTo>
                    <a:lnTo>
                      <a:pt x="15528" y="12180"/>
                    </a:lnTo>
                    <a:lnTo>
                      <a:pt x="15528" y="11867"/>
                    </a:lnTo>
                    <a:lnTo>
                      <a:pt x="15193" y="11867"/>
                    </a:lnTo>
                    <a:lnTo>
                      <a:pt x="15193" y="11696"/>
                    </a:lnTo>
                    <a:lnTo>
                      <a:pt x="15053" y="11696"/>
                    </a:lnTo>
                    <a:lnTo>
                      <a:pt x="15053" y="11867"/>
                    </a:lnTo>
                    <a:lnTo>
                      <a:pt x="14885" y="11867"/>
                    </a:lnTo>
                    <a:lnTo>
                      <a:pt x="14885" y="11696"/>
                    </a:lnTo>
                    <a:lnTo>
                      <a:pt x="15361" y="11696"/>
                    </a:lnTo>
                    <a:lnTo>
                      <a:pt x="15361" y="11383"/>
                    </a:lnTo>
                    <a:lnTo>
                      <a:pt x="15668" y="11383"/>
                    </a:lnTo>
                    <a:lnTo>
                      <a:pt x="15668" y="11213"/>
                    </a:lnTo>
                    <a:lnTo>
                      <a:pt x="15836" y="11213"/>
                    </a:lnTo>
                    <a:lnTo>
                      <a:pt x="15836" y="11042"/>
                    </a:lnTo>
                    <a:lnTo>
                      <a:pt x="15668" y="11042"/>
                    </a:lnTo>
                    <a:lnTo>
                      <a:pt x="15668" y="10871"/>
                    </a:lnTo>
                    <a:lnTo>
                      <a:pt x="15528" y="10871"/>
                    </a:lnTo>
                    <a:lnTo>
                      <a:pt x="15528" y="11042"/>
                    </a:lnTo>
                    <a:lnTo>
                      <a:pt x="15528" y="10871"/>
                    </a:lnTo>
                    <a:lnTo>
                      <a:pt x="15528" y="11042"/>
                    </a:lnTo>
                    <a:lnTo>
                      <a:pt x="15193" y="11042"/>
                    </a:lnTo>
                    <a:lnTo>
                      <a:pt x="15193" y="11213"/>
                    </a:lnTo>
                    <a:lnTo>
                      <a:pt x="15053" y="11383"/>
                    </a:lnTo>
                    <a:lnTo>
                      <a:pt x="14885" y="11383"/>
                    </a:lnTo>
                    <a:lnTo>
                      <a:pt x="14885" y="11526"/>
                    </a:lnTo>
                    <a:lnTo>
                      <a:pt x="14885" y="11383"/>
                    </a:lnTo>
                    <a:lnTo>
                      <a:pt x="15053" y="11383"/>
                    </a:lnTo>
                    <a:lnTo>
                      <a:pt x="15053" y="11042"/>
                    </a:lnTo>
                    <a:lnTo>
                      <a:pt x="15193" y="11042"/>
                    </a:lnTo>
                    <a:lnTo>
                      <a:pt x="15193" y="10871"/>
                    </a:lnTo>
                    <a:lnTo>
                      <a:pt x="15668" y="10871"/>
                    </a:lnTo>
                    <a:lnTo>
                      <a:pt x="15668" y="10729"/>
                    </a:lnTo>
                    <a:lnTo>
                      <a:pt x="15668" y="10871"/>
                    </a:lnTo>
                    <a:lnTo>
                      <a:pt x="16312" y="10871"/>
                    </a:lnTo>
                    <a:lnTo>
                      <a:pt x="16312" y="10729"/>
                    </a:lnTo>
                    <a:lnTo>
                      <a:pt x="16480" y="10729"/>
                    </a:lnTo>
                    <a:lnTo>
                      <a:pt x="16480" y="10558"/>
                    </a:lnTo>
                    <a:lnTo>
                      <a:pt x="16648" y="10558"/>
                    </a:lnTo>
                    <a:lnTo>
                      <a:pt x="16648" y="10245"/>
                    </a:lnTo>
                    <a:lnTo>
                      <a:pt x="16816" y="10245"/>
                    </a:lnTo>
                    <a:lnTo>
                      <a:pt x="16816" y="10387"/>
                    </a:lnTo>
                    <a:lnTo>
                      <a:pt x="16816" y="9591"/>
                    </a:lnTo>
                    <a:lnTo>
                      <a:pt x="16955" y="9591"/>
                    </a:lnTo>
                    <a:lnTo>
                      <a:pt x="16955" y="9420"/>
                    </a:lnTo>
                    <a:lnTo>
                      <a:pt x="16816" y="9249"/>
                    </a:lnTo>
                    <a:lnTo>
                      <a:pt x="16816" y="8281"/>
                    </a:lnTo>
                    <a:lnTo>
                      <a:pt x="16648" y="8281"/>
                    </a:lnTo>
                    <a:lnTo>
                      <a:pt x="16480" y="8111"/>
                    </a:lnTo>
                    <a:lnTo>
                      <a:pt x="16480" y="7968"/>
                    </a:lnTo>
                    <a:lnTo>
                      <a:pt x="16312" y="7968"/>
                    </a:lnTo>
                    <a:lnTo>
                      <a:pt x="16312" y="8281"/>
                    </a:lnTo>
                    <a:lnTo>
                      <a:pt x="16172" y="8281"/>
                    </a:lnTo>
                    <a:lnTo>
                      <a:pt x="16312" y="8281"/>
                    </a:lnTo>
                    <a:lnTo>
                      <a:pt x="16312" y="8452"/>
                    </a:lnTo>
                    <a:lnTo>
                      <a:pt x="16172" y="8594"/>
                    </a:lnTo>
                    <a:lnTo>
                      <a:pt x="16172" y="8281"/>
                    </a:lnTo>
                    <a:lnTo>
                      <a:pt x="16312" y="8111"/>
                    </a:lnTo>
                    <a:lnTo>
                      <a:pt x="16312" y="7627"/>
                    </a:lnTo>
                    <a:lnTo>
                      <a:pt x="15361" y="7627"/>
                    </a:lnTo>
                    <a:lnTo>
                      <a:pt x="15193" y="7485"/>
                    </a:lnTo>
                    <a:lnTo>
                      <a:pt x="15193" y="7314"/>
                    </a:lnTo>
                    <a:lnTo>
                      <a:pt x="15053" y="7314"/>
                    </a:lnTo>
                    <a:lnTo>
                      <a:pt x="15053" y="7143"/>
                    </a:lnTo>
                    <a:lnTo>
                      <a:pt x="15193" y="7143"/>
                    </a:lnTo>
                    <a:lnTo>
                      <a:pt x="15193" y="6830"/>
                    </a:lnTo>
                    <a:lnTo>
                      <a:pt x="15053" y="6830"/>
                    </a:lnTo>
                    <a:lnTo>
                      <a:pt x="15053" y="6659"/>
                    </a:lnTo>
                    <a:lnTo>
                      <a:pt x="15361" y="6659"/>
                    </a:lnTo>
                    <a:lnTo>
                      <a:pt x="15361" y="6346"/>
                    </a:lnTo>
                    <a:lnTo>
                      <a:pt x="15193" y="6346"/>
                    </a:lnTo>
                    <a:lnTo>
                      <a:pt x="15193" y="6175"/>
                    </a:lnTo>
                    <a:lnTo>
                      <a:pt x="15361" y="6175"/>
                    </a:lnTo>
                    <a:lnTo>
                      <a:pt x="15528" y="6346"/>
                    </a:lnTo>
                    <a:lnTo>
                      <a:pt x="15668" y="6346"/>
                    </a:lnTo>
                    <a:lnTo>
                      <a:pt x="15668" y="6659"/>
                    </a:lnTo>
                    <a:lnTo>
                      <a:pt x="15836" y="6830"/>
                    </a:lnTo>
                    <a:lnTo>
                      <a:pt x="15668" y="6830"/>
                    </a:lnTo>
                    <a:lnTo>
                      <a:pt x="15836" y="6830"/>
                    </a:lnTo>
                    <a:lnTo>
                      <a:pt x="15836" y="6972"/>
                    </a:lnTo>
                    <a:lnTo>
                      <a:pt x="16312" y="6972"/>
                    </a:lnTo>
                    <a:lnTo>
                      <a:pt x="16312" y="6830"/>
                    </a:lnTo>
                    <a:lnTo>
                      <a:pt x="16480" y="6830"/>
                    </a:lnTo>
                    <a:lnTo>
                      <a:pt x="16480" y="6972"/>
                    </a:lnTo>
                    <a:lnTo>
                      <a:pt x="16648" y="6972"/>
                    </a:lnTo>
                    <a:lnTo>
                      <a:pt x="16648" y="7143"/>
                    </a:lnTo>
                    <a:lnTo>
                      <a:pt x="16955" y="7143"/>
                    </a:lnTo>
                    <a:lnTo>
                      <a:pt x="16955" y="6830"/>
                    </a:lnTo>
                    <a:lnTo>
                      <a:pt x="17123" y="6830"/>
                    </a:lnTo>
                    <a:lnTo>
                      <a:pt x="17123" y="6489"/>
                    </a:lnTo>
                    <a:lnTo>
                      <a:pt x="17291" y="6489"/>
                    </a:lnTo>
                    <a:lnTo>
                      <a:pt x="17291" y="5834"/>
                    </a:lnTo>
                    <a:lnTo>
                      <a:pt x="17431" y="5834"/>
                    </a:lnTo>
                    <a:lnTo>
                      <a:pt x="17431" y="5692"/>
                    </a:lnTo>
                    <a:lnTo>
                      <a:pt x="17767" y="5692"/>
                    </a:lnTo>
                    <a:lnTo>
                      <a:pt x="17767" y="5521"/>
                    </a:lnTo>
                    <a:lnTo>
                      <a:pt x="17935" y="5521"/>
                    </a:lnTo>
                    <a:lnTo>
                      <a:pt x="17935" y="5350"/>
                    </a:lnTo>
                    <a:lnTo>
                      <a:pt x="18242" y="5350"/>
                    </a:lnTo>
                    <a:lnTo>
                      <a:pt x="18242" y="5521"/>
                    </a:lnTo>
                    <a:lnTo>
                      <a:pt x="18410" y="5521"/>
                    </a:lnTo>
                    <a:lnTo>
                      <a:pt x="18242" y="5521"/>
                    </a:lnTo>
                    <a:lnTo>
                      <a:pt x="18718" y="5521"/>
                    </a:lnTo>
                    <a:lnTo>
                      <a:pt x="18718" y="5692"/>
                    </a:lnTo>
                    <a:lnTo>
                      <a:pt x="18886" y="5692"/>
                    </a:lnTo>
                    <a:lnTo>
                      <a:pt x="18886" y="5834"/>
                    </a:lnTo>
                    <a:lnTo>
                      <a:pt x="18886" y="5692"/>
                    </a:lnTo>
                    <a:lnTo>
                      <a:pt x="18886" y="5834"/>
                    </a:lnTo>
                    <a:lnTo>
                      <a:pt x="19054" y="5834"/>
                    </a:lnTo>
                    <a:lnTo>
                      <a:pt x="19054" y="5692"/>
                    </a:lnTo>
                    <a:lnTo>
                      <a:pt x="19362" y="5692"/>
                    </a:lnTo>
                    <a:lnTo>
                      <a:pt x="19362" y="5521"/>
                    </a:lnTo>
                    <a:lnTo>
                      <a:pt x="19362" y="5692"/>
                    </a:lnTo>
                    <a:lnTo>
                      <a:pt x="19530" y="5692"/>
                    </a:lnTo>
                    <a:lnTo>
                      <a:pt x="19530" y="5521"/>
                    </a:lnTo>
                    <a:lnTo>
                      <a:pt x="19669" y="5521"/>
                    </a:lnTo>
                    <a:lnTo>
                      <a:pt x="19669" y="5350"/>
                    </a:lnTo>
                    <a:lnTo>
                      <a:pt x="19530" y="5350"/>
                    </a:lnTo>
                    <a:lnTo>
                      <a:pt x="19530" y="5208"/>
                    </a:lnTo>
                    <a:lnTo>
                      <a:pt x="19530" y="5350"/>
                    </a:lnTo>
                    <a:lnTo>
                      <a:pt x="19669" y="5350"/>
                    </a:lnTo>
                    <a:lnTo>
                      <a:pt x="19669" y="5208"/>
                    </a:lnTo>
                    <a:lnTo>
                      <a:pt x="20005" y="5208"/>
                    </a:lnTo>
                    <a:lnTo>
                      <a:pt x="20005" y="5037"/>
                    </a:lnTo>
                    <a:lnTo>
                      <a:pt x="20173" y="5037"/>
                    </a:lnTo>
                    <a:lnTo>
                      <a:pt x="20005" y="5037"/>
                    </a:lnTo>
                    <a:lnTo>
                      <a:pt x="20313" y="5037"/>
                    </a:lnTo>
                    <a:lnTo>
                      <a:pt x="20313" y="4866"/>
                    </a:lnTo>
                    <a:lnTo>
                      <a:pt x="20649" y="4866"/>
                    </a:lnTo>
                    <a:lnTo>
                      <a:pt x="20649" y="5037"/>
                    </a:lnTo>
                    <a:lnTo>
                      <a:pt x="20789" y="5037"/>
                    </a:lnTo>
                    <a:lnTo>
                      <a:pt x="20789" y="4866"/>
                    </a:lnTo>
                    <a:lnTo>
                      <a:pt x="21124" y="4866"/>
                    </a:lnTo>
                    <a:lnTo>
                      <a:pt x="21124" y="4553"/>
                    </a:lnTo>
                    <a:lnTo>
                      <a:pt x="20956" y="4553"/>
                    </a:lnTo>
                    <a:lnTo>
                      <a:pt x="20956" y="4383"/>
                    </a:lnTo>
                    <a:lnTo>
                      <a:pt x="20649" y="4383"/>
                    </a:lnTo>
                    <a:lnTo>
                      <a:pt x="20789" y="4212"/>
                    </a:lnTo>
                    <a:lnTo>
                      <a:pt x="20956" y="4212"/>
                    </a:lnTo>
                    <a:lnTo>
                      <a:pt x="20956" y="4383"/>
                    </a:lnTo>
                    <a:lnTo>
                      <a:pt x="21124" y="4383"/>
                    </a:lnTo>
                    <a:lnTo>
                      <a:pt x="21124" y="4553"/>
                    </a:lnTo>
                    <a:lnTo>
                      <a:pt x="21432" y="4553"/>
                    </a:lnTo>
                    <a:lnTo>
                      <a:pt x="21432" y="4383"/>
                    </a:lnTo>
                    <a:lnTo>
                      <a:pt x="21292" y="4212"/>
                    </a:lnTo>
                    <a:lnTo>
                      <a:pt x="21432" y="4212"/>
                    </a:lnTo>
                    <a:lnTo>
                      <a:pt x="21292" y="4070"/>
                    </a:lnTo>
                    <a:lnTo>
                      <a:pt x="21124" y="4070"/>
                    </a:lnTo>
                    <a:lnTo>
                      <a:pt x="21124" y="4212"/>
                    </a:lnTo>
                    <a:lnTo>
                      <a:pt x="21124" y="3899"/>
                    </a:lnTo>
                    <a:lnTo>
                      <a:pt x="21292" y="4070"/>
                    </a:lnTo>
                    <a:lnTo>
                      <a:pt x="21432" y="3899"/>
                    </a:lnTo>
                    <a:lnTo>
                      <a:pt x="21432" y="3728"/>
                    </a:lnTo>
                    <a:lnTo>
                      <a:pt x="21600" y="3728"/>
                    </a:lnTo>
                    <a:lnTo>
                      <a:pt x="21432" y="3557"/>
                    </a:lnTo>
                    <a:lnTo>
                      <a:pt x="21432" y="3728"/>
                    </a:lnTo>
                    <a:lnTo>
                      <a:pt x="20956" y="3728"/>
                    </a:lnTo>
                    <a:lnTo>
                      <a:pt x="20956" y="4070"/>
                    </a:lnTo>
                    <a:lnTo>
                      <a:pt x="20789" y="3899"/>
                    </a:lnTo>
                    <a:lnTo>
                      <a:pt x="20789" y="4070"/>
                    </a:lnTo>
                    <a:lnTo>
                      <a:pt x="20649" y="3899"/>
                    </a:lnTo>
                    <a:lnTo>
                      <a:pt x="20789" y="3899"/>
                    </a:lnTo>
                    <a:lnTo>
                      <a:pt x="20789" y="3728"/>
                    </a:lnTo>
                    <a:lnTo>
                      <a:pt x="20649" y="3728"/>
                    </a:lnTo>
                    <a:lnTo>
                      <a:pt x="20649" y="3557"/>
                    </a:lnTo>
                    <a:lnTo>
                      <a:pt x="20481" y="3728"/>
                    </a:lnTo>
                    <a:lnTo>
                      <a:pt x="20481" y="3899"/>
                    </a:lnTo>
                    <a:lnTo>
                      <a:pt x="20313" y="3899"/>
                    </a:lnTo>
                    <a:lnTo>
                      <a:pt x="20313" y="3728"/>
                    </a:lnTo>
                    <a:lnTo>
                      <a:pt x="20481" y="3728"/>
                    </a:lnTo>
                    <a:lnTo>
                      <a:pt x="20481" y="2931"/>
                    </a:lnTo>
                    <a:lnTo>
                      <a:pt x="20313" y="2760"/>
                    </a:lnTo>
                    <a:lnTo>
                      <a:pt x="20313" y="2931"/>
                    </a:lnTo>
                    <a:lnTo>
                      <a:pt x="20313" y="2760"/>
                    </a:lnTo>
                    <a:lnTo>
                      <a:pt x="20005" y="2760"/>
                    </a:lnTo>
                    <a:lnTo>
                      <a:pt x="20005" y="3074"/>
                    </a:lnTo>
                    <a:lnTo>
                      <a:pt x="19837" y="3074"/>
                    </a:lnTo>
                    <a:lnTo>
                      <a:pt x="19837" y="2931"/>
                    </a:lnTo>
                    <a:lnTo>
                      <a:pt x="20005" y="2931"/>
                    </a:lnTo>
                    <a:lnTo>
                      <a:pt x="20005" y="2590"/>
                    </a:lnTo>
                    <a:lnTo>
                      <a:pt x="19669" y="2590"/>
                    </a:lnTo>
                    <a:lnTo>
                      <a:pt x="19669" y="2447"/>
                    </a:lnTo>
                    <a:lnTo>
                      <a:pt x="19669" y="2590"/>
                    </a:lnTo>
                    <a:lnTo>
                      <a:pt x="19530" y="2590"/>
                    </a:lnTo>
                    <a:lnTo>
                      <a:pt x="19530" y="2760"/>
                    </a:lnTo>
                    <a:lnTo>
                      <a:pt x="19530" y="2590"/>
                    </a:lnTo>
                    <a:lnTo>
                      <a:pt x="19669" y="2590"/>
                    </a:lnTo>
                    <a:lnTo>
                      <a:pt x="19362" y="2590"/>
                    </a:lnTo>
                    <a:lnTo>
                      <a:pt x="19362" y="2447"/>
                    </a:lnTo>
                    <a:lnTo>
                      <a:pt x="19362" y="2590"/>
                    </a:lnTo>
                    <a:lnTo>
                      <a:pt x="19054" y="2590"/>
                    </a:lnTo>
                    <a:lnTo>
                      <a:pt x="19054" y="2760"/>
                    </a:lnTo>
                    <a:lnTo>
                      <a:pt x="19054" y="2447"/>
                    </a:lnTo>
                    <a:lnTo>
                      <a:pt x="19530" y="2447"/>
                    </a:lnTo>
                    <a:lnTo>
                      <a:pt x="19530" y="2277"/>
                    </a:lnTo>
                    <a:lnTo>
                      <a:pt x="19669" y="2277"/>
                    </a:lnTo>
                    <a:lnTo>
                      <a:pt x="19669" y="2106"/>
                    </a:lnTo>
                    <a:lnTo>
                      <a:pt x="19669" y="2277"/>
                    </a:lnTo>
                    <a:lnTo>
                      <a:pt x="19669" y="2106"/>
                    </a:lnTo>
                    <a:lnTo>
                      <a:pt x="19837" y="2106"/>
                    </a:lnTo>
                    <a:lnTo>
                      <a:pt x="19669" y="2106"/>
                    </a:lnTo>
                    <a:lnTo>
                      <a:pt x="19837" y="2106"/>
                    </a:lnTo>
                    <a:lnTo>
                      <a:pt x="19837" y="1793"/>
                    </a:lnTo>
                    <a:lnTo>
                      <a:pt x="20005" y="1793"/>
                    </a:lnTo>
                    <a:lnTo>
                      <a:pt x="20005" y="1622"/>
                    </a:lnTo>
                    <a:lnTo>
                      <a:pt x="20005" y="1793"/>
                    </a:lnTo>
                    <a:lnTo>
                      <a:pt x="20005" y="1622"/>
                    </a:lnTo>
                    <a:lnTo>
                      <a:pt x="20173" y="1622"/>
                    </a:lnTo>
                    <a:lnTo>
                      <a:pt x="20005" y="1622"/>
                    </a:lnTo>
                    <a:lnTo>
                      <a:pt x="20005" y="1451"/>
                    </a:lnTo>
                    <a:lnTo>
                      <a:pt x="19669" y="1451"/>
                    </a:lnTo>
                    <a:lnTo>
                      <a:pt x="19669" y="1622"/>
                    </a:lnTo>
                    <a:lnTo>
                      <a:pt x="19530" y="1622"/>
                    </a:lnTo>
                    <a:lnTo>
                      <a:pt x="19530" y="1451"/>
                    </a:lnTo>
                    <a:lnTo>
                      <a:pt x="19530" y="1622"/>
                    </a:lnTo>
                    <a:lnTo>
                      <a:pt x="19194" y="1622"/>
                    </a:lnTo>
                    <a:lnTo>
                      <a:pt x="19362" y="1451"/>
                    </a:lnTo>
                    <a:lnTo>
                      <a:pt x="19669" y="1451"/>
                    </a:lnTo>
                    <a:lnTo>
                      <a:pt x="19837" y="1309"/>
                    </a:lnTo>
                    <a:lnTo>
                      <a:pt x="20005" y="1309"/>
                    </a:lnTo>
                    <a:lnTo>
                      <a:pt x="20005" y="968"/>
                    </a:lnTo>
                    <a:lnTo>
                      <a:pt x="19837" y="968"/>
                    </a:lnTo>
                    <a:lnTo>
                      <a:pt x="19669" y="797"/>
                    </a:lnTo>
                    <a:lnTo>
                      <a:pt x="19669" y="968"/>
                    </a:lnTo>
                    <a:lnTo>
                      <a:pt x="19669" y="797"/>
                    </a:lnTo>
                    <a:lnTo>
                      <a:pt x="19530" y="797"/>
                    </a:lnTo>
                    <a:lnTo>
                      <a:pt x="19530" y="171"/>
                    </a:lnTo>
                    <a:lnTo>
                      <a:pt x="19669" y="171"/>
                    </a:lnTo>
                    <a:lnTo>
                      <a:pt x="19669" y="0"/>
                    </a:lnTo>
                    <a:lnTo>
                      <a:pt x="19194" y="0"/>
                    </a:lnTo>
                    <a:lnTo>
                      <a:pt x="19194" y="171"/>
                    </a:lnTo>
                    <a:lnTo>
                      <a:pt x="19194" y="0"/>
                    </a:lnTo>
                    <a:lnTo>
                      <a:pt x="19362" y="0"/>
                    </a:lnTo>
                    <a:lnTo>
                      <a:pt x="19194" y="171"/>
                    </a:lnTo>
                    <a:lnTo>
                      <a:pt x="19194" y="313"/>
                    </a:lnTo>
                    <a:lnTo>
                      <a:pt x="19054" y="313"/>
                    </a:lnTo>
                    <a:lnTo>
                      <a:pt x="19194" y="313"/>
                    </a:lnTo>
                    <a:lnTo>
                      <a:pt x="19194" y="171"/>
                    </a:lnTo>
                    <a:lnTo>
                      <a:pt x="18886" y="171"/>
                    </a:lnTo>
                    <a:lnTo>
                      <a:pt x="18886" y="313"/>
                    </a:lnTo>
                    <a:lnTo>
                      <a:pt x="18242" y="313"/>
                    </a:lnTo>
                    <a:lnTo>
                      <a:pt x="18242" y="484"/>
                    </a:lnTo>
                    <a:lnTo>
                      <a:pt x="17935" y="484"/>
                    </a:lnTo>
                    <a:lnTo>
                      <a:pt x="17935" y="655"/>
                    </a:lnTo>
                    <a:lnTo>
                      <a:pt x="17767" y="655"/>
                    </a:lnTo>
                    <a:lnTo>
                      <a:pt x="17599" y="484"/>
                    </a:lnTo>
                    <a:lnTo>
                      <a:pt x="17599" y="655"/>
                    </a:lnTo>
                    <a:lnTo>
                      <a:pt x="16955" y="655"/>
                    </a:lnTo>
                    <a:lnTo>
                      <a:pt x="16955" y="968"/>
                    </a:lnTo>
                    <a:lnTo>
                      <a:pt x="16816" y="968"/>
                    </a:lnTo>
                    <a:lnTo>
                      <a:pt x="16816" y="1138"/>
                    </a:lnTo>
                    <a:lnTo>
                      <a:pt x="16648" y="1138"/>
                    </a:lnTo>
                    <a:lnTo>
                      <a:pt x="16648" y="1309"/>
                    </a:lnTo>
                    <a:lnTo>
                      <a:pt x="16648" y="1138"/>
                    </a:lnTo>
                    <a:lnTo>
                      <a:pt x="16816" y="1138"/>
                    </a:lnTo>
                    <a:lnTo>
                      <a:pt x="16648" y="1138"/>
                    </a:lnTo>
                    <a:lnTo>
                      <a:pt x="16648" y="1309"/>
                    </a:lnTo>
                    <a:lnTo>
                      <a:pt x="16480" y="1309"/>
                    </a:lnTo>
                    <a:lnTo>
                      <a:pt x="16480" y="1451"/>
                    </a:lnTo>
                    <a:lnTo>
                      <a:pt x="16480" y="1309"/>
                    </a:lnTo>
                    <a:lnTo>
                      <a:pt x="16648" y="1309"/>
                    </a:lnTo>
                    <a:lnTo>
                      <a:pt x="16648" y="1138"/>
                    </a:lnTo>
                    <a:lnTo>
                      <a:pt x="16955" y="1138"/>
                    </a:lnTo>
                    <a:lnTo>
                      <a:pt x="16955" y="1309"/>
                    </a:lnTo>
                    <a:lnTo>
                      <a:pt x="16816" y="1309"/>
                    </a:lnTo>
                    <a:lnTo>
                      <a:pt x="16816" y="1451"/>
                    </a:lnTo>
                    <a:lnTo>
                      <a:pt x="16648" y="1451"/>
                    </a:lnTo>
                    <a:lnTo>
                      <a:pt x="16648" y="1622"/>
                    </a:lnTo>
                    <a:lnTo>
                      <a:pt x="16480" y="1622"/>
                    </a:lnTo>
                    <a:lnTo>
                      <a:pt x="16648" y="1622"/>
                    </a:lnTo>
                    <a:lnTo>
                      <a:pt x="16648" y="1793"/>
                    </a:lnTo>
                    <a:lnTo>
                      <a:pt x="16816" y="1793"/>
                    </a:lnTo>
                    <a:lnTo>
                      <a:pt x="16648" y="1793"/>
                    </a:lnTo>
                    <a:lnTo>
                      <a:pt x="16648" y="1935"/>
                    </a:lnTo>
                    <a:lnTo>
                      <a:pt x="16648" y="1793"/>
                    </a:lnTo>
                    <a:lnTo>
                      <a:pt x="16480" y="1793"/>
                    </a:lnTo>
                    <a:lnTo>
                      <a:pt x="16648" y="1793"/>
                    </a:lnTo>
                    <a:lnTo>
                      <a:pt x="16480" y="1793"/>
                    </a:lnTo>
                    <a:lnTo>
                      <a:pt x="16480" y="1622"/>
                    </a:lnTo>
                    <a:lnTo>
                      <a:pt x="16312" y="1622"/>
                    </a:lnTo>
                    <a:lnTo>
                      <a:pt x="16312" y="1451"/>
                    </a:lnTo>
                    <a:lnTo>
                      <a:pt x="16312" y="1622"/>
                    </a:lnTo>
                    <a:lnTo>
                      <a:pt x="16172" y="1622"/>
                    </a:lnTo>
                    <a:lnTo>
                      <a:pt x="16172" y="1793"/>
                    </a:lnTo>
                    <a:lnTo>
                      <a:pt x="16312" y="1793"/>
                    </a:lnTo>
                    <a:lnTo>
                      <a:pt x="16004" y="1793"/>
                    </a:lnTo>
                    <a:lnTo>
                      <a:pt x="16004" y="2106"/>
                    </a:lnTo>
                    <a:lnTo>
                      <a:pt x="15836" y="2106"/>
                    </a:lnTo>
                    <a:lnTo>
                      <a:pt x="15836" y="2277"/>
                    </a:lnTo>
                    <a:lnTo>
                      <a:pt x="15668" y="2447"/>
                    </a:lnTo>
                    <a:lnTo>
                      <a:pt x="15668" y="2590"/>
                    </a:lnTo>
                    <a:lnTo>
                      <a:pt x="15836" y="2590"/>
                    </a:lnTo>
                    <a:lnTo>
                      <a:pt x="15836" y="2447"/>
                    </a:lnTo>
                    <a:lnTo>
                      <a:pt x="15836" y="2590"/>
                    </a:lnTo>
                    <a:lnTo>
                      <a:pt x="15836" y="2277"/>
                    </a:lnTo>
                    <a:lnTo>
                      <a:pt x="16004" y="2277"/>
                    </a:lnTo>
                    <a:lnTo>
                      <a:pt x="16004" y="2447"/>
                    </a:lnTo>
                    <a:lnTo>
                      <a:pt x="16004" y="2277"/>
                    </a:lnTo>
                    <a:lnTo>
                      <a:pt x="16312" y="2277"/>
                    </a:lnTo>
                    <a:lnTo>
                      <a:pt x="16480" y="2447"/>
                    </a:lnTo>
                    <a:lnTo>
                      <a:pt x="16648" y="2447"/>
                    </a:lnTo>
                    <a:lnTo>
                      <a:pt x="16816" y="2590"/>
                    </a:lnTo>
                    <a:lnTo>
                      <a:pt x="16816" y="2760"/>
                    </a:lnTo>
                    <a:lnTo>
                      <a:pt x="16955" y="2760"/>
                    </a:lnTo>
                    <a:lnTo>
                      <a:pt x="16955" y="2590"/>
                    </a:lnTo>
                    <a:lnTo>
                      <a:pt x="17291" y="2590"/>
                    </a:lnTo>
                    <a:lnTo>
                      <a:pt x="17291" y="2760"/>
                    </a:lnTo>
                    <a:lnTo>
                      <a:pt x="17431" y="2760"/>
                    </a:lnTo>
                    <a:lnTo>
                      <a:pt x="17291" y="2760"/>
                    </a:lnTo>
                    <a:lnTo>
                      <a:pt x="17431" y="2760"/>
                    </a:lnTo>
                    <a:lnTo>
                      <a:pt x="17431" y="3074"/>
                    </a:lnTo>
                    <a:lnTo>
                      <a:pt x="17599" y="3074"/>
                    </a:lnTo>
                    <a:lnTo>
                      <a:pt x="17431" y="3074"/>
                    </a:lnTo>
                    <a:lnTo>
                      <a:pt x="17291" y="2931"/>
                    </a:lnTo>
                    <a:lnTo>
                      <a:pt x="17291" y="2760"/>
                    </a:lnTo>
                    <a:lnTo>
                      <a:pt x="16955" y="2760"/>
                    </a:lnTo>
                    <a:lnTo>
                      <a:pt x="16955" y="2931"/>
                    </a:lnTo>
                    <a:lnTo>
                      <a:pt x="17123" y="2931"/>
                    </a:lnTo>
                    <a:lnTo>
                      <a:pt x="17123" y="3074"/>
                    </a:lnTo>
                    <a:lnTo>
                      <a:pt x="17291" y="3244"/>
                    </a:lnTo>
                    <a:lnTo>
                      <a:pt x="16955" y="3244"/>
                    </a:lnTo>
                    <a:lnTo>
                      <a:pt x="16955" y="3074"/>
                    </a:lnTo>
                    <a:lnTo>
                      <a:pt x="16816" y="3074"/>
                    </a:lnTo>
                    <a:lnTo>
                      <a:pt x="16955" y="3074"/>
                    </a:lnTo>
                    <a:lnTo>
                      <a:pt x="16480" y="3074"/>
                    </a:lnTo>
                    <a:lnTo>
                      <a:pt x="16480" y="3244"/>
                    </a:lnTo>
                    <a:lnTo>
                      <a:pt x="16312" y="3244"/>
                    </a:lnTo>
                    <a:lnTo>
                      <a:pt x="16312" y="3074"/>
                    </a:lnTo>
                    <a:lnTo>
                      <a:pt x="16172" y="3074"/>
                    </a:lnTo>
                    <a:lnTo>
                      <a:pt x="16312" y="3074"/>
                    </a:lnTo>
                    <a:lnTo>
                      <a:pt x="16312" y="2931"/>
                    </a:lnTo>
                    <a:lnTo>
                      <a:pt x="16312" y="3074"/>
                    </a:lnTo>
                    <a:lnTo>
                      <a:pt x="16312" y="2931"/>
                    </a:lnTo>
                    <a:lnTo>
                      <a:pt x="16004" y="2931"/>
                    </a:lnTo>
                    <a:lnTo>
                      <a:pt x="16004" y="2760"/>
                    </a:lnTo>
                    <a:lnTo>
                      <a:pt x="15528" y="2760"/>
                    </a:lnTo>
                    <a:lnTo>
                      <a:pt x="15528" y="2590"/>
                    </a:lnTo>
                    <a:lnTo>
                      <a:pt x="15193" y="2590"/>
                    </a:lnTo>
                    <a:lnTo>
                      <a:pt x="15193" y="2447"/>
                    </a:lnTo>
                    <a:lnTo>
                      <a:pt x="15361" y="2447"/>
                    </a:lnTo>
                    <a:lnTo>
                      <a:pt x="15053" y="2447"/>
                    </a:lnTo>
                    <a:lnTo>
                      <a:pt x="15053" y="2590"/>
                    </a:lnTo>
                    <a:lnTo>
                      <a:pt x="14885" y="2590"/>
                    </a:lnTo>
                    <a:lnTo>
                      <a:pt x="14885" y="2760"/>
                    </a:lnTo>
                    <a:lnTo>
                      <a:pt x="14885" y="2590"/>
                    </a:lnTo>
                    <a:lnTo>
                      <a:pt x="14717" y="2590"/>
                    </a:lnTo>
                    <a:lnTo>
                      <a:pt x="14717" y="2447"/>
                    </a:lnTo>
                    <a:lnTo>
                      <a:pt x="14074" y="2447"/>
                    </a:lnTo>
                    <a:lnTo>
                      <a:pt x="14074" y="2590"/>
                    </a:lnTo>
                    <a:lnTo>
                      <a:pt x="13598" y="2590"/>
                    </a:lnTo>
                    <a:lnTo>
                      <a:pt x="13430" y="2760"/>
                    </a:lnTo>
                    <a:lnTo>
                      <a:pt x="13290" y="2760"/>
                    </a:lnTo>
                    <a:lnTo>
                      <a:pt x="13290" y="2931"/>
                    </a:lnTo>
                    <a:lnTo>
                      <a:pt x="12815" y="2931"/>
                    </a:lnTo>
                    <a:lnTo>
                      <a:pt x="12815" y="3074"/>
                    </a:lnTo>
                    <a:lnTo>
                      <a:pt x="12479" y="3074"/>
                    </a:lnTo>
                    <a:lnTo>
                      <a:pt x="12311" y="3244"/>
                    </a:lnTo>
                    <a:lnTo>
                      <a:pt x="12479" y="3244"/>
                    </a:lnTo>
                    <a:lnTo>
                      <a:pt x="12311" y="3244"/>
                    </a:lnTo>
                    <a:lnTo>
                      <a:pt x="12479" y="3244"/>
                    </a:lnTo>
                    <a:lnTo>
                      <a:pt x="12479" y="3415"/>
                    </a:lnTo>
                    <a:lnTo>
                      <a:pt x="12311" y="3244"/>
                    </a:lnTo>
                    <a:lnTo>
                      <a:pt x="12311" y="3415"/>
                    </a:lnTo>
                    <a:lnTo>
                      <a:pt x="12311" y="3244"/>
                    </a:lnTo>
                    <a:lnTo>
                      <a:pt x="12171" y="3244"/>
                    </a:lnTo>
                    <a:lnTo>
                      <a:pt x="12171" y="3557"/>
                    </a:lnTo>
                    <a:lnTo>
                      <a:pt x="12003" y="3415"/>
                    </a:lnTo>
                    <a:lnTo>
                      <a:pt x="11695" y="3415"/>
                    </a:lnTo>
                    <a:lnTo>
                      <a:pt x="11695" y="3557"/>
                    </a:lnTo>
                    <a:lnTo>
                      <a:pt x="11360" y="3557"/>
                    </a:lnTo>
                    <a:lnTo>
                      <a:pt x="11360" y="3728"/>
                    </a:lnTo>
                    <a:lnTo>
                      <a:pt x="11192" y="3728"/>
                    </a:lnTo>
                    <a:lnTo>
                      <a:pt x="11192" y="3557"/>
                    </a:lnTo>
                    <a:lnTo>
                      <a:pt x="10716" y="3557"/>
                    </a:lnTo>
                    <a:lnTo>
                      <a:pt x="10716" y="3728"/>
                    </a:lnTo>
                    <a:lnTo>
                      <a:pt x="10240" y="3728"/>
                    </a:lnTo>
                    <a:lnTo>
                      <a:pt x="10240" y="3899"/>
                    </a:lnTo>
                    <a:lnTo>
                      <a:pt x="10073" y="3899"/>
                    </a:lnTo>
                    <a:lnTo>
                      <a:pt x="10073" y="4070"/>
                    </a:lnTo>
                    <a:lnTo>
                      <a:pt x="9765" y="4070"/>
                    </a:lnTo>
                    <a:lnTo>
                      <a:pt x="9765" y="4212"/>
                    </a:lnTo>
                    <a:lnTo>
                      <a:pt x="9597" y="4212"/>
                    </a:lnTo>
                    <a:lnTo>
                      <a:pt x="9597" y="4070"/>
                    </a:lnTo>
                    <a:lnTo>
                      <a:pt x="9597" y="4212"/>
                    </a:lnTo>
                    <a:lnTo>
                      <a:pt x="9597" y="4070"/>
                    </a:lnTo>
                    <a:lnTo>
                      <a:pt x="9765" y="4070"/>
                    </a:lnTo>
                    <a:lnTo>
                      <a:pt x="9121" y="4070"/>
                    </a:lnTo>
                    <a:lnTo>
                      <a:pt x="9121" y="4212"/>
                    </a:lnTo>
                    <a:lnTo>
                      <a:pt x="8646" y="4212"/>
                    </a:lnTo>
                    <a:lnTo>
                      <a:pt x="8646" y="4383"/>
                    </a:lnTo>
                    <a:lnTo>
                      <a:pt x="8338" y="4383"/>
                    </a:lnTo>
                    <a:lnTo>
                      <a:pt x="8338" y="4553"/>
                    </a:lnTo>
                    <a:lnTo>
                      <a:pt x="8170" y="4553"/>
                    </a:lnTo>
                    <a:lnTo>
                      <a:pt x="8170" y="4696"/>
                    </a:lnTo>
                    <a:lnTo>
                      <a:pt x="7834" y="4696"/>
                    </a:lnTo>
                    <a:lnTo>
                      <a:pt x="7834" y="4866"/>
                    </a:lnTo>
                    <a:lnTo>
                      <a:pt x="7526" y="4866"/>
                    </a:lnTo>
                    <a:lnTo>
                      <a:pt x="7526" y="5037"/>
                    </a:lnTo>
                    <a:lnTo>
                      <a:pt x="7359" y="5037"/>
                    </a:lnTo>
                    <a:lnTo>
                      <a:pt x="7359" y="5208"/>
                    </a:lnTo>
                    <a:lnTo>
                      <a:pt x="7051" y="5208"/>
                    </a:lnTo>
                    <a:lnTo>
                      <a:pt x="6883" y="5350"/>
                    </a:lnTo>
                    <a:lnTo>
                      <a:pt x="6715" y="5350"/>
                    </a:lnTo>
                    <a:lnTo>
                      <a:pt x="6715" y="5208"/>
                    </a:lnTo>
                    <a:lnTo>
                      <a:pt x="6575" y="5350"/>
                    </a:lnTo>
                    <a:lnTo>
                      <a:pt x="6575" y="5521"/>
                    </a:lnTo>
                    <a:lnTo>
                      <a:pt x="6407" y="5521"/>
                    </a:lnTo>
                    <a:lnTo>
                      <a:pt x="6407" y="5834"/>
                    </a:lnTo>
                    <a:lnTo>
                      <a:pt x="6239" y="5834"/>
                    </a:lnTo>
                    <a:lnTo>
                      <a:pt x="6239" y="6005"/>
                    </a:lnTo>
                    <a:lnTo>
                      <a:pt x="6099" y="6005"/>
                    </a:lnTo>
                    <a:lnTo>
                      <a:pt x="6099" y="6175"/>
                    </a:lnTo>
                    <a:lnTo>
                      <a:pt x="5932" y="6175"/>
                    </a:lnTo>
                    <a:lnTo>
                      <a:pt x="5932" y="6346"/>
                    </a:lnTo>
                    <a:lnTo>
                      <a:pt x="5764" y="6346"/>
                    </a:lnTo>
                    <a:lnTo>
                      <a:pt x="5764" y="6659"/>
                    </a:lnTo>
                    <a:lnTo>
                      <a:pt x="5596" y="6659"/>
                    </a:lnTo>
                    <a:lnTo>
                      <a:pt x="5596" y="6830"/>
                    </a:lnTo>
                    <a:lnTo>
                      <a:pt x="5288" y="6830"/>
                    </a:lnTo>
                    <a:lnTo>
                      <a:pt x="5288" y="6972"/>
                    </a:lnTo>
                    <a:lnTo>
                      <a:pt x="5596" y="6972"/>
                    </a:lnTo>
                    <a:lnTo>
                      <a:pt x="5456" y="7143"/>
                    </a:lnTo>
                    <a:lnTo>
                      <a:pt x="4980" y="7143"/>
                    </a:lnTo>
                    <a:lnTo>
                      <a:pt x="4980" y="7314"/>
                    </a:lnTo>
                    <a:lnTo>
                      <a:pt x="4812" y="7314"/>
                    </a:lnTo>
                    <a:lnTo>
                      <a:pt x="4645" y="7485"/>
                    </a:lnTo>
                    <a:lnTo>
                      <a:pt x="4477" y="7627"/>
                    </a:lnTo>
                    <a:lnTo>
                      <a:pt x="4337" y="7627"/>
                    </a:lnTo>
                    <a:lnTo>
                      <a:pt x="4337" y="7798"/>
                    </a:lnTo>
                    <a:lnTo>
                      <a:pt x="4169" y="7798"/>
                    </a:lnTo>
                    <a:lnTo>
                      <a:pt x="4001" y="7968"/>
                    </a:lnTo>
                    <a:lnTo>
                      <a:pt x="3861" y="7968"/>
                    </a:lnTo>
                    <a:lnTo>
                      <a:pt x="3861" y="8111"/>
                    </a:lnTo>
                    <a:lnTo>
                      <a:pt x="3693" y="8111"/>
                    </a:lnTo>
                    <a:lnTo>
                      <a:pt x="3693" y="8281"/>
                    </a:lnTo>
                    <a:lnTo>
                      <a:pt x="3525" y="8281"/>
                    </a:lnTo>
                    <a:lnTo>
                      <a:pt x="3693" y="8281"/>
                    </a:lnTo>
                    <a:lnTo>
                      <a:pt x="3693" y="8452"/>
                    </a:lnTo>
                    <a:lnTo>
                      <a:pt x="3861" y="8452"/>
                    </a:lnTo>
                    <a:lnTo>
                      <a:pt x="4169" y="8765"/>
                    </a:lnTo>
                    <a:lnTo>
                      <a:pt x="4169" y="9249"/>
                    </a:lnTo>
                    <a:lnTo>
                      <a:pt x="4337" y="9249"/>
                    </a:lnTo>
                    <a:lnTo>
                      <a:pt x="4337" y="9107"/>
                    </a:lnTo>
                    <a:lnTo>
                      <a:pt x="4477" y="8936"/>
                    </a:lnTo>
                    <a:lnTo>
                      <a:pt x="4645" y="8936"/>
                    </a:lnTo>
                    <a:lnTo>
                      <a:pt x="4645" y="9107"/>
                    </a:lnTo>
                    <a:lnTo>
                      <a:pt x="4812" y="9107"/>
                    </a:lnTo>
                    <a:lnTo>
                      <a:pt x="4980" y="9249"/>
                    </a:lnTo>
                    <a:lnTo>
                      <a:pt x="5288" y="9249"/>
                    </a:lnTo>
                    <a:lnTo>
                      <a:pt x="5288" y="9420"/>
                    </a:lnTo>
                    <a:lnTo>
                      <a:pt x="5596" y="9420"/>
                    </a:lnTo>
                    <a:lnTo>
                      <a:pt x="5596" y="9591"/>
                    </a:lnTo>
                    <a:lnTo>
                      <a:pt x="5596" y="9420"/>
                    </a:lnTo>
                    <a:lnTo>
                      <a:pt x="5596" y="9904"/>
                    </a:lnTo>
                    <a:lnTo>
                      <a:pt x="5764" y="9904"/>
                    </a:lnTo>
                    <a:lnTo>
                      <a:pt x="5764" y="10074"/>
                    </a:lnTo>
                    <a:lnTo>
                      <a:pt x="5596" y="9904"/>
                    </a:lnTo>
                    <a:lnTo>
                      <a:pt x="5596" y="10245"/>
                    </a:lnTo>
                    <a:lnTo>
                      <a:pt x="5764" y="10245"/>
                    </a:lnTo>
                    <a:lnTo>
                      <a:pt x="5764" y="10074"/>
                    </a:lnTo>
                    <a:lnTo>
                      <a:pt x="5764" y="10245"/>
                    </a:lnTo>
                    <a:lnTo>
                      <a:pt x="5596" y="10245"/>
                    </a:lnTo>
                    <a:lnTo>
                      <a:pt x="5596" y="10387"/>
                    </a:lnTo>
                    <a:lnTo>
                      <a:pt x="5456" y="10387"/>
                    </a:lnTo>
                    <a:lnTo>
                      <a:pt x="5456" y="10729"/>
                    </a:lnTo>
                    <a:lnTo>
                      <a:pt x="4980" y="10729"/>
                    </a:lnTo>
                    <a:lnTo>
                      <a:pt x="4980" y="10558"/>
                    </a:lnTo>
                    <a:lnTo>
                      <a:pt x="4337" y="10558"/>
                    </a:lnTo>
                    <a:lnTo>
                      <a:pt x="4169" y="10729"/>
                    </a:lnTo>
                    <a:lnTo>
                      <a:pt x="4001" y="10729"/>
                    </a:lnTo>
                    <a:lnTo>
                      <a:pt x="4001" y="10871"/>
                    </a:lnTo>
                    <a:lnTo>
                      <a:pt x="3861" y="10871"/>
                    </a:lnTo>
                    <a:lnTo>
                      <a:pt x="3693" y="10729"/>
                    </a:lnTo>
                    <a:lnTo>
                      <a:pt x="3525" y="10729"/>
                    </a:lnTo>
                    <a:lnTo>
                      <a:pt x="3525" y="10387"/>
                    </a:lnTo>
                    <a:lnTo>
                      <a:pt x="3050" y="10387"/>
                    </a:lnTo>
                    <a:lnTo>
                      <a:pt x="3050" y="10245"/>
                    </a:lnTo>
                    <a:lnTo>
                      <a:pt x="3050" y="10387"/>
                    </a:lnTo>
                    <a:lnTo>
                      <a:pt x="2714" y="10387"/>
                    </a:lnTo>
                    <a:lnTo>
                      <a:pt x="2714" y="11383"/>
                    </a:lnTo>
                    <a:lnTo>
                      <a:pt x="2574" y="11383"/>
                    </a:lnTo>
                    <a:lnTo>
                      <a:pt x="2574" y="11526"/>
                    </a:lnTo>
                    <a:lnTo>
                      <a:pt x="2406" y="11526"/>
                    </a:lnTo>
                    <a:lnTo>
                      <a:pt x="2406" y="11696"/>
                    </a:lnTo>
                    <a:lnTo>
                      <a:pt x="2098" y="11696"/>
                    </a:lnTo>
                    <a:lnTo>
                      <a:pt x="2098" y="11867"/>
                    </a:lnTo>
                    <a:lnTo>
                      <a:pt x="1931" y="11867"/>
                    </a:lnTo>
                    <a:lnTo>
                      <a:pt x="1931" y="12009"/>
                    </a:lnTo>
                    <a:lnTo>
                      <a:pt x="1763" y="12009"/>
                    </a:lnTo>
                    <a:lnTo>
                      <a:pt x="1595" y="12180"/>
                    </a:lnTo>
                    <a:lnTo>
                      <a:pt x="1595" y="12351"/>
                    </a:lnTo>
                    <a:lnTo>
                      <a:pt x="1287" y="12351"/>
                    </a:lnTo>
                    <a:lnTo>
                      <a:pt x="1287" y="12493"/>
                    </a:lnTo>
                    <a:lnTo>
                      <a:pt x="979" y="12493"/>
                    </a:lnTo>
                    <a:lnTo>
                      <a:pt x="811" y="12351"/>
                    </a:lnTo>
                    <a:lnTo>
                      <a:pt x="811" y="12835"/>
                    </a:lnTo>
                    <a:lnTo>
                      <a:pt x="476" y="12835"/>
                    </a:lnTo>
                    <a:lnTo>
                      <a:pt x="476" y="13148"/>
                    </a:lnTo>
                    <a:lnTo>
                      <a:pt x="336" y="13148"/>
                    </a:lnTo>
                    <a:lnTo>
                      <a:pt x="336" y="13319"/>
                    </a:lnTo>
                    <a:lnTo>
                      <a:pt x="168" y="13319"/>
                    </a:lnTo>
                    <a:lnTo>
                      <a:pt x="168" y="13802"/>
                    </a:lnTo>
                    <a:lnTo>
                      <a:pt x="476" y="13802"/>
                    </a:lnTo>
                    <a:lnTo>
                      <a:pt x="476" y="13973"/>
                    </a:lnTo>
                    <a:lnTo>
                      <a:pt x="979" y="13973"/>
                    </a:lnTo>
                    <a:lnTo>
                      <a:pt x="979" y="14457"/>
                    </a:lnTo>
                    <a:lnTo>
                      <a:pt x="1455" y="14457"/>
                    </a:lnTo>
                    <a:lnTo>
                      <a:pt x="1455" y="14628"/>
                    </a:lnTo>
                    <a:lnTo>
                      <a:pt x="1595" y="14628"/>
                    </a:lnTo>
                    <a:lnTo>
                      <a:pt x="1595" y="14770"/>
                    </a:lnTo>
                    <a:lnTo>
                      <a:pt x="1455" y="14770"/>
                    </a:lnTo>
                    <a:lnTo>
                      <a:pt x="1595" y="14770"/>
                    </a:lnTo>
                    <a:lnTo>
                      <a:pt x="1595" y="14941"/>
                    </a:lnTo>
                    <a:lnTo>
                      <a:pt x="1931" y="14941"/>
                    </a:lnTo>
                    <a:lnTo>
                      <a:pt x="1931" y="15282"/>
                    </a:lnTo>
                    <a:lnTo>
                      <a:pt x="2098" y="15282"/>
                    </a:lnTo>
                    <a:lnTo>
                      <a:pt x="2098" y="15766"/>
                    </a:lnTo>
                    <a:lnTo>
                      <a:pt x="1763" y="15766"/>
                    </a:lnTo>
                    <a:lnTo>
                      <a:pt x="1763" y="15908"/>
                    </a:lnTo>
                    <a:lnTo>
                      <a:pt x="1455" y="15908"/>
                    </a:lnTo>
                    <a:lnTo>
                      <a:pt x="1455" y="16079"/>
                    </a:lnTo>
                    <a:lnTo>
                      <a:pt x="1287" y="16079"/>
                    </a:lnTo>
                    <a:lnTo>
                      <a:pt x="1287" y="16563"/>
                    </a:lnTo>
                    <a:lnTo>
                      <a:pt x="1119" y="16563"/>
                    </a:lnTo>
                    <a:lnTo>
                      <a:pt x="1119" y="16734"/>
                    </a:lnTo>
                    <a:lnTo>
                      <a:pt x="979" y="16734"/>
                    </a:lnTo>
                    <a:lnTo>
                      <a:pt x="979" y="16904"/>
                    </a:lnTo>
                    <a:lnTo>
                      <a:pt x="811" y="16904"/>
                    </a:lnTo>
                    <a:lnTo>
                      <a:pt x="811" y="17047"/>
                    </a:lnTo>
                    <a:lnTo>
                      <a:pt x="644" y="17047"/>
                    </a:lnTo>
                    <a:lnTo>
                      <a:pt x="644" y="17217"/>
                    </a:lnTo>
                    <a:lnTo>
                      <a:pt x="811" y="17217"/>
                    </a:lnTo>
                    <a:lnTo>
                      <a:pt x="644" y="17388"/>
                    </a:lnTo>
                    <a:lnTo>
                      <a:pt x="476" y="17388"/>
                    </a:lnTo>
                    <a:lnTo>
                      <a:pt x="476" y="17530"/>
                    </a:lnTo>
                    <a:lnTo>
                      <a:pt x="336" y="17530"/>
                    </a:lnTo>
                    <a:lnTo>
                      <a:pt x="476" y="17530"/>
                    </a:lnTo>
                    <a:lnTo>
                      <a:pt x="336" y="17530"/>
                    </a:lnTo>
                    <a:lnTo>
                      <a:pt x="336" y="17872"/>
                    </a:lnTo>
                    <a:lnTo>
                      <a:pt x="168" y="17872"/>
                    </a:lnTo>
                    <a:lnTo>
                      <a:pt x="168" y="18043"/>
                    </a:lnTo>
                    <a:lnTo>
                      <a:pt x="0" y="18185"/>
                    </a:lnTo>
                    <a:lnTo>
                      <a:pt x="0" y="18356"/>
                    </a:lnTo>
                    <a:lnTo>
                      <a:pt x="168" y="18356"/>
                    </a:lnTo>
                    <a:lnTo>
                      <a:pt x="168" y="18669"/>
                    </a:lnTo>
                    <a:lnTo>
                      <a:pt x="336" y="18669"/>
                    </a:lnTo>
                    <a:lnTo>
                      <a:pt x="336" y="18840"/>
                    </a:lnTo>
                    <a:lnTo>
                      <a:pt x="336" y="18669"/>
                    </a:lnTo>
                    <a:lnTo>
                      <a:pt x="476" y="18669"/>
                    </a:lnTo>
                    <a:lnTo>
                      <a:pt x="476" y="19010"/>
                    </a:lnTo>
                    <a:lnTo>
                      <a:pt x="336" y="19010"/>
                    </a:lnTo>
                    <a:lnTo>
                      <a:pt x="336" y="19323"/>
                    </a:lnTo>
                    <a:lnTo>
                      <a:pt x="476" y="19323"/>
                    </a:lnTo>
                    <a:lnTo>
                      <a:pt x="476" y="19494"/>
                    </a:lnTo>
                    <a:lnTo>
                      <a:pt x="644" y="19494"/>
                    </a:lnTo>
                    <a:lnTo>
                      <a:pt x="644" y="19665"/>
                    </a:lnTo>
                    <a:lnTo>
                      <a:pt x="811" y="19665"/>
                    </a:lnTo>
                    <a:lnTo>
                      <a:pt x="811" y="19807"/>
                    </a:lnTo>
                    <a:lnTo>
                      <a:pt x="1455" y="19807"/>
                    </a:lnTo>
                    <a:lnTo>
                      <a:pt x="1595" y="19665"/>
                    </a:lnTo>
                    <a:lnTo>
                      <a:pt x="1763" y="19665"/>
                    </a:lnTo>
                    <a:lnTo>
                      <a:pt x="1763" y="19807"/>
                    </a:lnTo>
                    <a:lnTo>
                      <a:pt x="1931" y="19807"/>
                    </a:lnTo>
                    <a:lnTo>
                      <a:pt x="2098" y="19978"/>
                    </a:lnTo>
                    <a:lnTo>
                      <a:pt x="2238" y="19978"/>
                    </a:lnTo>
                    <a:lnTo>
                      <a:pt x="2238" y="20632"/>
                    </a:lnTo>
                    <a:lnTo>
                      <a:pt x="2406" y="20632"/>
                    </a:lnTo>
                    <a:lnTo>
                      <a:pt x="2406" y="20945"/>
                    </a:lnTo>
                    <a:lnTo>
                      <a:pt x="2574" y="20945"/>
                    </a:lnTo>
                    <a:lnTo>
                      <a:pt x="2714" y="20803"/>
                    </a:lnTo>
                    <a:lnTo>
                      <a:pt x="2714" y="20945"/>
                    </a:lnTo>
                    <a:lnTo>
                      <a:pt x="2882" y="20945"/>
                    </a:lnTo>
                    <a:lnTo>
                      <a:pt x="2882" y="20803"/>
                    </a:lnTo>
                    <a:lnTo>
                      <a:pt x="3358" y="20803"/>
                    </a:lnTo>
                    <a:lnTo>
                      <a:pt x="3358" y="21458"/>
                    </a:lnTo>
                    <a:lnTo>
                      <a:pt x="3525" y="21458"/>
                    </a:lnTo>
                    <a:lnTo>
                      <a:pt x="3525" y="21600"/>
                    </a:lnTo>
                    <a:lnTo>
                      <a:pt x="4001" y="21600"/>
                    </a:lnTo>
                    <a:lnTo>
                      <a:pt x="4169" y="21458"/>
                    </a:lnTo>
                    <a:lnTo>
                      <a:pt x="5120" y="21458"/>
                    </a:lnTo>
                    <a:lnTo>
                      <a:pt x="5120" y="21600"/>
                    </a:lnTo>
                    <a:lnTo>
                      <a:pt x="5596" y="21600"/>
                    </a:lnTo>
                    <a:lnTo>
                      <a:pt x="5764" y="21458"/>
                    </a:lnTo>
                    <a:lnTo>
                      <a:pt x="5764" y="21287"/>
                    </a:lnTo>
                    <a:lnTo>
                      <a:pt x="5932" y="21287"/>
                    </a:lnTo>
                    <a:lnTo>
                      <a:pt x="6099" y="21116"/>
                    </a:lnTo>
                    <a:lnTo>
                      <a:pt x="6575" y="21116"/>
                    </a:lnTo>
                    <a:lnTo>
                      <a:pt x="6575" y="21287"/>
                    </a:lnTo>
                    <a:lnTo>
                      <a:pt x="7051" y="21287"/>
                    </a:lnTo>
                    <a:lnTo>
                      <a:pt x="7219" y="21116"/>
                    </a:lnTo>
                    <a:lnTo>
                      <a:pt x="7359" y="21116"/>
                    </a:lnTo>
                    <a:lnTo>
                      <a:pt x="7359" y="20945"/>
                    </a:lnTo>
                    <a:lnTo>
                      <a:pt x="7834" y="20945"/>
                    </a:lnTo>
                    <a:lnTo>
                      <a:pt x="7834" y="20803"/>
                    </a:lnTo>
                    <a:lnTo>
                      <a:pt x="8002" y="20803"/>
                    </a:lnTo>
                    <a:lnTo>
                      <a:pt x="7834" y="20803"/>
                    </a:lnTo>
                    <a:lnTo>
                      <a:pt x="7834" y="20632"/>
                    </a:lnTo>
                    <a:lnTo>
                      <a:pt x="7694" y="20632"/>
                    </a:lnTo>
                    <a:lnTo>
                      <a:pt x="7694" y="20462"/>
                    </a:lnTo>
                    <a:lnTo>
                      <a:pt x="7834" y="20462"/>
                    </a:lnTo>
                    <a:lnTo>
                      <a:pt x="7834" y="20319"/>
                    </a:lnTo>
                    <a:lnTo>
                      <a:pt x="7694" y="20149"/>
                    </a:lnTo>
                    <a:lnTo>
                      <a:pt x="7834" y="20149"/>
                    </a:lnTo>
                    <a:lnTo>
                      <a:pt x="7834" y="19978"/>
                    </a:lnTo>
                    <a:lnTo>
                      <a:pt x="8170" y="19978"/>
                    </a:lnTo>
                    <a:lnTo>
                      <a:pt x="8170" y="19665"/>
                    </a:lnTo>
                    <a:lnTo>
                      <a:pt x="8953" y="19665"/>
                    </a:lnTo>
                    <a:lnTo>
                      <a:pt x="8953" y="19494"/>
                    </a:lnTo>
                    <a:lnTo>
                      <a:pt x="8813" y="19494"/>
                    </a:lnTo>
                    <a:lnTo>
                      <a:pt x="8813" y="19181"/>
                    </a:lnTo>
                    <a:lnTo>
                      <a:pt x="9289" y="19181"/>
                    </a:lnTo>
                    <a:lnTo>
                      <a:pt x="9289" y="19010"/>
                    </a:lnTo>
                    <a:lnTo>
                      <a:pt x="9457" y="19010"/>
                    </a:lnTo>
                    <a:lnTo>
                      <a:pt x="9457" y="19181"/>
                    </a:lnTo>
                    <a:lnTo>
                      <a:pt x="9765" y="19181"/>
                    </a:lnTo>
                    <a:lnTo>
                      <a:pt x="9765" y="18840"/>
                    </a:lnTo>
                    <a:lnTo>
                      <a:pt x="10240" y="18840"/>
                    </a:lnTo>
                    <a:lnTo>
                      <a:pt x="10240" y="18669"/>
                    </a:lnTo>
                    <a:lnTo>
                      <a:pt x="10408" y="18669"/>
                    </a:lnTo>
                    <a:lnTo>
                      <a:pt x="10408" y="18185"/>
                    </a:lnTo>
                    <a:lnTo>
                      <a:pt x="10576" y="18185"/>
                    </a:lnTo>
                    <a:lnTo>
                      <a:pt x="10716" y="18356"/>
                    </a:lnTo>
                    <a:lnTo>
                      <a:pt x="10884" y="18185"/>
                    </a:lnTo>
                    <a:lnTo>
                      <a:pt x="10884" y="18356"/>
                    </a:lnTo>
                    <a:lnTo>
                      <a:pt x="10884" y="18185"/>
                    </a:lnTo>
                    <a:lnTo>
                      <a:pt x="11052" y="18185"/>
                    </a:lnTo>
                    <a:lnTo>
                      <a:pt x="11052" y="18356"/>
                    </a:lnTo>
                    <a:lnTo>
                      <a:pt x="11192" y="18356"/>
                    </a:lnTo>
                    <a:lnTo>
                      <a:pt x="11192" y="18185"/>
                    </a:lnTo>
                    <a:lnTo>
                      <a:pt x="11527" y="18185"/>
                    </a:lnTo>
                    <a:lnTo>
                      <a:pt x="11527" y="18043"/>
                    </a:lnTo>
                    <a:lnTo>
                      <a:pt x="11695" y="17872"/>
                    </a:lnTo>
                    <a:lnTo>
                      <a:pt x="12311" y="17872"/>
                    </a:lnTo>
                    <a:lnTo>
                      <a:pt x="12311" y="18043"/>
                    </a:lnTo>
                    <a:lnTo>
                      <a:pt x="12479" y="18043"/>
                    </a:lnTo>
                    <a:lnTo>
                      <a:pt x="12647" y="17872"/>
                    </a:lnTo>
                    <a:lnTo>
                      <a:pt x="12647" y="17701"/>
                    </a:lnTo>
                    <a:lnTo>
                      <a:pt x="12815" y="17701"/>
                    </a:lnTo>
                    <a:lnTo>
                      <a:pt x="12815" y="17872"/>
                    </a:lnTo>
                    <a:lnTo>
                      <a:pt x="13122" y="17872"/>
                    </a:lnTo>
                    <a:lnTo>
                      <a:pt x="13290" y="18043"/>
                    </a:lnTo>
                    <a:lnTo>
                      <a:pt x="13290" y="18185"/>
                    </a:lnTo>
                    <a:lnTo>
                      <a:pt x="13430" y="18185"/>
                    </a:lnTo>
                    <a:lnTo>
                      <a:pt x="13430" y="18356"/>
                    </a:lnTo>
                    <a:lnTo>
                      <a:pt x="13290" y="18356"/>
                    </a:lnTo>
                    <a:lnTo>
                      <a:pt x="13290" y="18669"/>
                    </a:lnTo>
                    <a:lnTo>
                      <a:pt x="13430" y="18669"/>
                    </a:lnTo>
                    <a:lnTo>
                      <a:pt x="13430" y="19181"/>
                    </a:lnTo>
                    <a:lnTo>
                      <a:pt x="13598" y="19181"/>
                    </a:lnTo>
                    <a:lnTo>
                      <a:pt x="13430" y="19323"/>
                    </a:lnTo>
                    <a:lnTo>
                      <a:pt x="13430" y="19665"/>
                    </a:lnTo>
                    <a:lnTo>
                      <a:pt x="13598" y="19665"/>
                    </a:lnTo>
                    <a:lnTo>
                      <a:pt x="13598" y="19494"/>
                    </a:lnTo>
                    <a:lnTo>
                      <a:pt x="14074" y="19494"/>
                    </a:lnTo>
                    <a:lnTo>
                      <a:pt x="14074" y="19323"/>
                    </a:lnTo>
                    <a:lnTo>
                      <a:pt x="14241" y="19323"/>
                    </a:lnTo>
                    <a:lnTo>
                      <a:pt x="14241" y="19181"/>
                    </a:lnTo>
                    <a:lnTo>
                      <a:pt x="14717" y="19181"/>
                    </a:lnTo>
                    <a:lnTo>
                      <a:pt x="14717" y="19323"/>
                    </a:lnTo>
                    <a:lnTo>
                      <a:pt x="14885" y="19181"/>
                    </a:lnTo>
                    <a:lnTo>
                      <a:pt x="15053" y="19181"/>
                    </a:lnTo>
                    <a:lnTo>
                      <a:pt x="15053" y="19010"/>
                    </a:lnTo>
                    <a:lnTo>
                      <a:pt x="15193" y="19010"/>
                    </a:lnTo>
                    <a:lnTo>
                      <a:pt x="15193" y="19181"/>
                    </a:lnTo>
                    <a:lnTo>
                      <a:pt x="15361" y="19323"/>
                    </a:lnTo>
                    <a:lnTo>
                      <a:pt x="15361" y="19181"/>
                    </a:lnTo>
                    <a:lnTo>
                      <a:pt x="15361" y="19323"/>
                    </a:lnTo>
                    <a:lnTo>
                      <a:pt x="15668" y="19323"/>
                    </a:lnTo>
                    <a:lnTo>
                      <a:pt x="15668" y="19494"/>
                    </a:lnTo>
                    <a:lnTo>
                      <a:pt x="15836" y="19494"/>
                    </a:lnTo>
                    <a:lnTo>
                      <a:pt x="15836" y="19181"/>
                    </a:lnTo>
                    <a:lnTo>
                      <a:pt x="16172" y="19181"/>
                    </a:lnTo>
                    <a:lnTo>
                      <a:pt x="16172" y="18840"/>
                    </a:lnTo>
                    <a:lnTo>
                      <a:pt x="16312" y="18840"/>
                    </a:lnTo>
                    <a:lnTo>
                      <a:pt x="16172" y="18840"/>
                    </a:lnTo>
                    <a:lnTo>
                      <a:pt x="16172" y="18669"/>
                    </a:lnTo>
                    <a:lnTo>
                      <a:pt x="16312" y="18669"/>
                    </a:lnTo>
                    <a:lnTo>
                      <a:pt x="16312" y="18526"/>
                    </a:lnTo>
                    <a:lnTo>
                      <a:pt x="16312" y="18669"/>
                    </a:lnTo>
                    <a:lnTo>
                      <a:pt x="16312" y="18526"/>
                    </a:lnTo>
                    <a:lnTo>
                      <a:pt x="16480" y="18526"/>
                    </a:lnTo>
                    <a:lnTo>
                      <a:pt x="16480" y="18356"/>
                    </a:lnTo>
                    <a:lnTo>
                      <a:pt x="16648" y="18356"/>
                    </a:lnTo>
                    <a:lnTo>
                      <a:pt x="16480" y="18356"/>
                    </a:lnTo>
                    <a:lnTo>
                      <a:pt x="16648" y="18185"/>
                    </a:lnTo>
                    <a:lnTo>
                      <a:pt x="16648" y="17872"/>
                    </a:lnTo>
                    <a:lnTo>
                      <a:pt x="16816" y="17701"/>
                    </a:lnTo>
                    <a:lnTo>
                      <a:pt x="16816" y="17872"/>
                    </a:lnTo>
                    <a:lnTo>
                      <a:pt x="16955" y="17701"/>
                    </a:lnTo>
                    <a:lnTo>
                      <a:pt x="16955" y="17530"/>
                    </a:lnTo>
                    <a:lnTo>
                      <a:pt x="17123" y="17388"/>
                    </a:lnTo>
                    <a:lnTo>
                      <a:pt x="17291" y="17388"/>
                    </a:lnTo>
                    <a:lnTo>
                      <a:pt x="17291" y="17047"/>
                    </a:lnTo>
                    <a:lnTo>
                      <a:pt x="17431" y="17047"/>
                    </a:lnTo>
                    <a:lnTo>
                      <a:pt x="17431" y="16563"/>
                    </a:lnTo>
                    <a:lnTo>
                      <a:pt x="17599" y="16563"/>
                    </a:lnTo>
                    <a:lnTo>
                      <a:pt x="17599" y="16421"/>
                    </a:lnTo>
                    <a:lnTo>
                      <a:pt x="17599" y="16563"/>
                    </a:lnTo>
                    <a:lnTo>
                      <a:pt x="17767" y="16563"/>
                    </a:lnTo>
                    <a:lnTo>
                      <a:pt x="17767" y="16421"/>
                    </a:lnTo>
                    <a:lnTo>
                      <a:pt x="18075" y="16421"/>
                    </a:lnTo>
                    <a:lnTo>
                      <a:pt x="18075" y="16734"/>
                    </a:lnTo>
                    <a:lnTo>
                      <a:pt x="19054" y="16734"/>
                    </a:lnTo>
                    <a:lnTo>
                      <a:pt x="19054" y="16904"/>
                    </a:lnTo>
                    <a:lnTo>
                      <a:pt x="19194" y="1690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>
                      <a:lumMod val="75000"/>
                    </a:srgbClr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49" name="Shape 2975"/>
              <p:cNvSpPr/>
              <p:nvPr/>
            </p:nvSpPr>
            <p:spPr>
              <a:xfrm>
                <a:off x="9846633" y="4058667"/>
                <a:ext cx="899777" cy="117851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429"/>
                    </a:moveTo>
                    <a:lnTo>
                      <a:pt x="21600" y="10588"/>
                    </a:lnTo>
                    <a:lnTo>
                      <a:pt x="21184" y="10588"/>
                    </a:lnTo>
                    <a:lnTo>
                      <a:pt x="21184" y="10721"/>
                    </a:lnTo>
                    <a:lnTo>
                      <a:pt x="20803" y="10721"/>
                    </a:lnTo>
                    <a:lnTo>
                      <a:pt x="20803" y="10588"/>
                    </a:lnTo>
                    <a:lnTo>
                      <a:pt x="20387" y="10588"/>
                    </a:lnTo>
                    <a:lnTo>
                      <a:pt x="20387" y="10721"/>
                    </a:lnTo>
                    <a:lnTo>
                      <a:pt x="20213" y="10588"/>
                    </a:lnTo>
                    <a:lnTo>
                      <a:pt x="20005" y="10588"/>
                    </a:lnTo>
                    <a:lnTo>
                      <a:pt x="20005" y="10429"/>
                    </a:lnTo>
                    <a:lnTo>
                      <a:pt x="19589" y="10429"/>
                    </a:lnTo>
                    <a:lnTo>
                      <a:pt x="19589" y="10271"/>
                    </a:lnTo>
                    <a:lnTo>
                      <a:pt x="19416" y="10271"/>
                    </a:lnTo>
                    <a:lnTo>
                      <a:pt x="19416" y="10429"/>
                    </a:lnTo>
                    <a:lnTo>
                      <a:pt x="19208" y="10429"/>
                    </a:lnTo>
                    <a:lnTo>
                      <a:pt x="19000" y="10588"/>
                    </a:lnTo>
                    <a:lnTo>
                      <a:pt x="19000" y="10271"/>
                    </a:lnTo>
                    <a:lnTo>
                      <a:pt x="18826" y="10271"/>
                    </a:lnTo>
                    <a:lnTo>
                      <a:pt x="18826" y="10429"/>
                    </a:lnTo>
                    <a:lnTo>
                      <a:pt x="18618" y="10429"/>
                    </a:lnTo>
                    <a:lnTo>
                      <a:pt x="18618" y="10271"/>
                    </a:lnTo>
                    <a:lnTo>
                      <a:pt x="18410" y="10271"/>
                    </a:lnTo>
                    <a:lnTo>
                      <a:pt x="18618" y="10112"/>
                    </a:lnTo>
                    <a:lnTo>
                      <a:pt x="18410" y="10112"/>
                    </a:lnTo>
                    <a:lnTo>
                      <a:pt x="18410" y="9979"/>
                    </a:lnTo>
                    <a:lnTo>
                      <a:pt x="18618" y="10112"/>
                    </a:lnTo>
                    <a:lnTo>
                      <a:pt x="18618" y="9821"/>
                    </a:lnTo>
                    <a:lnTo>
                      <a:pt x="18826" y="9821"/>
                    </a:lnTo>
                    <a:lnTo>
                      <a:pt x="18826" y="9662"/>
                    </a:lnTo>
                    <a:lnTo>
                      <a:pt x="18618" y="9662"/>
                    </a:lnTo>
                    <a:lnTo>
                      <a:pt x="18618" y="9529"/>
                    </a:lnTo>
                    <a:lnTo>
                      <a:pt x="18826" y="9529"/>
                    </a:lnTo>
                    <a:lnTo>
                      <a:pt x="18826" y="9662"/>
                    </a:lnTo>
                    <a:lnTo>
                      <a:pt x="19000" y="9662"/>
                    </a:lnTo>
                    <a:lnTo>
                      <a:pt x="18826" y="9529"/>
                    </a:lnTo>
                    <a:lnTo>
                      <a:pt x="18826" y="9371"/>
                    </a:lnTo>
                    <a:lnTo>
                      <a:pt x="18618" y="9371"/>
                    </a:lnTo>
                    <a:lnTo>
                      <a:pt x="18618" y="9212"/>
                    </a:lnTo>
                    <a:lnTo>
                      <a:pt x="18826" y="9212"/>
                    </a:lnTo>
                    <a:lnTo>
                      <a:pt x="18826" y="9053"/>
                    </a:lnTo>
                    <a:lnTo>
                      <a:pt x="19000" y="9053"/>
                    </a:lnTo>
                    <a:lnTo>
                      <a:pt x="19000" y="8921"/>
                    </a:lnTo>
                    <a:lnTo>
                      <a:pt x="19208" y="8921"/>
                    </a:lnTo>
                    <a:lnTo>
                      <a:pt x="19000" y="8921"/>
                    </a:lnTo>
                    <a:lnTo>
                      <a:pt x="19000" y="8762"/>
                    </a:lnTo>
                    <a:lnTo>
                      <a:pt x="19208" y="8603"/>
                    </a:lnTo>
                    <a:lnTo>
                      <a:pt x="19416" y="8603"/>
                    </a:lnTo>
                    <a:lnTo>
                      <a:pt x="19416" y="8312"/>
                    </a:lnTo>
                    <a:lnTo>
                      <a:pt x="19589" y="8312"/>
                    </a:lnTo>
                    <a:lnTo>
                      <a:pt x="19208" y="8312"/>
                    </a:lnTo>
                    <a:lnTo>
                      <a:pt x="19208" y="8021"/>
                    </a:lnTo>
                    <a:lnTo>
                      <a:pt x="18826" y="8021"/>
                    </a:lnTo>
                    <a:lnTo>
                      <a:pt x="19000" y="7862"/>
                    </a:lnTo>
                    <a:lnTo>
                      <a:pt x="18826" y="7862"/>
                    </a:lnTo>
                    <a:lnTo>
                      <a:pt x="19000" y="7703"/>
                    </a:lnTo>
                    <a:lnTo>
                      <a:pt x="18826" y="7703"/>
                    </a:lnTo>
                    <a:lnTo>
                      <a:pt x="19000" y="7703"/>
                    </a:lnTo>
                    <a:lnTo>
                      <a:pt x="19000" y="7544"/>
                    </a:lnTo>
                    <a:lnTo>
                      <a:pt x="18826" y="7544"/>
                    </a:lnTo>
                    <a:lnTo>
                      <a:pt x="18826" y="7253"/>
                    </a:lnTo>
                    <a:lnTo>
                      <a:pt x="18618" y="7094"/>
                    </a:lnTo>
                    <a:lnTo>
                      <a:pt x="18410" y="7094"/>
                    </a:lnTo>
                    <a:lnTo>
                      <a:pt x="18410" y="6485"/>
                    </a:lnTo>
                    <a:lnTo>
                      <a:pt x="18618" y="6485"/>
                    </a:lnTo>
                    <a:lnTo>
                      <a:pt x="18618" y="6353"/>
                    </a:lnTo>
                    <a:lnTo>
                      <a:pt x="18410" y="6353"/>
                    </a:lnTo>
                    <a:lnTo>
                      <a:pt x="18618" y="6353"/>
                    </a:lnTo>
                    <a:lnTo>
                      <a:pt x="18410" y="6353"/>
                    </a:lnTo>
                    <a:lnTo>
                      <a:pt x="18410" y="6194"/>
                    </a:lnTo>
                    <a:lnTo>
                      <a:pt x="18410" y="6353"/>
                    </a:lnTo>
                    <a:lnTo>
                      <a:pt x="18410" y="6035"/>
                    </a:lnTo>
                    <a:lnTo>
                      <a:pt x="18202" y="6035"/>
                    </a:lnTo>
                    <a:lnTo>
                      <a:pt x="18202" y="5903"/>
                    </a:lnTo>
                    <a:lnTo>
                      <a:pt x="18029" y="5903"/>
                    </a:lnTo>
                    <a:lnTo>
                      <a:pt x="18029" y="5744"/>
                    </a:lnTo>
                    <a:lnTo>
                      <a:pt x="18202" y="5744"/>
                    </a:lnTo>
                    <a:lnTo>
                      <a:pt x="18029" y="5585"/>
                    </a:lnTo>
                    <a:lnTo>
                      <a:pt x="17613" y="5585"/>
                    </a:lnTo>
                    <a:lnTo>
                      <a:pt x="17439" y="5426"/>
                    </a:lnTo>
                    <a:lnTo>
                      <a:pt x="18029" y="5426"/>
                    </a:lnTo>
                    <a:lnTo>
                      <a:pt x="18029" y="5135"/>
                    </a:lnTo>
                    <a:lnTo>
                      <a:pt x="18202" y="5135"/>
                    </a:lnTo>
                    <a:lnTo>
                      <a:pt x="18202" y="4976"/>
                    </a:lnTo>
                    <a:lnTo>
                      <a:pt x="18410" y="4976"/>
                    </a:lnTo>
                    <a:lnTo>
                      <a:pt x="18410" y="4844"/>
                    </a:lnTo>
                    <a:lnTo>
                      <a:pt x="18618" y="4844"/>
                    </a:lnTo>
                    <a:lnTo>
                      <a:pt x="18826" y="4685"/>
                    </a:lnTo>
                    <a:lnTo>
                      <a:pt x="18618" y="3626"/>
                    </a:lnTo>
                    <a:lnTo>
                      <a:pt x="18618" y="3335"/>
                    </a:lnTo>
                    <a:lnTo>
                      <a:pt x="18410" y="2118"/>
                    </a:lnTo>
                    <a:lnTo>
                      <a:pt x="18410" y="1959"/>
                    </a:lnTo>
                    <a:lnTo>
                      <a:pt x="18202" y="1668"/>
                    </a:lnTo>
                    <a:lnTo>
                      <a:pt x="17439" y="609"/>
                    </a:lnTo>
                    <a:lnTo>
                      <a:pt x="17439" y="450"/>
                    </a:lnTo>
                    <a:lnTo>
                      <a:pt x="17613" y="291"/>
                    </a:lnTo>
                    <a:lnTo>
                      <a:pt x="17231" y="291"/>
                    </a:lnTo>
                    <a:lnTo>
                      <a:pt x="17231" y="450"/>
                    </a:lnTo>
                    <a:lnTo>
                      <a:pt x="17023" y="450"/>
                    </a:lnTo>
                    <a:lnTo>
                      <a:pt x="17023" y="741"/>
                    </a:lnTo>
                    <a:lnTo>
                      <a:pt x="16642" y="741"/>
                    </a:lnTo>
                    <a:lnTo>
                      <a:pt x="16642" y="900"/>
                    </a:lnTo>
                    <a:lnTo>
                      <a:pt x="16642" y="741"/>
                    </a:lnTo>
                    <a:lnTo>
                      <a:pt x="16434" y="741"/>
                    </a:lnTo>
                    <a:lnTo>
                      <a:pt x="16642" y="741"/>
                    </a:lnTo>
                    <a:lnTo>
                      <a:pt x="16434" y="609"/>
                    </a:lnTo>
                    <a:lnTo>
                      <a:pt x="15845" y="609"/>
                    </a:lnTo>
                    <a:lnTo>
                      <a:pt x="15637" y="741"/>
                    </a:lnTo>
                    <a:lnTo>
                      <a:pt x="15637" y="900"/>
                    </a:lnTo>
                    <a:lnTo>
                      <a:pt x="15429" y="900"/>
                    </a:lnTo>
                    <a:lnTo>
                      <a:pt x="15255" y="1059"/>
                    </a:lnTo>
                    <a:lnTo>
                      <a:pt x="15047" y="1059"/>
                    </a:lnTo>
                    <a:lnTo>
                      <a:pt x="15047" y="900"/>
                    </a:lnTo>
                    <a:lnTo>
                      <a:pt x="14839" y="900"/>
                    </a:lnTo>
                    <a:lnTo>
                      <a:pt x="14839" y="741"/>
                    </a:lnTo>
                    <a:lnTo>
                      <a:pt x="14839" y="900"/>
                    </a:lnTo>
                    <a:lnTo>
                      <a:pt x="14458" y="900"/>
                    </a:lnTo>
                    <a:lnTo>
                      <a:pt x="14458" y="1059"/>
                    </a:lnTo>
                    <a:lnTo>
                      <a:pt x="14250" y="1059"/>
                    </a:lnTo>
                    <a:lnTo>
                      <a:pt x="14042" y="900"/>
                    </a:lnTo>
                    <a:lnTo>
                      <a:pt x="13660" y="900"/>
                    </a:lnTo>
                    <a:lnTo>
                      <a:pt x="13660" y="609"/>
                    </a:lnTo>
                    <a:lnTo>
                      <a:pt x="13279" y="609"/>
                    </a:lnTo>
                    <a:lnTo>
                      <a:pt x="13279" y="450"/>
                    </a:lnTo>
                    <a:lnTo>
                      <a:pt x="13071" y="450"/>
                    </a:lnTo>
                    <a:lnTo>
                      <a:pt x="13071" y="609"/>
                    </a:lnTo>
                    <a:lnTo>
                      <a:pt x="12482" y="609"/>
                    </a:lnTo>
                    <a:lnTo>
                      <a:pt x="12482" y="450"/>
                    </a:lnTo>
                    <a:lnTo>
                      <a:pt x="12482" y="609"/>
                    </a:lnTo>
                    <a:lnTo>
                      <a:pt x="12482" y="450"/>
                    </a:lnTo>
                    <a:lnTo>
                      <a:pt x="12274" y="450"/>
                    </a:lnTo>
                    <a:lnTo>
                      <a:pt x="12274" y="609"/>
                    </a:lnTo>
                    <a:lnTo>
                      <a:pt x="12065" y="609"/>
                    </a:lnTo>
                    <a:lnTo>
                      <a:pt x="12065" y="741"/>
                    </a:lnTo>
                    <a:lnTo>
                      <a:pt x="12065" y="609"/>
                    </a:lnTo>
                    <a:lnTo>
                      <a:pt x="11892" y="609"/>
                    </a:lnTo>
                    <a:lnTo>
                      <a:pt x="11892" y="159"/>
                    </a:lnTo>
                    <a:lnTo>
                      <a:pt x="11476" y="159"/>
                    </a:lnTo>
                    <a:lnTo>
                      <a:pt x="11476" y="0"/>
                    </a:lnTo>
                    <a:lnTo>
                      <a:pt x="10887" y="0"/>
                    </a:lnTo>
                    <a:lnTo>
                      <a:pt x="10887" y="450"/>
                    </a:lnTo>
                    <a:lnTo>
                      <a:pt x="10679" y="450"/>
                    </a:lnTo>
                    <a:lnTo>
                      <a:pt x="10679" y="291"/>
                    </a:lnTo>
                    <a:lnTo>
                      <a:pt x="10297" y="291"/>
                    </a:lnTo>
                    <a:lnTo>
                      <a:pt x="10297" y="450"/>
                    </a:lnTo>
                    <a:lnTo>
                      <a:pt x="10089" y="450"/>
                    </a:lnTo>
                    <a:lnTo>
                      <a:pt x="10089" y="291"/>
                    </a:lnTo>
                    <a:lnTo>
                      <a:pt x="9500" y="291"/>
                    </a:lnTo>
                    <a:lnTo>
                      <a:pt x="9500" y="609"/>
                    </a:lnTo>
                    <a:lnTo>
                      <a:pt x="9292" y="609"/>
                    </a:lnTo>
                    <a:lnTo>
                      <a:pt x="9292" y="450"/>
                    </a:lnTo>
                    <a:lnTo>
                      <a:pt x="9118" y="450"/>
                    </a:lnTo>
                    <a:lnTo>
                      <a:pt x="9118" y="609"/>
                    </a:lnTo>
                    <a:lnTo>
                      <a:pt x="8910" y="609"/>
                    </a:lnTo>
                    <a:lnTo>
                      <a:pt x="8910" y="741"/>
                    </a:lnTo>
                    <a:lnTo>
                      <a:pt x="8321" y="741"/>
                    </a:lnTo>
                    <a:lnTo>
                      <a:pt x="8321" y="1059"/>
                    </a:lnTo>
                    <a:lnTo>
                      <a:pt x="7905" y="1059"/>
                    </a:lnTo>
                    <a:lnTo>
                      <a:pt x="7905" y="1218"/>
                    </a:lnTo>
                    <a:lnTo>
                      <a:pt x="7524" y="1218"/>
                    </a:lnTo>
                    <a:lnTo>
                      <a:pt x="7524" y="1350"/>
                    </a:lnTo>
                    <a:lnTo>
                      <a:pt x="7108" y="1350"/>
                    </a:lnTo>
                    <a:lnTo>
                      <a:pt x="7108" y="1509"/>
                    </a:lnTo>
                    <a:lnTo>
                      <a:pt x="6934" y="1509"/>
                    </a:lnTo>
                    <a:lnTo>
                      <a:pt x="6934" y="1668"/>
                    </a:lnTo>
                    <a:lnTo>
                      <a:pt x="6726" y="1668"/>
                    </a:lnTo>
                    <a:lnTo>
                      <a:pt x="6726" y="1800"/>
                    </a:lnTo>
                    <a:lnTo>
                      <a:pt x="6518" y="1800"/>
                    </a:lnTo>
                    <a:lnTo>
                      <a:pt x="6726" y="1800"/>
                    </a:lnTo>
                    <a:lnTo>
                      <a:pt x="6726" y="2118"/>
                    </a:lnTo>
                    <a:lnTo>
                      <a:pt x="6518" y="2118"/>
                    </a:lnTo>
                    <a:lnTo>
                      <a:pt x="6518" y="2276"/>
                    </a:lnTo>
                    <a:lnTo>
                      <a:pt x="6310" y="2276"/>
                    </a:lnTo>
                    <a:lnTo>
                      <a:pt x="6310" y="2409"/>
                    </a:lnTo>
                    <a:lnTo>
                      <a:pt x="6137" y="2409"/>
                    </a:lnTo>
                    <a:lnTo>
                      <a:pt x="6137" y="2726"/>
                    </a:lnTo>
                    <a:lnTo>
                      <a:pt x="5929" y="2859"/>
                    </a:lnTo>
                    <a:lnTo>
                      <a:pt x="6137" y="2859"/>
                    </a:lnTo>
                    <a:lnTo>
                      <a:pt x="6137" y="3018"/>
                    </a:lnTo>
                    <a:lnTo>
                      <a:pt x="5929" y="3176"/>
                    </a:lnTo>
                    <a:lnTo>
                      <a:pt x="5547" y="3176"/>
                    </a:lnTo>
                    <a:lnTo>
                      <a:pt x="5339" y="3018"/>
                    </a:lnTo>
                    <a:lnTo>
                      <a:pt x="4923" y="3018"/>
                    </a:lnTo>
                    <a:lnTo>
                      <a:pt x="4750" y="3176"/>
                    </a:lnTo>
                    <a:lnTo>
                      <a:pt x="4750" y="3335"/>
                    </a:lnTo>
                    <a:lnTo>
                      <a:pt x="4542" y="3468"/>
                    </a:lnTo>
                    <a:lnTo>
                      <a:pt x="4542" y="3785"/>
                    </a:lnTo>
                    <a:lnTo>
                      <a:pt x="4334" y="3785"/>
                    </a:lnTo>
                    <a:lnTo>
                      <a:pt x="4334" y="3918"/>
                    </a:lnTo>
                    <a:lnTo>
                      <a:pt x="4161" y="3918"/>
                    </a:lnTo>
                    <a:lnTo>
                      <a:pt x="4161" y="4076"/>
                    </a:lnTo>
                    <a:lnTo>
                      <a:pt x="3952" y="4076"/>
                    </a:lnTo>
                    <a:lnTo>
                      <a:pt x="3952" y="4235"/>
                    </a:lnTo>
                    <a:lnTo>
                      <a:pt x="3744" y="4235"/>
                    </a:lnTo>
                    <a:lnTo>
                      <a:pt x="3744" y="4526"/>
                    </a:lnTo>
                    <a:lnTo>
                      <a:pt x="3536" y="4526"/>
                    </a:lnTo>
                    <a:lnTo>
                      <a:pt x="3536" y="4685"/>
                    </a:lnTo>
                    <a:lnTo>
                      <a:pt x="3363" y="4685"/>
                    </a:lnTo>
                    <a:lnTo>
                      <a:pt x="3363" y="4844"/>
                    </a:lnTo>
                    <a:lnTo>
                      <a:pt x="3155" y="4844"/>
                    </a:lnTo>
                    <a:lnTo>
                      <a:pt x="3155" y="4976"/>
                    </a:lnTo>
                    <a:lnTo>
                      <a:pt x="2774" y="4976"/>
                    </a:lnTo>
                    <a:lnTo>
                      <a:pt x="2774" y="5294"/>
                    </a:lnTo>
                    <a:lnTo>
                      <a:pt x="2358" y="5585"/>
                    </a:lnTo>
                    <a:lnTo>
                      <a:pt x="2150" y="5744"/>
                    </a:lnTo>
                    <a:lnTo>
                      <a:pt x="2150" y="5903"/>
                    </a:lnTo>
                    <a:lnTo>
                      <a:pt x="1768" y="6194"/>
                    </a:lnTo>
                    <a:lnTo>
                      <a:pt x="1768" y="6485"/>
                    </a:lnTo>
                    <a:lnTo>
                      <a:pt x="1560" y="6644"/>
                    </a:lnTo>
                    <a:lnTo>
                      <a:pt x="1560" y="6803"/>
                    </a:lnTo>
                    <a:lnTo>
                      <a:pt x="1387" y="6962"/>
                    </a:lnTo>
                    <a:lnTo>
                      <a:pt x="763" y="6962"/>
                    </a:lnTo>
                    <a:lnTo>
                      <a:pt x="589" y="7094"/>
                    </a:lnTo>
                    <a:lnTo>
                      <a:pt x="589" y="7544"/>
                    </a:lnTo>
                    <a:lnTo>
                      <a:pt x="381" y="7544"/>
                    </a:lnTo>
                    <a:lnTo>
                      <a:pt x="589" y="7544"/>
                    </a:lnTo>
                    <a:lnTo>
                      <a:pt x="381" y="7544"/>
                    </a:lnTo>
                    <a:lnTo>
                      <a:pt x="381" y="7703"/>
                    </a:lnTo>
                    <a:lnTo>
                      <a:pt x="589" y="7703"/>
                    </a:lnTo>
                    <a:lnTo>
                      <a:pt x="589" y="8153"/>
                    </a:lnTo>
                    <a:lnTo>
                      <a:pt x="381" y="8153"/>
                    </a:lnTo>
                    <a:lnTo>
                      <a:pt x="381" y="8312"/>
                    </a:lnTo>
                    <a:lnTo>
                      <a:pt x="173" y="8312"/>
                    </a:lnTo>
                    <a:lnTo>
                      <a:pt x="173" y="8471"/>
                    </a:lnTo>
                    <a:lnTo>
                      <a:pt x="0" y="8471"/>
                    </a:lnTo>
                    <a:lnTo>
                      <a:pt x="0" y="8762"/>
                    </a:lnTo>
                    <a:lnTo>
                      <a:pt x="173" y="8762"/>
                    </a:lnTo>
                    <a:lnTo>
                      <a:pt x="173" y="8921"/>
                    </a:lnTo>
                    <a:lnTo>
                      <a:pt x="589" y="8921"/>
                    </a:lnTo>
                    <a:lnTo>
                      <a:pt x="589" y="9053"/>
                    </a:lnTo>
                    <a:lnTo>
                      <a:pt x="763" y="9053"/>
                    </a:lnTo>
                    <a:lnTo>
                      <a:pt x="763" y="9821"/>
                    </a:lnTo>
                    <a:lnTo>
                      <a:pt x="589" y="9821"/>
                    </a:lnTo>
                    <a:lnTo>
                      <a:pt x="589" y="9979"/>
                    </a:lnTo>
                    <a:lnTo>
                      <a:pt x="381" y="9979"/>
                    </a:lnTo>
                    <a:lnTo>
                      <a:pt x="381" y="10271"/>
                    </a:lnTo>
                    <a:lnTo>
                      <a:pt x="971" y="10271"/>
                    </a:lnTo>
                    <a:lnTo>
                      <a:pt x="971" y="10112"/>
                    </a:lnTo>
                    <a:lnTo>
                      <a:pt x="1179" y="10112"/>
                    </a:lnTo>
                    <a:lnTo>
                      <a:pt x="1179" y="10429"/>
                    </a:lnTo>
                    <a:lnTo>
                      <a:pt x="1387" y="10429"/>
                    </a:lnTo>
                    <a:lnTo>
                      <a:pt x="1387" y="10588"/>
                    </a:lnTo>
                    <a:lnTo>
                      <a:pt x="1560" y="10588"/>
                    </a:lnTo>
                    <a:lnTo>
                      <a:pt x="1387" y="10588"/>
                    </a:lnTo>
                    <a:lnTo>
                      <a:pt x="1560" y="10588"/>
                    </a:lnTo>
                    <a:lnTo>
                      <a:pt x="1560" y="10721"/>
                    </a:lnTo>
                    <a:lnTo>
                      <a:pt x="1768" y="10879"/>
                    </a:lnTo>
                    <a:lnTo>
                      <a:pt x="1976" y="10879"/>
                    </a:lnTo>
                    <a:lnTo>
                      <a:pt x="1768" y="10721"/>
                    </a:lnTo>
                    <a:lnTo>
                      <a:pt x="1976" y="10588"/>
                    </a:lnTo>
                    <a:lnTo>
                      <a:pt x="1976" y="10879"/>
                    </a:lnTo>
                    <a:lnTo>
                      <a:pt x="2150" y="10879"/>
                    </a:lnTo>
                    <a:lnTo>
                      <a:pt x="2150" y="11038"/>
                    </a:lnTo>
                    <a:lnTo>
                      <a:pt x="2566" y="11038"/>
                    </a:lnTo>
                    <a:lnTo>
                      <a:pt x="2566" y="11171"/>
                    </a:lnTo>
                    <a:lnTo>
                      <a:pt x="3155" y="11171"/>
                    </a:lnTo>
                    <a:lnTo>
                      <a:pt x="3155" y="11329"/>
                    </a:lnTo>
                    <a:lnTo>
                      <a:pt x="3363" y="11329"/>
                    </a:lnTo>
                    <a:lnTo>
                      <a:pt x="3155" y="11329"/>
                    </a:lnTo>
                    <a:lnTo>
                      <a:pt x="3155" y="11488"/>
                    </a:lnTo>
                    <a:lnTo>
                      <a:pt x="3363" y="11488"/>
                    </a:lnTo>
                    <a:lnTo>
                      <a:pt x="3363" y="11647"/>
                    </a:lnTo>
                    <a:lnTo>
                      <a:pt x="3536" y="11647"/>
                    </a:lnTo>
                    <a:lnTo>
                      <a:pt x="3536" y="11488"/>
                    </a:lnTo>
                    <a:lnTo>
                      <a:pt x="3536" y="11779"/>
                    </a:lnTo>
                    <a:lnTo>
                      <a:pt x="3363" y="11938"/>
                    </a:lnTo>
                    <a:lnTo>
                      <a:pt x="3363" y="12097"/>
                    </a:lnTo>
                    <a:lnTo>
                      <a:pt x="3744" y="12097"/>
                    </a:lnTo>
                    <a:lnTo>
                      <a:pt x="3744" y="12388"/>
                    </a:lnTo>
                    <a:lnTo>
                      <a:pt x="3536" y="12388"/>
                    </a:lnTo>
                    <a:lnTo>
                      <a:pt x="3536" y="12547"/>
                    </a:lnTo>
                    <a:lnTo>
                      <a:pt x="3363" y="12547"/>
                    </a:lnTo>
                    <a:lnTo>
                      <a:pt x="3363" y="12706"/>
                    </a:lnTo>
                    <a:lnTo>
                      <a:pt x="3155" y="12706"/>
                    </a:lnTo>
                    <a:lnTo>
                      <a:pt x="3155" y="13156"/>
                    </a:lnTo>
                    <a:lnTo>
                      <a:pt x="2947" y="13156"/>
                    </a:lnTo>
                    <a:lnTo>
                      <a:pt x="3155" y="13156"/>
                    </a:lnTo>
                    <a:lnTo>
                      <a:pt x="3155" y="13288"/>
                    </a:lnTo>
                    <a:lnTo>
                      <a:pt x="2947" y="13288"/>
                    </a:lnTo>
                    <a:lnTo>
                      <a:pt x="2947" y="13447"/>
                    </a:lnTo>
                    <a:lnTo>
                      <a:pt x="3155" y="13447"/>
                    </a:lnTo>
                    <a:lnTo>
                      <a:pt x="3155" y="13897"/>
                    </a:lnTo>
                    <a:lnTo>
                      <a:pt x="2947" y="13897"/>
                    </a:lnTo>
                    <a:lnTo>
                      <a:pt x="2774" y="14056"/>
                    </a:lnTo>
                    <a:lnTo>
                      <a:pt x="2566" y="14056"/>
                    </a:lnTo>
                    <a:lnTo>
                      <a:pt x="2566" y="14215"/>
                    </a:lnTo>
                    <a:lnTo>
                      <a:pt x="2358" y="14215"/>
                    </a:lnTo>
                    <a:lnTo>
                      <a:pt x="2358" y="14347"/>
                    </a:lnTo>
                    <a:lnTo>
                      <a:pt x="2150" y="14347"/>
                    </a:lnTo>
                    <a:lnTo>
                      <a:pt x="2150" y="14665"/>
                    </a:lnTo>
                    <a:lnTo>
                      <a:pt x="1768" y="14665"/>
                    </a:lnTo>
                    <a:lnTo>
                      <a:pt x="1560" y="14797"/>
                    </a:lnTo>
                    <a:lnTo>
                      <a:pt x="1560" y="14956"/>
                    </a:lnTo>
                    <a:lnTo>
                      <a:pt x="1387" y="14956"/>
                    </a:lnTo>
                    <a:lnTo>
                      <a:pt x="1387" y="15115"/>
                    </a:lnTo>
                    <a:lnTo>
                      <a:pt x="1179" y="15115"/>
                    </a:lnTo>
                    <a:lnTo>
                      <a:pt x="1179" y="15406"/>
                    </a:lnTo>
                    <a:lnTo>
                      <a:pt x="1387" y="15406"/>
                    </a:lnTo>
                    <a:lnTo>
                      <a:pt x="1387" y="15565"/>
                    </a:lnTo>
                    <a:lnTo>
                      <a:pt x="1560" y="15565"/>
                    </a:lnTo>
                    <a:lnTo>
                      <a:pt x="1768" y="15724"/>
                    </a:lnTo>
                    <a:lnTo>
                      <a:pt x="1768" y="15856"/>
                    </a:lnTo>
                    <a:lnTo>
                      <a:pt x="2150" y="15856"/>
                    </a:lnTo>
                    <a:lnTo>
                      <a:pt x="2150" y="16174"/>
                    </a:lnTo>
                    <a:lnTo>
                      <a:pt x="1976" y="16174"/>
                    </a:lnTo>
                    <a:lnTo>
                      <a:pt x="1976" y="16332"/>
                    </a:lnTo>
                    <a:lnTo>
                      <a:pt x="1768" y="16332"/>
                    </a:lnTo>
                    <a:lnTo>
                      <a:pt x="1768" y="16624"/>
                    </a:lnTo>
                    <a:lnTo>
                      <a:pt x="1560" y="16624"/>
                    </a:lnTo>
                    <a:lnTo>
                      <a:pt x="1768" y="16782"/>
                    </a:lnTo>
                    <a:lnTo>
                      <a:pt x="1768" y="16915"/>
                    </a:lnTo>
                    <a:lnTo>
                      <a:pt x="1976" y="16915"/>
                    </a:lnTo>
                    <a:lnTo>
                      <a:pt x="1976" y="17074"/>
                    </a:lnTo>
                    <a:lnTo>
                      <a:pt x="1768" y="17074"/>
                    </a:lnTo>
                    <a:lnTo>
                      <a:pt x="1976" y="17074"/>
                    </a:lnTo>
                    <a:lnTo>
                      <a:pt x="1976" y="17841"/>
                    </a:lnTo>
                    <a:lnTo>
                      <a:pt x="2150" y="17974"/>
                    </a:lnTo>
                    <a:lnTo>
                      <a:pt x="2150" y="18132"/>
                    </a:lnTo>
                    <a:lnTo>
                      <a:pt x="2358" y="18132"/>
                    </a:lnTo>
                    <a:lnTo>
                      <a:pt x="2566" y="18291"/>
                    </a:lnTo>
                    <a:lnTo>
                      <a:pt x="2947" y="18291"/>
                    </a:lnTo>
                    <a:lnTo>
                      <a:pt x="2947" y="18132"/>
                    </a:lnTo>
                    <a:lnTo>
                      <a:pt x="3155" y="18132"/>
                    </a:lnTo>
                    <a:lnTo>
                      <a:pt x="3155" y="17974"/>
                    </a:lnTo>
                    <a:lnTo>
                      <a:pt x="3363" y="17974"/>
                    </a:lnTo>
                    <a:lnTo>
                      <a:pt x="3363" y="17841"/>
                    </a:lnTo>
                    <a:lnTo>
                      <a:pt x="3536" y="17841"/>
                    </a:lnTo>
                    <a:lnTo>
                      <a:pt x="3363" y="17682"/>
                    </a:lnTo>
                    <a:lnTo>
                      <a:pt x="3744" y="17682"/>
                    </a:lnTo>
                    <a:lnTo>
                      <a:pt x="3744" y="17232"/>
                    </a:lnTo>
                    <a:lnTo>
                      <a:pt x="3952" y="17232"/>
                    </a:lnTo>
                    <a:lnTo>
                      <a:pt x="3952" y="17365"/>
                    </a:lnTo>
                    <a:lnTo>
                      <a:pt x="4161" y="17365"/>
                    </a:lnTo>
                    <a:lnTo>
                      <a:pt x="4161" y="17524"/>
                    </a:lnTo>
                    <a:lnTo>
                      <a:pt x="4334" y="17524"/>
                    </a:lnTo>
                    <a:lnTo>
                      <a:pt x="4334" y="17232"/>
                    </a:lnTo>
                    <a:lnTo>
                      <a:pt x="4161" y="17232"/>
                    </a:lnTo>
                    <a:lnTo>
                      <a:pt x="4161" y="17074"/>
                    </a:lnTo>
                    <a:lnTo>
                      <a:pt x="3952" y="17074"/>
                    </a:lnTo>
                    <a:lnTo>
                      <a:pt x="4161" y="17074"/>
                    </a:lnTo>
                    <a:lnTo>
                      <a:pt x="4161" y="16915"/>
                    </a:lnTo>
                    <a:lnTo>
                      <a:pt x="4542" y="16915"/>
                    </a:lnTo>
                    <a:lnTo>
                      <a:pt x="4542" y="17232"/>
                    </a:lnTo>
                    <a:lnTo>
                      <a:pt x="4750" y="17232"/>
                    </a:lnTo>
                    <a:lnTo>
                      <a:pt x="4750" y="17365"/>
                    </a:lnTo>
                    <a:lnTo>
                      <a:pt x="4923" y="17365"/>
                    </a:lnTo>
                    <a:lnTo>
                      <a:pt x="4923" y="17524"/>
                    </a:lnTo>
                    <a:lnTo>
                      <a:pt x="5131" y="17365"/>
                    </a:lnTo>
                    <a:lnTo>
                      <a:pt x="5131" y="17524"/>
                    </a:lnTo>
                    <a:lnTo>
                      <a:pt x="5547" y="17524"/>
                    </a:lnTo>
                    <a:lnTo>
                      <a:pt x="5547" y="17682"/>
                    </a:lnTo>
                    <a:lnTo>
                      <a:pt x="5721" y="17682"/>
                    </a:lnTo>
                    <a:lnTo>
                      <a:pt x="5721" y="17524"/>
                    </a:lnTo>
                    <a:lnTo>
                      <a:pt x="5929" y="17524"/>
                    </a:lnTo>
                    <a:lnTo>
                      <a:pt x="5929" y="17365"/>
                    </a:lnTo>
                    <a:lnTo>
                      <a:pt x="6726" y="17365"/>
                    </a:lnTo>
                    <a:lnTo>
                      <a:pt x="6726" y="17524"/>
                    </a:lnTo>
                    <a:lnTo>
                      <a:pt x="6934" y="17524"/>
                    </a:lnTo>
                    <a:lnTo>
                      <a:pt x="7108" y="17682"/>
                    </a:lnTo>
                    <a:lnTo>
                      <a:pt x="7108" y="17841"/>
                    </a:lnTo>
                    <a:lnTo>
                      <a:pt x="7316" y="17841"/>
                    </a:lnTo>
                    <a:lnTo>
                      <a:pt x="7316" y="18132"/>
                    </a:lnTo>
                    <a:lnTo>
                      <a:pt x="7524" y="18132"/>
                    </a:lnTo>
                    <a:lnTo>
                      <a:pt x="7524" y="18291"/>
                    </a:lnTo>
                    <a:lnTo>
                      <a:pt x="7316" y="18291"/>
                    </a:lnTo>
                    <a:lnTo>
                      <a:pt x="7316" y="18424"/>
                    </a:lnTo>
                    <a:lnTo>
                      <a:pt x="7108" y="18424"/>
                    </a:lnTo>
                    <a:lnTo>
                      <a:pt x="7108" y="18741"/>
                    </a:lnTo>
                    <a:lnTo>
                      <a:pt x="6934" y="18900"/>
                    </a:lnTo>
                    <a:lnTo>
                      <a:pt x="6726" y="18900"/>
                    </a:lnTo>
                    <a:lnTo>
                      <a:pt x="6726" y="19191"/>
                    </a:lnTo>
                    <a:lnTo>
                      <a:pt x="6934" y="19191"/>
                    </a:lnTo>
                    <a:lnTo>
                      <a:pt x="6726" y="19350"/>
                    </a:lnTo>
                    <a:lnTo>
                      <a:pt x="6934" y="19350"/>
                    </a:lnTo>
                    <a:lnTo>
                      <a:pt x="6934" y="19959"/>
                    </a:lnTo>
                    <a:lnTo>
                      <a:pt x="7108" y="19959"/>
                    </a:lnTo>
                    <a:lnTo>
                      <a:pt x="6934" y="19959"/>
                    </a:lnTo>
                    <a:lnTo>
                      <a:pt x="6934" y="20091"/>
                    </a:lnTo>
                    <a:lnTo>
                      <a:pt x="7108" y="20091"/>
                    </a:lnTo>
                    <a:lnTo>
                      <a:pt x="7108" y="20250"/>
                    </a:lnTo>
                    <a:lnTo>
                      <a:pt x="7524" y="20250"/>
                    </a:lnTo>
                    <a:lnTo>
                      <a:pt x="7524" y="20409"/>
                    </a:lnTo>
                    <a:lnTo>
                      <a:pt x="7697" y="20409"/>
                    </a:lnTo>
                    <a:lnTo>
                      <a:pt x="7697" y="20250"/>
                    </a:lnTo>
                    <a:lnTo>
                      <a:pt x="8113" y="20250"/>
                    </a:lnTo>
                    <a:lnTo>
                      <a:pt x="8113" y="20409"/>
                    </a:lnTo>
                    <a:lnTo>
                      <a:pt x="8321" y="20409"/>
                    </a:lnTo>
                    <a:lnTo>
                      <a:pt x="8321" y="20250"/>
                    </a:lnTo>
                    <a:lnTo>
                      <a:pt x="8321" y="20409"/>
                    </a:lnTo>
                    <a:lnTo>
                      <a:pt x="8494" y="20409"/>
                    </a:lnTo>
                    <a:lnTo>
                      <a:pt x="8494" y="20541"/>
                    </a:lnTo>
                    <a:lnTo>
                      <a:pt x="8702" y="20541"/>
                    </a:lnTo>
                    <a:lnTo>
                      <a:pt x="8702" y="20409"/>
                    </a:lnTo>
                    <a:lnTo>
                      <a:pt x="9292" y="20409"/>
                    </a:lnTo>
                    <a:lnTo>
                      <a:pt x="9292" y="20541"/>
                    </a:lnTo>
                    <a:lnTo>
                      <a:pt x="9292" y="20409"/>
                    </a:lnTo>
                    <a:lnTo>
                      <a:pt x="9500" y="20409"/>
                    </a:lnTo>
                    <a:lnTo>
                      <a:pt x="9500" y="20250"/>
                    </a:lnTo>
                    <a:lnTo>
                      <a:pt x="9708" y="20250"/>
                    </a:lnTo>
                    <a:lnTo>
                      <a:pt x="9708" y="20091"/>
                    </a:lnTo>
                    <a:lnTo>
                      <a:pt x="10679" y="20091"/>
                    </a:lnTo>
                    <a:lnTo>
                      <a:pt x="10679" y="19959"/>
                    </a:lnTo>
                    <a:lnTo>
                      <a:pt x="11476" y="19959"/>
                    </a:lnTo>
                    <a:lnTo>
                      <a:pt x="11476" y="19800"/>
                    </a:lnTo>
                    <a:lnTo>
                      <a:pt x="11684" y="19800"/>
                    </a:lnTo>
                    <a:lnTo>
                      <a:pt x="11684" y="19959"/>
                    </a:lnTo>
                    <a:lnTo>
                      <a:pt x="11892" y="19800"/>
                    </a:lnTo>
                    <a:lnTo>
                      <a:pt x="11892" y="19641"/>
                    </a:lnTo>
                    <a:lnTo>
                      <a:pt x="12065" y="19641"/>
                    </a:lnTo>
                    <a:lnTo>
                      <a:pt x="12065" y="19482"/>
                    </a:lnTo>
                    <a:lnTo>
                      <a:pt x="12274" y="19482"/>
                    </a:lnTo>
                    <a:lnTo>
                      <a:pt x="12274" y="19350"/>
                    </a:lnTo>
                    <a:lnTo>
                      <a:pt x="12482" y="19350"/>
                    </a:lnTo>
                    <a:lnTo>
                      <a:pt x="12482" y="19191"/>
                    </a:lnTo>
                    <a:lnTo>
                      <a:pt x="12482" y="19350"/>
                    </a:lnTo>
                    <a:lnTo>
                      <a:pt x="12863" y="19350"/>
                    </a:lnTo>
                    <a:lnTo>
                      <a:pt x="12863" y="19482"/>
                    </a:lnTo>
                    <a:lnTo>
                      <a:pt x="13071" y="19482"/>
                    </a:lnTo>
                    <a:lnTo>
                      <a:pt x="13071" y="19641"/>
                    </a:lnTo>
                    <a:lnTo>
                      <a:pt x="13660" y="19641"/>
                    </a:lnTo>
                    <a:lnTo>
                      <a:pt x="13660" y="19800"/>
                    </a:lnTo>
                    <a:lnTo>
                      <a:pt x="14250" y="19800"/>
                    </a:lnTo>
                    <a:lnTo>
                      <a:pt x="14250" y="19959"/>
                    </a:lnTo>
                    <a:lnTo>
                      <a:pt x="14839" y="19959"/>
                    </a:lnTo>
                    <a:lnTo>
                      <a:pt x="14839" y="19800"/>
                    </a:lnTo>
                    <a:lnTo>
                      <a:pt x="15255" y="19800"/>
                    </a:lnTo>
                    <a:lnTo>
                      <a:pt x="15255" y="19959"/>
                    </a:lnTo>
                    <a:lnTo>
                      <a:pt x="15429" y="19959"/>
                    </a:lnTo>
                    <a:lnTo>
                      <a:pt x="15637" y="20091"/>
                    </a:lnTo>
                    <a:lnTo>
                      <a:pt x="15845" y="20091"/>
                    </a:lnTo>
                    <a:lnTo>
                      <a:pt x="15845" y="19959"/>
                    </a:lnTo>
                    <a:lnTo>
                      <a:pt x="16053" y="19959"/>
                    </a:lnTo>
                    <a:lnTo>
                      <a:pt x="16053" y="20250"/>
                    </a:lnTo>
                    <a:lnTo>
                      <a:pt x="16226" y="20250"/>
                    </a:lnTo>
                    <a:lnTo>
                      <a:pt x="16226" y="20409"/>
                    </a:lnTo>
                    <a:lnTo>
                      <a:pt x="16053" y="20409"/>
                    </a:lnTo>
                    <a:lnTo>
                      <a:pt x="16053" y="20541"/>
                    </a:lnTo>
                    <a:lnTo>
                      <a:pt x="16226" y="20541"/>
                    </a:lnTo>
                    <a:lnTo>
                      <a:pt x="16226" y="20700"/>
                    </a:lnTo>
                    <a:lnTo>
                      <a:pt x="16053" y="20700"/>
                    </a:lnTo>
                    <a:lnTo>
                      <a:pt x="16053" y="20859"/>
                    </a:lnTo>
                    <a:lnTo>
                      <a:pt x="16226" y="20859"/>
                    </a:lnTo>
                    <a:lnTo>
                      <a:pt x="16226" y="20700"/>
                    </a:lnTo>
                    <a:lnTo>
                      <a:pt x="16642" y="20700"/>
                    </a:lnTo>
                    <a:lnTo>
                      <a:pt x="16642" y="20541"/>
                    </a:lnTo>
                    <a:lnTo>
                      <a:pt x="17023" y="20541"/>
                    </a:lnTo>
                    <a:lnTo>
                      <a:pt x="17023" y="20700"/>
                    </a:lnTo>
                    <a:lnTo>
                      <a:pt x="17231" y="20859"/>
                    </a:lnTo>
                    <a:lnTo>
                      <a:pt x="17231" y="21018"/>
                    </a:lnTo>
                    <a:lnTo>
                      <a:pt x="17613" y="21018"/>
                    </a:lnTo>
                    <a:lnTo>
                      <a:pt x="17613" y="21150"/>
                    </a:lnTo>
                    <a:lnTo>
                      <a:pt x="18029" y="21150"/>
                    </a:lnTo>
                    <a:lnTo>
                      <a:pt x="18029" y="21309"/>
                    </a:lnTo>
                    <a:lnTo>
                      <a:pt x="18410" y="21309"/>
                    </a:lnTo>
                    <a:lnTo>
                      <a:pt x="18410" y="21468"/>
                    </a:lnTo>
                    <a:lnTo>
                      <a:pt x="18618" y="21468"/>
                    </a:lnTo>
                    <a:lnTo>
                      <a:pt x="18618" y="21600"/>
                    </a:lnTo>
                    <a:lnTo>
                      <a:pt x="19208" y="21600"/>
                    </a:lnTo>
                    <a:lnTo>
                      <a:pt x="19208" y="21309"/>
                    </a:lnTo>
                    <a:lnTo>
                      <a:pt x="19000" y="21309"/>
                    </a:lnTo>
                    <a:lnTo>
                      <a:pt x="19000" y="21150"/>
                    </a:lnTo>
                    <a:lnTo>
                      <a:pt x="19208" y="21150"/>
                    </a:lnTo>
                    <a:lnTo>
                      <a:pt x="19208" y="21018"/>
                    </a:lnTo>
                    <a:lnTo>
                      <a:pt x="19416" y="21018"/>
                    </a:lnTo>
                    <a:lnTo>
                      <a:pt x="19416" y="20859"/>
                    </a:lnTo>
                    <a:lnTo>
                      <a:pt x="19589" y="20859"/>
                    </a:lnTo>
                    <a:lnTo>
                      <a:pt x="19589" y="20700"/>
                    </a:lnTo>
                    <a:lnTo>
                      <a:pt x="19797" y="20700"/>
                    </a:lnTo>
                    <a:lnTo>
                      <a:pt x="19797" y="20541"/>
                    </a:lnTo>
                    <a:lnTo>
                      <a:pt x="19589" y="20541"/>
                    </a:lnTo>
                    <a:lnTo>
                      <a:pt x="19589" y="20409"/>
                    </a:lnTo>
                    <a:lnTo>
                      <a:pt x="19416" y="20409"/>
                    </a:lnTo>
                    <a:lnTo>
                      <a:pt x="19589" y="20409"/>
                    </a:lnTo>
                    <a:lnTo>
                      <a:pt x="19416" y="20250"/>
                    </a:lnTo>
                    <a:lnTo>
                      <a:pt x="19589" y="20250"/>
                    </a:lnTo>
                    <a:lnTo>
                      <a:pt x="19416" y="20250"/>
                    </a:lnTo>
                    <a:lnTo>
                      <a:pt x="19589" y="20250"/>
                    </a:lnTo>
                    <a:lnTo>
                      <a:pt x="19589" y="20091"/>
                    </a:lnTo>
                    <a:lnTo>
                      <a:pt x="19416" y="20091"/>
                    </a:lnTo>
                    <a:lnTo>
                      <a:pt x="19589" y="20091"/>
                    </a:lnTo>
                    <a:lnTo>
                      <a:pt x="19416" y="20091"/>
                    </a:lnTo>
                    <a:lnTo>
                      <a:pt x="19416" y="19959"/>
                    </a:lnTo>
                    <a:lnTo>
                      <a:pt x="19416" y="20091"/>
                    </a:lnTo>
                    <a:lnTo>
                      <a:pt x="19208" y="20091"/>
                    </a:lnTo>
                    <a:lnTo>
                      <a:pt x="19208" y="19959"/>
                    </a:lnTo>
                    <a:lnTo>
                      <a:pt x="19000" y="19959"/>
                    </a:lnTo>
                    <a:lnTo>
                      <a:pt x="19000" y="19800"/>
                    </a:lnTo>
                    <a:lnTo>
                      <a:pt x="18826" y="19641"/>
                    </a:lnTo>
                    <a:lnTo>
                      <a:pt x="19000" y="19641"/>
                    </a:lnTo>
                    <a:lnTo>
                      <a:pt x="18826" y="19641"/>
                    </a:lnTo>
                    <a:lnTo>
                      <a:pt x="19000" y="19482"/>
                    </a:lnTo>
                    <a:lnTo>
                      <a:pt x="19208" y="19482"/>
                    </a:lnTo>
                    <a:lnTo>
                      <a:pt x="19208" y="19350"/>
                    </a:lnTo>
                    <a:lnTo>
                      <a:pt x="19000" y="19350"/>
                    </a:lnTo>
                    <a:lnTo>
                      <a:pt x="19208" y="19350"/>
                    </a:lnTo>
                    <a:lnTo>
                      <a:pt x="19208" y="19191"/>
                    </a:lnTo>
                    <a:lnTo>
                      <a:pt x="19416" y="19191"/>
                    </a:lnTo>
                    <a:lnTo>
                      <a:pt x="19416" y="19350"/>
                    </a:lnTo>
                    <a:lnTo>
                      <a:pt x="19416" y="19191"/>
                    </a:lnTo>
                    <a:lnTo>
                      <a:pt x="19416" y="19350"/>
                    </a:lnTo>
                    <a:lnTo>
                      <a:pt x="19797" y="19350"/>
                    </a:lnTo>
                    <a:lnTo>
                      <a:pt x="19797" y="19191"/>
                    </a:lnTo>
                    <a:lnTo>
                      <a:pt x="19589" y="19191"/>
                    </a:lnTo>
                    <a:lnTo>
                      <a:pt x="19589" y="18582"/>
                    </a:lnTo>
                    <a:lnTo>
                      <a:pt x="19416" y="18424"/>
                    </a:lnTo>
                    <a:lnTo>
                      <a:pt x="19416" y="18582"/>
                    </a:lnTo>
                    <a:lnTo>
                      <a:pt x="19416" y="18424"/>
                    </a:lnTo>
                    <a:lnTo>
                      <a:pt x="18618" y="18424"/>
                    </a:lnTo>
                    <a:lnTo>
                      <a:pt x="18618" y="18291"/>
                    </a:lnTo>
                    <a:lnTo>
                      <a:pt x="18410" y="18291"/>
                    </a:lnTo>
                    <a:lnTo>
                      <a:pt x="18618" y="18291"/>
                    </a:lnTo>
                    <a:lnTo>
                      <a:pt x="18410" y="18291"/>
                    </a:lnTo>
                    <a:lnTo>
                      <a:pt x="18410" y="17974"/>
                    </a:lnTo>
                    <a:lnTo>
                      <a:pt x="18202" y="17974"/>
                    </a:lnTo>
                    <a:lnTo>
                      <a:pt x="18410" y="17841"/>
                    </a:lnTo>
                    <a:lnTo>
                      <a:pt x="18410" y="17682"/>
                    </a:lnTo>
                    <a:lnTo>
                      <a:pt x="18202" y="17682"/>
                    </a:lnTo>
                    <a:lnTo>
                      <a:pt x="18202" y="17524"/>
                    </a:lnTo>
                    <a:lnTo>
                      <a:pt x="18410" y="17365"/>
                    </a:lnTo>
                    <a:lnTo>
                      <a:pt x="18202" y="17365"/>
                    </a:lnTo>
                    <a:lnTo>
                      <a:pt x="18202" y="17232"/>
                    </a:lnTo>
                    <a:lnTo>
                      <a:pt x="18410" y="17232"/>
                    </a:lnTo>
                    <a:lnTo>
                      <a:pt x="18202" y="17232"/>
                    </a:lnTo>
                    <a:lnTo>
                      <a:pt x="18410" y="17232"/>
                    </a:lnTo>
                    <a:lnTo>
                      <a:pt x="18410" y="17074"/>
                    </a:lnTo>
                    <a:lnTo>
                      <a:pt x="18202" y="17074"/>
                    </a:lnTo>
                    <a:lnTo>
                      <a:pt x="18410" y="17074"/>
                    </a:lnTo>
                    <a:lnTo>
                      <a:pt x="18410" y="16915"/>
                    </a:lnTo>
                    <a:lnTo>
                      <a:pt x="18618" y="16915"/>
                    </a:lnTo>
                    <a:lnTo>
                      <a:pt x="18618" y="16782"/>
                    </a:lnTo>
                    <a:lnTo>
                      <a:pt x="18826" y="16782"/>
                    </a:lnTo>
                    <a:lnTo>
                      <a:pt x="18618" y="16782"/>
                    </a:lnTo>
                    <a:lnTo>
                      <a:pt x="18618" y="16465"/>
                    </a:lnTo>
                    <a:lnTo>
                      <a:pt x="18410" y="16465"/>
                    </a:lnTo>
                    <a:lnTo>
                      <a:pt x="18618" y="16465"/>
                    </a:lnTo>
                    <a:lnTo>
                      <a:pt x="18618" y="16332"/>
                    </a:lnTo>
                    <a:lnTo>
                      <a:pt x="19000" y="16332"/>
                    </a:lnTo>
                    <a:lnTo>
                      <a:pt x="19000" y="16015"/>
                    </a:lnTo>
                    <a:lnTo>
                      <a:pt x="19208" y="16015"/>
                    </a:lnTo>
                    <a:lnTo>
                      <a:pt x="19416" y="15856"/>
                    </a:lnTo>
                    <a:lnTo>
                      <a:pt x="19589" y="15856"/>
                    </a:lnTo>
                    <a:lnTo>
                      <a:pt x="19589" y="15724"/>
                    </a:lnTo>
                    <a:lnTo>
                      <a:pt x="19797" y="15724"/>
                    </a:lnTo>
                    <a:lnTo>
                      <a:pt x="19589" y="15724"/>
                    </a:lnTo>
                    <a:lnTo>
                      <a:pt x="19589" y="15406"/>
                    </a:lnTo>
                    <a:lnTo>
                      <a:pt x="19797" y="15274"/>
                    </a:lnTo>
                    <a:lnTo>
                      <a:pt x="19797" y="15115"/>
                    </a:lnTo>
                    <a:lnTo>
                      <a:pt x="20005" y="15115"/>
                    </a:lnTo>
                    <a:lnTo>
                      <a:pt x="20213" y="14956"/>
                    </a:lnTo>
                    <a:lnTo>
                      <a:pt x="20005" y="14956"/>
                    </a:lnTo>
                    <a:lnTo>
                      <a:pt x="20005" y="14797"/>
                    </a:lnTo>
                    <a:lnTo>
                      <a:pt x="20213" y="14797"/>
                    </a:lnTo>
                    <a:lnTo>
                      <a:pt x="20005" y="14797"/>
                    </a:lnTo>
                    <a:lnTo>
                      <a:pt x="20213" y="14665"/>
                    </a:lnTo>
                    <a:lnTo>
                      <a:pt x="20005" y="14665"/>
                    </a:lnTo>
                    <a:lnTo>
                      <a:pt x="20005" y="14506"/>
                    </a:lnTo>
                    <a:lnTo>
                      <a:pt x="20213" y="14506"/>
                    </a:lnTo>
                    <a:lnTo>
                      <a:pt x="20213" y="14347"/>
                    </a:lnTo>
                    <a:lnTo>
                      <a:pt x="20005" y="14347"/>
                    </a:lnTo>
                    <a:lnTo>
                      <a:pt x="20213" y="14347"/>
                    </a:lnTo>
                    <a:lnTo>
                      <a:pt x="20213" y="14215"/>
                    </a:lnTo>
                    <a:lnTo>
                      <a:pt x="20387" y="14215"/>
                    </a:lnTo>
                    <a:lnTo>
                      <a:pt x="20387" y="13897"/>
                    </a:lnTo>
                    <a:lnTo>
                      <a:pt x="20213" y="13897"/>
                    </a:lnTo>
                    <a:lnTo>
                      <a:pt x="20213" y="13738"/>
                    </a:lnTo>
                    <a:lnTo>
                      <a:pt x="20005" y="13738"/>
                    </a:lnTo>
                    <a:lnTo>
                      <a:pt x="20005" y="13447"/>
                    </a:lnTo>
                    <a:lnTo>
                      <a:pt x="19589" y="13447"/>
                    </a:lnTo>
                    <a:lnTo>
                      <a:pt x="19589" y="13156"/>
                    </a:lnTo>
                    <a:lnTo>
                      <a:pt x="19416" y="13156"/>
                    </a:lnTo>
                    <a:lnTo>
                      <a:pt x="19416" y="12997"/>
                    </a:lnTo>
                    <a:lnTo>
                      <a:pt x="19797" y="12997"/>
                    </a:lnTo>
                    <a:lnTo>
                      <a:pt x="19797" y="12706"/>
                    </a:lnTo>
                    <a:lnTo>
                      <a:pt x="19589" y="12706"/>
                    </a:lnTo>
                    <a:lnTo>
                      <a:pt x="19589" y="12547"/>
                    </a:lnTo>
                    <a:lnTo>
                      <a:pt x="20005" y="12547"/>
                    </a:lnTo>
                    <a:lnTo>
                      <a:pt x="20005" y="12388"/>
                    </a:lnTo>
                    <a:lnTo>
                      <a:pt x="19797" y="12388"/>
                    </a:lnTo>
                    <a:lnTo>
                      <a:pt x="19797" y="11647"/>
                    </a:lnTo>
                    <a:lnTo>
                      <a:pt x="20005" y="11647"/>
                    </a:lnTo>
                    <a:lnTo>
                      <a:pt x="20005" y="11488"/>
                    </a:lnTo>
                    <a:lnTo>
                      <a:pt x="19797" y="11488"/>
                    </a:lnTo>
                    <a:lnTo>
                      <a:pt x="19797" y="11171"/>
                    </a:lnTo>
                    <a:lnTo>
                      <a:pt x="20005" y="11171"/>
                    </a:lnTo>
                    <a:lnTo>
                      <a:pt x="20005" y="11329"/>
                    </a:lnTo>
                    <a:lnTo>
                      <a:pt x="20005" y="11171"/>
                    </a:lnTo>
                    <a:lnTo>
                      <a:pt x="20005" y="11329"/>
                    </a:lnTo>
                    <a:lnTo>
                      <a:pt x="20387" y="11329"/>
                    </a:lnTo>
                    <a:lnTo>
                      <a:pt x="20387" y="11171"/>
                    </a:lnTo>
                    <a:lnTo>
                      <a:pt x="20595" y="11171"/>
                    </a:lnTo>
                    <a:lnTo>
                      <a:pt x="20595" y="11329"/>
                    </a:lnTo>
                    <a:lnTo>
                      <a:pt x="20803" y="11329"/>
                    </a:lnTo>
                    <a:lnTo>
                      <a:pt x="20803" y="11171"/>
                    </a:lnTo>
                    <a:lnTo>
                      <a:pt x="20976" y="11171"/>
                    </a:lnTo>
                    <a:lnTo>
                      <a:pt x="20976" y="11038"/>
                    </a:lnTo>
                    <a:lnTo>
                      <a:pt x="21184" y="11171"/>
                    </a:lnTo>
                    <a:lnTo>
                      <a:pt x="21184" y="11038"/>
                    </a:lnTo>
                    <a:lnTo>
                      <a:pt x="21600" y="11038"/>
                    </a:lnTo>
                    <a:lnTo>
                      <a:pt x="21600" y="1042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/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50" name="Shape 2976"/>
              <p:cNvSpPr/>
              <p:nvPr/>
            </p:nvSpPr>
            <p:spPr>
              <a:xfrm>
                <a:off x="12727939" y="4965664"/>
                <a:ext cx="478053" cy="72502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769" y="16437"/>
                    </a:moveTo>
                    <a:lnTo>
                      <a:pt x="13769" y="16222"/>
                    </a:lnTo>
                    <a:lnTo>
                      <a:pt x="13378" y="16222"/>
                    </a:lnTo>
                    <a:lnTo>
                      <a:pt x="13378" y="15963"/>
                    </a:lnTo>
                    <a:lnTo>
                      <a:pt x="13051" y="15705"/>
                    </a:lnTo>
                    <a:lnTo>
                      <a:pt x="12660" y="15705"/>
                    </a:lnTo>
                    <a:lnTo>
                      <a:pt x="12660" y="15490"/>
                    </a:lnTo>
                    <a:lnTo>
                      <a:pt x="12268" y="15490"/>
                    </a:lnTo>
                    <a:lnTo>
                      <a:pt x="11877" y="15232"/>
                    </a:lnTo>
                    <a:lnTo>
                      <a:pt x="11550" y="15232"/>
                    </a:lnTo>
                    <a:lnTo>
                      <a:pt x="11550" y="14500"/>
                    </a:lnTo>
                    <a:lnTo>
                      <a:pt x="11159" y="14500"/>
                    </a:lnTo>
                    <a:lnTo>
                      <a:pt x="11159" y="13511"/>
                    </a:lnTo>
                    <a:lnTo>
                      <a:pt x="10767" y="13511"/>
                    </a:lnTo>
                    <a:lnTo>
                      <a:pt x="10767" y="13253"/>
                    </a:lnTo>
                    <a:lnTo>
                      <a:pt x="10441" y="13037"/>
                    </a:lnTo>
                    <a:lnTo>
                      <a:pt x="10441" y="12521"/>
                    </a:lnTo>
                    <a:lnTo>
                      <a:pt x="10050" y="12521"/>
                    </a:lnTo>
                    <a:lnTo>
                      <a:pt x="10050" y="12048"/>
                    </a:lnTo>
                    <a:lnTo>
                      <a:pt x="9658" y="12048"/>
                    </a:lnTo>
                    <a:lnTo>
                      <a:pt x="9658" y="11790"/>
                    </a:lnTo>
                    <a:lnTo>
                      <a:pt x="9266" y="11790"/>
                    </a:lnTo>
                    <a:lnTo>
                      <a:pt x="9266" y="11316"/>
                    </a:lnTo>
                    <a:lnTo>
                      <a:pt x="8940" y="11316"/>
                    </a:lnTo>
                    <a:lnTo>
                      <a:pt x="8940" y="11058"/>
                    </a:lnTo>
                    <a:lnTo>
                      <a:pt x="8549" y="10800"/>
                    </a:lnTo>
                    <a:lnTo>
                      <a:pt x="8549" y="10542"/>
                    </a:lnTo>
                    <a:lnTo>
                      <a:pt x="8157" y="10542"/>
                    </a:lnTo>
                    <a:lnTo>
                      <a:pt x="7831" y="10327"/>
                    </a:lnTo>
                    <a:lnTo>
                      <a:pt x="7831" y="9810"/>
                    </a:lnTo>
                    <a:lnTo>
                      <a:pt x="7439" y="9810"/>
                    </a:lnTo>
                    <a:lnTo>
                      <a:pt x="7439" y="8821"/>
                    </a:lnTo>
                    <a:lnTo>
                      <a:pt x="7048" y="8821"/>
                    </a:lnTo>
                    <a:lnTo>
                      <a:pt x="7048" y="8606"/>
                    </a:lnTo>
                    <a:lnTo>
                      <a:pt x="6656" y="8606"/>
                    </a:lnTo>
                    <a:lnTo>
                      <a:pt x="6656" y="8347"/>
                    </a:lnTo>
                    <a:lnTo>
                      <a:pt x="6330" y="8347"/>
                    </a:lnTo>
                    <a:lnTo>
                      <a:pt x="6330" y="8089"/>
                    </a:lnTo>
                    <a:lnTo>
                      <a:pt x="5938" y="8089"/>
                    </a:lnTo>
                    <a:lnTo>
                      <a:pt x="5938" y="7874"/>
                    </a:lnTo>
                    <a:lnTo>
                      <a:pt x="5221" y="7874"/>
                    </a:lnTo>
                    <a:lnTo>
                      <a:pt x="4829" y="7616"/>
                    </a:lnTo>
                    <a:lnTo>
                      <a:pt x="4437" y="7874"/>
                    </a:lnTo>
                    <a:lnTo>
                      <a:pt x="4437" y="7616"/>
                    </a:lnTo>
                    <a:lnTo>
                      <a:pt x="4829" y="7616"/>
                    </a:lnTo>
                    <a:lnTo>
                      <a:pt x="4829" y="7358"/>
                    </a:lnTo>
                    <a:lnTo>
                      <a:pt x="4046" y="7358"/>
                    </a:lnTo>
                    <a:lnTo>
                      <a:pt x="4046" y="7143"/>
                    </a:lnTo>
                    <a:lnTo>
                      <a:pt x="3720" y="7143"/>
                    </a:lnTo>
                    <a:lnTo>
                      <a:pt x="3720" y="6884"/>
                    </a:lnTo>
                    <a:lnTo>
                      <a:pt x="3328" y="6884"/>
                    </a:lnTo>
                    <a:lnTo>
                      <a:pt x="3328" y="6368"/>
                    </a:lnTo>
                    <a:lnTo>
                      <a:pt x="2937" y="6368"/>
                    </a:lnTo>
                    <a:lnTo>
                      <a:pt x="2937" y="5422"/>
                    </a:lnTo>
                    <a:lnTo>
                      <a:pt x="2610" y="5422"/>
                    </a:lnTo>
                    <a:lnTo>
                      <a:pt x="2610" y="4905"/>
                    </a:lnTo>
                    <a:lnTo>
                      <a:pt x="2219" y="4647"/>
                    </a:lnTo>
                    <a:lnTo>
                      <a:pt x="2219" y="4174"/>
                    </a:lnTo>
                    <a:lnTo>
                      <a:pt x="1827" y="4174"/>
                    </a:lnTo>
                    <a:lnTo>
                      <a:pt x="1827" y="3916"/>
                    </a:lnTo>
                    <a:lnTo>
                      <a:pt x="1436" y="3916"/>
                    </a:lnTo>
                    <a:lnTo>
                      <a:pt x="1436" y="3700"/>
                    </a:lnTo>
                    <a:lnTo>
                      <a:pt x="1109" y="3700"/>
                    </a:lnTo>
                    <a:lnTo>
                      <a:pt x="1109" y="3442"/>
                    </a:lnTo>
                    <a:lnTo>
                      <a:pt x="718" y="3442"/>
                    </a:lnTo>
                    <a:lnTo>
                      <a:pt x="1109" y="3442"/>
                    </a:lnTo>
                    <a:lnTo>
                      <a:pt x="1109" y="2926"/>
                    </a:lnTo>
                    <a:lnTo>
                      <a:pt x="1436" y="2926"/>
                    </a:lnTo>
                    <a:lnTo>
                      <a:pt x="1436" y="2711"/>
                    </a:lnTo>
                    <a:lnTo>
                      <a:pt x="1827" y="2711"/>
                    </a:lnTo>
                    <a:lnTo>
                      <a:pt x="1436" y="2711"/>
                    </a:lnTo>
                    <a:lnTo>
                      <a:pt x="1827" y="2711"/>
                    </a:lnTo>
                    <a:lnTo>
                      <a:pt x="1827" y="2926"/>
                    </a:lnTo>
                    <a:lnTo>
                      <a:pt x="2610" y="2926"/>
                    </a:lnTo>
                    <a:lnTo>
                      <a:pt x="2610" y="2194"/>
                    </a:lnTo>
                    <a:lnTo>
                      <a:pt x="2219" y="2194"/>
                    </a:lnTo>
                    <a:lnTo>
                      <a:pt x="2219" y="2453"/>
                    </a:lnTo>
                    <a:lnTo>
                      <a:pt x="2219" y="2194"/>
                    </a:lnTo>
                    <a:lnTo>
                      <a:pt x="1827" y="2194"/>
                    </a:lnTo>
                    <a:lnTo>
                      <a:pt x="1827" y="1979"/>
                    </a:lnTo>
                    <a:lnTo>
                      <a:pt x="2610" y="1979"/>
                    </a:lnTo>
                    <a:lnTo>
                      <a:pt x="2610" y="1721"/>
                    </a:lnTo>
                    <a:lnTo>
                      <a:pt x="2219" y="1463"/>
                    </a:lnTo>
                    <a:lnTo>
                      <a:pt x="2219" y="1979"/>
                    </a:lnTo>
                    <a:lnTo>
                      <a:pt x="1827" y="1721"/>
                    </a:lnTo>
                    <a:lnTo>
                      <a:pt x="1827" y="1205"/>
                    </a:lnTo>
                    <a:lnTo>
                      <a:pt x="1436" y="1205"/>
                    </a:lnTo>
                    <a:lnTo>
                      <a:pt x="1436" y="990"/>
                    </a:lnTo>
                    <a:lnTo>
                      <a:pt x="718" y="990"/>
                    </a:lnTo>
                    <a:lnTo>
                      <a:pt x="326" y="731"/>
                    </a:lnTo>
                    <a:lnTo>
                      <a:pt x="0" y="731"/>
                    </a:lnTo>
                    <a:lnTo>
                      <a:pt x="326" y="731"/>
                    </a:lnTo>
                    <a:lnTo>
                      <a:pt x="326" y="473"/>
                    </a:lnTo>
                    <a:lnTo>
                      <a:pt x="718" y="473"/>
                    </a:lnTo>
                    <a:lnTo>
                      <a:pt x="718" y="0"/>
                    </a:lnTo>
                    <a:lnTo>
                      <a:pt x="1109" y="0"/>
                    </a:lnTo>
                    <a:lnTo>
                      <a:pt x="1109" y="258"/>
                    </a:lnTo>
                    <a:lnTo>
                      <a:pt x="1436" y="258"/>
                    </a:lnTo>
                    <a:lnTo>
                      <a:pt x="1436" y="473"/>
                    </a:lnTo>
                    <a:lnTo>
                      <a:pt x="2219" y="473"/>
                    </a:lnTo>
                    <a:lnTo>
                      <a:pt x="2219" y="1205"/>
                    </a:lnTo>
                    <a:lnTo>
                      <a:pt x="2610" y="1205"/>
                    </a:lnTo>
                    <a:lnTo>
                      <a:pt x="2610" y="1463"/>
                    </a:lnTo>
                    <a:lnTo>
                      <a:pt x="2937" y="1463"/>
                    </a:lnTo>
                    <a:lnTo>
                      <a:pt x="2937" y="1721"/>
                    </a:lnTo>
                    <a:lnTo>
                      <a:pt x="3328" y="1721"/>
                    </a:lnTo>
                    <a:lnTo>
                      <a:pt x="3328" y="1979"/>
                    </a:lnTo>
                    <a:lnTo>
                      <a:pt x="3720" y="1979"/>
                    </a:lnTo>
                    <a:lnTo>
                      <a:pt x="3720" y="2194"/>
                    </a:lnTo>
                    <a:lnTo>
                      <a:pt x="4046" y="1979"/>
                    </a:lnTo>
                    <a:lnTo>
                      <a:pt x="4046" y="2194"/>
                    </a:lnTo>
                    <a:lnTo>
                      <a:pt x="4437" y="2194"/>
                    </a:lnTo>
                    <a:lnTo>
                      <a:pt x="4437" y="2453"/>
                    </a:lnTo>
                    <a:lnTo>
                      <a:pt x="4829" y="2453"/>
                    </a:lnTo>
                    <a:lnTo>
                      <a:pt x="4829" y="2711"/>
                    </a:lnTo>
                    <a:lnTo>
                      <a:pt x="5221" y="2926"/>
                    </a:lnTo>
                    <a:lnTo>
                      <a:pt x="5547" y="3184"/>
                    </a:lnTo>
                    <a:lnTo>
                      <a:pt x="5547" y="3442"/>
                    </a:lnTo>
                    <a:lnTo>
                      <a:pt x="5938" y="3442"/>
                    </a:lnTo>
                    <a:lnTo>
                      <a:pt x="5938" y="3700"/>
                    </a:lnTo>
                    <a:lnTo>
                      <a:pt x="6330" y="3916"/>
                    </a:lnTo>
                    <a:lnTo>
                      <a:pt x="6330" y="4174"/>
                    </a:lnTo>
                    <a:lnTo>
                      <a:pt x="6656" y="4174"/>
                    </a:lnTo>
                    <a:lnTo>
                      <a:pt x="6656" y="5422"/>
                    </a:lnTo>
                    <a:lnTo>
                      <a:pt x="7048" y="5422"/>
                    </a:lnTo>
                    <a:lnTo>
                      <a:pt x="7048" y="5637"/>
                    </a:lnTo>
                    <a:lnTo>
                      <a:pt x="7439" y="5637"/>
                    </a:lnTo>
                    <a:lnTo>
                      <a:pt x="7048" y="5637"/>
                    </a:lnTo>
                    <a:lnTo>
                      <a:pt x="7048" y="5422"/>
                    </a:lnTo>
                    <a:lnTo>
                      <a:pt x="6656" y="5422"/>
                    </a:lnTo>
                    <a:lnTo>
                      <a:pt x="7048" y="5422"/>
                    </a:lnTo>
                    <a:lnTo>
                      <a:pt x="7048" y="5637"/>
                    </a:lnTo>
                    <a:lnTo>
                      <a:pt x="7439" y="5637"/>
                    </a:lnTo>
                    <a:lnTo>
                      <a:pt x="7439" y="6153"/>
                    </a:lnTo>
                    <a:lnTo>
                      <a:pt x="7831" y="6153"/>
                    </a:lnTo>
                    <a:lnTo>
                      <a:pt x="7831" y="5895"/>
                    </a:lnTo>
                    <a:lnTo>
                      <a:pt x="7831" y="6153"/>
                    </a:lnTo>
                    <a:lnTo>
                      <a:pt x="8157" y="6153"/>
                    </a:lnTo>
                    <a:lnTo>
                      <a:pt x="8157" y="6368"/>
                    </a:lnTo>
                    <a:lnTo>
                      <a:pt x="8940" y="6368"/>
                    </a:lnTo>
                    <a:lnTo>
                      <a:pt x="9266" y="6626"/>
                    </a:lnTo>
                    <a:lnTo>
                      <a:pt x="9266" y="6884"/>
                    </a:lnTo>
                    <a:lnTo>
                      <a:pt x="9658" y="6884"/>
                    </a:lnTo>
                    <a:lnTo>
                      <a:pt x="9658" y="7143"/>
                    </a:lnTo>
                    <a:lnTo>
                      <a:pt x="9266" y="7143"/>
                    </a:lnTo>
                    <a:lnTo>
                      <a:pt x="9658" y="7143"/>
                    </a:lnTo>
                    <a:lnTo>
                      <a:pt x="9658" y="7358"/>
                    </a:lnTo>
                    <a:lnTo>
                      <a:pt x="10050" y="7358"/>
                    </a:lnTo>
                    <a:lnTo>
                      <a:pt x="10441" y="7616"/>
                    </a:lnTo>
                    <a:lnTo>
                      <a:pt x="10767" y="7874"/>
                    </a:lnTo>
                    <a:lnTo>
                      <a:pt x="10767" y="8089"/>
                    </a:lnTo>
                    <a:lnTo>
                      <a:pt x="11550" y="8089"/>
                    </a:lnTo>
                    <a:lnTo>
                      <a:pt x="11550" y="8606"/>
                    </a:lnTo>
                    <a:lnTo>
                      <a:pt x="11877" y="8606"/>
                    </a:lnTo>
                    <a:lnTo>
                      <a:pt x="11877" y="8821"/>
                    </a:lnTo>
                    <a:lnTo>
                      <a:pt x="12268" y="8821"/>
                    </a:lnTo>
                    <a:lnTo>
                      <a:pt x="12268" y="9079"/>
                    </a:lnTo>
                    <a:lnTo>
                      <a:pt x="12660" y="9079"/>
                    </a:lnTo>
                    <a:lnTo>
                      <a:pt x="12660" y="9337"/>
                    </a:lnTo>
                    <a:lnTo>
                      <a:pt x="13051" y="9337"/>
                    </a:lnTo>
                    <a:lnTo>
                      <a:pt x="13051" y="9595"/>
                    </a:lnTo>
                    <a:lnTo>
                      <a:pt x="13378" y="9595"/>
                    </a:lnTo>
                    <a:lnTo>
                      <a:pt x="13378" y="9810"/>
                    </a:lnTo>
                    <a:lnTo>
                      <a:pt x="14161" y="9810"/>
                    </a:lnTo>
                    <a:lnTo>
                      <a:pt x="14161" y="10069"/>
                    </a:lnTo>
                    <a:lnTo>
                      <a:pt x="14487" y="10327"/>
                    </a:lnTo>
                    <a:lnTo>
                      <a:pt x="14879" y="10327"/>
                    </a:lnTo>
                    <a:lnTo>
                      <a:pt x="14879" y="10542"/>
                    </a:lnTo>
                    <a:lnTo>
                      <a:pt x="15270" y="10542"/>
                    </a:lnTo>
                    <a:lnTo>
                      <a:pt x="15270" y="10800"/>
                    </a:lnTo>
                    <a:lnTo>
                      <a:pt x="15662" y="10800"/>
                    </a:lnTo>
                    <a:lnTo>
                      <a:pt x="15662" y="11058"/>
                    </a:lnTo>
                    <a:lnTo>
                      <a:pt x="15988" y="11058"/>
                    </a:lnTo>
                    <a:lnTo>
                      <a:pt x="15988" y="11316"/>
                    </a:lnTo>
                    <a:lnTo>
                      <a:pt x="16379" y="11316"/>
                    </a:lnTo>
                    <a:lnTo>
                      <a:pt x="16379" y="11531"/>
                    </a:lnTo>
                    <a:lnTo>
                      <a:pt x="16771" y="11531"/>
                    </a:lnTo>
                    <a:lnTo>
                      <a:pt x="16771" y="11790"/>
                    </a:lnTo>
                    <a:lnTo>
                      <a:pt x="18272" y="11790"/>
                    </a:lnTo>
                    <a:lnTo>
                      <a:pt x="18272" y="12263"/>
                    </a:lnTo>
                    <a:lnTo>
                      <a:pt x="18598" y="12263"/>
                    </a:lnTo>
                    <a:lnTo>
                      <a:pt x="18598" y="12521"/>
                    </a:lnTo>
                    <a:lnTo>
                      <a:pt x="18598" y="12263"/>
                    </a:lnTo>
                    <a:lnTo>
                      <a:pt x="18272" y="12263"/>
                    </a:lnTo>
                    <a:lnTo>
                      <a:pt x="18272" y="12048"/>
                    </a:lnTo>
                    <a:lnTo>
                      <a:pt x="17489" y="12048"/>
                    </a:lnTo>
                    <a:lnTo>
                      <a:pt x="17489" y="11790"/>
                    </a:lnTo>
                    <a:lnTo>
                      <a:pt x="16379" y="11790"/>
                    </a:lnTo>
                    <a:lnTo>
                      <a:pt x="16379" y="11531"/>
                    </a:lnTo>
                    <a:lnTo>
                      <a:pt x="15270" y="11531"/>
                    </a:lnTo>
                    <a:lnTo>
                      <a:pt x="15270" y="11790"/>
                    </a:lnTo>
                    <a:lnTo>
                      <a:pt x="14487" y="11790"/>
                    </a:lnTo>
                    <a:lnTo>
                      <a:pt x="14487" y="12048"/>
                    </a:lnTo>
                    <a:lnTo>
                      <a:pt x="14161" y="12048"/>
                    </a:lnTo>
                    <a:lnTo>
                      <a:pt x="13769" y="12263"/>
                    </a:lnTo>
                    <a:lnTo>
                      <a:pt x="13378" y="12521"/>
                    </a:lnTo>
                    <a:lnTo>
                      <a:pt x="13378" y="13253"/>
                    </a:lnTo>
                    <a:lnTo>
                      <a:pt x="13769" y="13253"/>
                    </a:lnTo>
                    <a:lnTo>
                      <a:pt x="13769" y="13984"/>
                    </a:lnTo>
                    <a:lnTo>
                      <a:pt x="14161" y="14242"/>
                    </a:lnTo>
                    <a:lnTo>
                      <a:pt x="14161" y="14974"/>
                    </a:lnTo>
                    <a:lnTo>
                      <a:pt x="14487" y="15232"/>
                    </a:lnTo>
                    <a:lnTo>
                      <a:pt x="14487" y="15963"/>
                    </a:lnTo>
                    <a:lnTo>
                      <a:pt x="14879" y="15963"/>
                    </a:lnTo>
                    <a:lnTo>
                      <a:pt x="14879" y="16437"/>
                    </a:lnTo>
                    <a:lnTo>
                      <a:pt x="15270" y="16437"/>
                    </a:lnTo>
                    <a:lnTo>
                      <a:pt x="15270" y="16953"/>
                    </a:lnTo>
                    <a:lnTo>
                      <a:pt x="15662" y="16953"/>
                    </a:lnTo>
                    <a:lnTo>
                      <a:pt x="15988" y="17211"/>
                    </a:lnTo>
                    <a:lnTo>
                      <a:pt x="16379" y="17211"/>
                    </a:lnTo>
                    <a:lnTo>
                      <a:pt x="16771" y="17426"/>
                    </a:lnTo>
                    <a:lnTo>
                      <a:pt x="16771" y="17211"/>
                    </a:lnTo>
                    <a:lnTo>
                      <a:pt x="17097" y="17211"/>
                    </a:lnTo>
                    <a:lnTo>
                      <a:pt x="17097" y="17426"/>
                    </a:lnTo>
                    <a:lnTo>
                      <a:pt x="17880" y="17426"/>
                    </a:lnTo>
                    <a:lnTo>
                      <a:pt x="17880" y="17943"/>
                    </a:lnTo>
                    <a:lnTo>
                      <a:pt x="18272" y="17943"/>
                    </a:lnTo>
                    <a:lnTo>
                      <a:pt x="18272" y="18158"/>
                    </a:lnTo>
                    <a:lnTo>
                      <a:pt x="18990" y="18158"/>
                    </a:lnTo>
                    <a:lnTo>
                      <a:pt x="18990" y="18416"/>
                    </a:lnTo>
                    <a:lnTo>
                      <a:pt x="19381" y="18416"/>
                    </a:lnTo>
                    <a:lnTo>
                      <a:pt x="19381" y="18158"/>
                    </a:lnTo>
                    <a:lnTo>
                      <a:pt x="19708" y="18158"/>
                    </a:lnTo>
                    <a:lnTo>
                      <a:pt x="19708" y="17943"/>
                    </a:lnTo>
                    <a:lnTo>
                      <a:pt x="19708" y="18158"/>
                    </a:lnTo>
                    <a:lnTo>
                      <a:pt x="20099" y="18158"/>
                    </a:lnTo>
                    <a:lnTo>
                      <a:pt x="20099" y="18416"/>
                    </a:lnTo>
                    <a:lnTo>
                      <a:pt x="20882" y="18932"/>
                    </a:lnTo>
                    <a:lnTo>
                      <a:pt x="21208" y="18932"/>
                    </a:lnTo>
                    <a:lnTo>
                      <a:pt x="21208" y="19879"/>
                    </a:lnTo>
                    <a:lnTo>
                      <a:pt x="21600" y="20137"/>
                    </a:lnTo>
                    <a:lnTo>
                      <a:pt x="21208" y="20137"/>
                    </a:lnTo>
                    <a:lnTo>
                      <a:pt x="21208" y="19664"/>
                    </a:lnTo>
                    <a:lnTo>
                      <a:pt x="20882" y="19664"/>
                    </a:lnTo>
                    <a:lnTo>
                      <a:pt x="20882" y="19406"/>
                    </a:lnTo>
                    <a:lnTo>
                      <a:pt x="20491" y="19406"/>
                    </a:lnTo>
                    <a:lnTo>
                      <a:pt x="20491" y="19147"/>
                    </a:lnTo>
                    <a:lnTo>
                      <a:pt x="20099" y="19147"/>
                    </a:lnTo>
                    <a:lnTo>
                      <a:pt x="20099" y="18932"/>
                    </a:lnTo>
                    <a:lnTo>
                      <a:pt x="19381" y="18932"/>
                    </a:lnTo>
                    <a:lnTo>
                      <a:pt x="19381" y="19147"/>
                    </a:lnTo>
                    <a:lnTo>
                      <a:pt x="18598" y="19147"/>
                    </a:lnTo>
                    <a:lnTo>
                      <a:pt x="18598" y="19406"/>
                    </a:lnTo>
                    <a:lnTo>
                      <a:pt x="18272" y="19406"/>
                    </a:lnTo>
                    <a:lnTo>
                      <a:pt x="18272" y="19147"/>
                    </a:lnTo>
                    <a:lnTo>
                      <a:pt x="17880" y="18932"/>
                    </a:lnTo>
                    <a:lnTo>
                      <a:pt x="17880" y="19147"/>
                    </a:lnTo>
                    <a:lnTo>
                      <a:pt x="17489" y="19147"/>
                    </a:lnTo>
                    <a:lnTo>
                      <a:pt x="17489" y="19879"/>
                    </a:lnTo>
                    <a:lnTo>
                      <a:pt x="17880" y="20137"/>
                    </a:lnTo>
                    <a:lnTo>
                      <a:pt x="17880" y="20869"/>
                    </a:lnTo>
                    <a:lnTo>
                      <a:pt x="18272" y="20869"/>
                    </a:lnTo>
                    <a:lnTo>
                      <a:pt x="18272" y="21600"/>
                    </a:lnTo>
                    <a:lnTo>
                      <a:pt x="17489" y="21600"/>
                    </a:lnTo>
                    <a:lnTo>
                      <a:pt x="17489" y="21385"/>
                    </a:lnTo>
                    <a:lnTo>
                      <a:pt x="17097" y="21385"/>
                    </a:lnTo>
                    <a:lnTo>
                      <a:pt x="17097" y="21127"/>
                    </a:lnTo>
                    <a:lnTo>
                      <a:pt x="16771" y="20869"/>
                    </a:lnTo>
                    <a:lnTo>
                      <a:pt x="16771" y="20653"/>
                    </a:lnTo>
                    <a:lnTo>
                      <a:pt x="16379" y="20653"/>
                    </a:lnTo>
                    <a:lnTo>
                      <a:pt x="15988" y="20395"/>
                    </a:lnTo>
                    <a:lnTo>
                      <a:pt x="15988" y="19664"/>
                    </a:lnTo>
                    <a:lnTo>
                      <a:pt x="15662" y="19664"/>
                    </a:lnTo>
                    <a:lnTo>
                      <a:pt x="15662" y="18674"/>
                    </a:lnTo>
                    <a:lnTo>
                      <a:pt x="15270" y="18674"/>
                    </a:lnTo>
                    <a:lnTo>
                      <a:pt x="15270" y="18416"/>
                    </a:lnTo>
                    <a:lnTo>
                      <a:pt x="14879" y="18416"/>
                    </a:lnTo>
                    <a:lnTo>
                      <a:pt x="14879" y="18158"/>
                    </a:lnTo>
                    <a:lnTo>
                      <a:pt x="14487" y="18158"/>
                    </a:lnTo>
                    <a:lnTo>
                      <a:pt x="14487" y="17943"/>
                    </a:lnTo>
                    <a:lnTo>
                      <a:pt x="14161" y="17684"/>
                    </a:lnTo>
                    <a:lnTo>
                      <a:pt x="14161" y="16437"/>
                    </a:lnTo>
                    <a:lnTo>
                      <a:pt x="13769" y="16437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51" name="Shape 2977"/>
              <p:cNvSpPr/>
              <p:nvPr/>
            </p:nvSpPr>
            <p:spPr>
              <a:xfrm>
                <a:off x="9078285" y="4949777"/>
                <a:ext cx="751018" cy="57626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780" y="2436"/>
                    </a:moveTo>
                    <a:lnTo>
                      <a:pt x="3572" y="2436"/>
                    </a:lnTo>
                    <a:lnTo>
                      <a:pt x="3780" y="2761"/>
                    </a:lnTo>
                    <a:lnTo>
                      <a:pt x="3572" y="3086"/>
                    </a:lnTo>
                    <a:lnTo>
                      <a:pt x="3572" y="4006"/>
                    </a:lnTo>
                    <a:lnTo>
                      <a:pt x="3323" y="4006"/>
                    </a:lnTo>
                    <a:lnTo>
                      <a:pt x="3323" y="4602"/>
                    </a:lnTo>
                    <a:lnTo>
                      <a:pt x="2617" y="4602"/>
                    </a:lnTo>
                    <a:lnTo>
                      <a:pt x="2118" y="4926"/>
                    </a:lnTo>
                    <a:lnTo>
                      <a:pt x="1911" y="5522"/>
                    </a:lnTo>
                    <a:lnTo>
                      <a:pt x="1412" y="5522"/>
                    </a:lnTo>
                    <a:lnTo>
                      <a:pt x="1412" y="6442"/>
                    </a:lnTo>
                    <a:lnTo>
                      <a:pt x="1205" y="6767"/>
                    </a:lnTo>
                    <a:lnTo>
                      <a:pt x="457" y="7417"/>
                    </a:lnTo>
                    <a:lnTo>
                      <a:pt x="457" y="7687"/>
                    </a:lnTo>
                    <a:lnTo>
                      <a:pt x="706" y="8337"/>
                    </a:lnTo>
                    <a:lnTo>
                      <a:pt x="0" y="8608"/>
                    </a:lnTo>
                    <a:lnTo>
                      <a:pt x="249" y="9257"/>
                    </a:lnTo>
                    <a:lnTo>
                      <a:pt x="0" y="9257"/>
                    </a:lnTo>
                    <a:lnTo>
                      <a:pt x="706" y="10177"/>
                    </a:lnTo>
                    <a:lnTo>
                      <a:pt x="457" y="10502"/>
                    </a:lnTo>
                    <a:lnTo>
                      <a:pt x="457" y="11423"/>
                    </a:lnTo>
                    <a:lnTo>
                      <a:pt x="706" y="11423"/>
                    </a:lnTo>
                    <a:lnTo>
                      <a:pt x="706" y="12343"/>
                    </a:lnTo>
                    <a:lnTo>
                      <a:pt x="955" y="12343"/>
                    </a:lnTo>
                    <a:lnTo>
                      <a:pt x="955" y="12938"/>
                    </a:lnTo>
                    <a:lnTo>
                      <a:pt x="1911" y="13263"/>
                    </a:lnTo>
                    <a:lnTo>
                      <a:pt x="2118" y="13588"/>
                    </a:lnTo>
                    <a:lnTo>
                      <a:pt x="3780" y="14183"/>
                    </a:lnTo>
                    <a:lnTo>
                      <a:pt x="4528" y="14183"/>
                    </a:lnTo>
                    <a:lnTo>
                      <a:pt x="4528" y="14508"/>
                    </a:lnTo>
                    <a:lnTo>
                      <a:pt x="6189" y="15429"/>
                    </a:lnTo>
                    <a:lnTo>
                      <a:pt x="6895" y="17594"/>
                    </a:lnTo>
                    <a:lnTo>
                      <a:pt x="8557" y="17594"/>
                    </a:lnTo>
                    <a:lnTo>
                      <a:pt x="9014" y="18839"/>
                    </a:lnTo>
                    <a:lnTo>
                      <a:pt x="9720" y="18514"/>
                    </a:lnTo>
                    <a:lnTo>
                      <a:pt x="10925" y="18514"/>
                    </a:lnTo>
                    <a:lnTo>
                      <a:pt x="10925" y="18189"/>
                    </a:lnTo>
                    <a:lnTo>
                      <a:pt x="11382" y="18189"/>
                    </a:lnTo>
                    <a:lnTo>
                      <a:pt x="11631" y="18514"/>
                    </a:lnTo>
                    <a:lnTo>
                      <a:pt x="11382" y="18839"/>
                    </a:lnTo>
                    <a:lnTo>
                      <a:pt x="11631" y="18839"/>
                    </a:lnTo>
                    <a:lnTo>
                      <a:pt x="11382" y="19164"/>
                    </a:lnTo>
                    <a:lnTo>
                      <a:pt x="11382" y="19435"/>
                    </a:lnTo>
                    <a:lnTo>
                      <a:pt x="11382" y="19164"/>
                    </a:lnTo>
                    <a:lnTo>
                      <a:pt x="11631" y="19435"/>
                    </a:lnTo>
                    <a:lnTo>
                      <a:pt x="11382" y="19435"/>
                    </a:lnTo>
                    <a:lnTo>
                      <a:pt x="11382" y="19759"/>
                    </a:lnTo>
                    <a:lnTo>
                      <a:pt x="11631" y="19759"/>
                    </a:lnTo>
                    <a:lnTo>
                      <a:pt x="11631" y="20084"/>
                    </a:lnTo>
                    <a:lnTo>
                      <a:pt x="11382" y="20084"/>
                    </a:lnTo>
                    <a:lnTo>
                      <a:pt x="11631" y="20355"/>
                    </a:lnTo>
                    <a:lnTo>
                      <a:pt x="11631" y="20680"/>
                    </a:lnTo>
                    <a:lnTo>
                      <a:pt x="11174" y="21275"/>
                    </a:lnTo>
                    <a:lnTo>
                      <a:pt x="11631" y="21275"/>
                    </a:lnTo>
                    <a:lnTo>
                      <a:pt x="11631" y="21600"/>
                    </a:lnTo>
                    <a:lnTo>
                      <a:pt x="11880" y="21275"/>
                    </a:lnTo>
                    <a:lnTo>
                      <a:pt x="11880" y="21600"/>
                    </a:lnTo>
                    <a:lnTo>
                      <a:pt x="11880" y="21275"/>
                    </a:lnTo>
                    <a:lnTo>
                      <a:pt x="12088" y="21275"/>
                    </a:lnTo>
                    <a:lnTo>
                      <a:pt x="12088" y="21005"/>
                    </a:lnTo>
                    <a:lnTo>
                      <a:pt x="12337" y="21005"/>
                    </a:lnTo>
                    <a:lnTo>
                      <a:pt x="12337" y="20355"/>
                    </a:lnTo>
                    <a:lnTo>
                      <a:pt x="12586" y="20680"/>
                    </a:lnTo>
                    <a:lnTo>
                      <a:pt x="12586" y="20355"/>
                    </a:lnTo>
                    <a:lnTo>
                      <a:pt x="13043" y="20355"/>
                    </a:lnTo>
                    <a:lnTo>
                      <a:pt x="13292" y="20680"/>
                    </a:lnTo>
                    <a:lnTo>
                      <a:pt x="13292" y="20355"/>
                    </a:lnTo>
                    <a:lnTo>
                      <a:pt x="13749" y="20355"/>
                    </a:lnTo>
                    <a:lnTo>
                      <a:pt x="13749" y="20084"/>
                    </a:lnTo>
                    <a:lnTo>
                      <a:pt x="14497" y="20084"/>
                    </a:lnTo>
                    <a:lnTo>
                      <a:pt x="14497" y="19759"/>
                    </a:lnTo>
                    <a:lnTo>
                      <a:pt x="14705" y="20084"/>
                    </a:lnTo>
                    <a:lnTo>
                      <a:pt x="14705" y="19759"/>
                    </a:lnTo>
                    <a:lnTo>
                      <a:pt x="14954" y="19759"/>
                    </a:lnTo>
                    <a:lnTo>
                      <a:pt x="14954" y="20084"/>
                    </a:lnTo>
                    <a:lnTo>
                      <a:pt x="15452" y="20084"/>
                    </a:lnTo>
                    <a:lnTo>
                      <a:pt x="15452" y="19759"/>
                    </a:lnTo>
                    <a:lnTo>
                      <a:pt x="15203" y="19759"/>
                    </a:lnTo>
                    <a:lnTo>
                      <a:pt x="15660" y="19435"/>
                    </a:lnTo>
                    <a:lnTo>
                      <a:pt x="15660" y="19164"/>
                    </a:lnTo>
                    <a:lnTo>
                      <a:pt x="16158" y="19164"/>
                    </a:lnTo>
                    <a:lnTo>
                      <a:pt x="16158" y="18839"/>
                    </a:lnTo>
                    <a:lnTo>
                      <a:pt x="16366" y="18839"/>
                    </a:lnTo>
                    <a:lnTo>
                      <a:pt x="16366" y="18514"/>
                    </a:lnTo>
                    <a:lnTo>
                      <a:pt x="16615" y="18514"/>
                    </a:lnTo>
                    <a:lnTo>
                      <a:pt x="16615" y="18839"/>
                    </a:lnTo>
                    <a:lnTo>
                      <a:pt x="17114" y="18839"/>
                    </a:lnTo>
                    <a:lnTo>
                      <a:pt x="17114" y="18514"/>
                    </a:lnTo>
                    <a:lnTo>
                      <a:pt x="17322" y="18839"/>
                    </a:lnTo>
                    <a:lnTo>
                      <a:pt x="17322" y="18514"/>
                    </a:lnTo>
                    <a:lnTo>
                      <a:pt x="17322" y="19164"/>
                    </a:lnTo>
                    <a:lnTo>
                      <a:pt x="17571" y="19164"/>
                    </a:lnTo>
                    <a:lnTo>
                      <a:pt x="17571" y="18839"/>
                    </a:lnTo>
                    <a:lnTo>
                      <a:pt x="17571" y="19164"/>
                    </a:lnTo>
                    <a:lnTo>
                      <a:pt x="17820" y="19164"/>
                    </a:lnTo>
                    <a:lnTo>
                      <a:pt x="18028" y="18839"/>
                    </a:lnTo>
                    <a:lnTo>
                      <a:pt x="17820" y="18514"/>
                    </a:lnTo>
                    <a:lnTo>
                      <a:pt x="18028" y="18514"/>
                    </a:lnTo>
                    <a:lnTo>
                      <a:pt x="18028" y="18839"/>
                    </a:lnTo>
                    <a:lnTo>
                      <a:pt x="18277" y="18514"/>
                    </a:lnTo>
                    <a:lnTo>
                      <a:pt x="18277" y="18839"/>
                    </a:lnTo>
                    <a:lnTo>
                      <a:pt x="18028" y="18839"/>
                    </a:lnTo>
                    <a:lnTo>
                      <a:pt x="18277" y="18839"/>
                    </a:lnTo>
                    <a:lnTo>
                      <a:pt x="18526" y="18514"/>
                    </a:lnTo>
                    <a:lnTo>
                      <a:pt x="18526" y="19164"/>
                    </a:lnTo>
                    <a:lnTo>
                      <a:pt x="18775" y="19164"/>
                    </a:lnTo>
                    <a:lnTo>
                      <a:pt x="18983" y="18839"/>
                    </a:lnTo>
                    <a:lnTo>
                      <a:pt x="19232" y="18839"/>
                    </a:lnTo>
                    <a:lnTo>
                      <a:pt x="19482" y="18514"/>
                    </a:lnTo>
                    <a:lnTo>
                      <a:pt x="19689" y="18189"/>
                    </a:lnTo>
                    <a:lnTo>
                      <a:pt x="19938" y="18189"/>
                    </a:lnTo>
                    <a:lnTo>
                      <a:pt x="20188" y="18514"/>
                    </a:lnTo>
                    <a:lnTo>
                      <a:pt x="20188" y="18189"/>
                    </a:lnTo>
                    <a:lnTo>
                      <a:pt x="20437" y="17269"/>
                    </a:lnTo>
                    <a:lnTo>
                      <a:pt x="20188" y="17269"/>
                    </a:lnTo>
                    <a:lnTo>
                      <a:pt x="20188" y="16998"/>
                    </a:lnTo>
                    <a:lnTo>
                      <a:pt x="20437" y="16674"/>
                    </a:lnTo>
                    <a:lnTo>
                      <a:pt x="20645" y="16349"/>
                    </a:lnTo>
                    <a:lnTo>
                      <a:pt x="20645" y="16024"/>
                    </a:lnTo>
                    <a:lnTo>
                      <a:pt x="20894" y="16024"/>
                    </a:lnTo>
                    <a:lnTo>
                      <a:pt x="20894" y="15753"/>
                    </a:lnTo>
                    <a:lnTo>
                      <a:pt x="21143" y="15753"/>
                    </a:lnTo>
                    <a:lnTo>
                      <a:pt x="21143" y="15429"/>
                    </a:lnTo>
                    <a:lnTo>
                      <a:pt x="21600" y="15429"/>
                    </a:lnTo>
                    <a:lnTo>
                      <a:pt x="21600" y="14183"/>
                    </a:lnTo>
                    <a:lnTo>
                      <a:pt x="20894" y="14183"/>
                    </a:lnTo>
                    <a:lnTo>
                      <a:pt x="20645" y="13588"/>
                    </a:lnTo>
                    <a:lnTo>
                      <a:pt x="19689" y="13263"/>
                    </a:lnTo>
                    <a:lnTo>
                      <a:pt x="19689" y="12938"/>
                    </a:lnTo>
                    <a:lnTo>
                      <a:pt x="19482" y="11693"/>
                    </a:lnTo>
                    <a:lnTo>
                      <a:pt x="20188" y="10502"/>
                    </a:lnTo>
                    <a:lnTo>
                      <a:pt x="20437" y="10177"/>
                    </a:lnTo>
                    <a:lnTo>
                      <a:pt x="20894" y="9853"/>
                    </a:lnTo>
                    <a:lnTo>
                      <a:pt x="20645" y="9257"/>
                    </a:lnTo>
                    <a:lnTo>
                      <a:pt x="20645" y="8932"/>
                    </a:lnTo>
                    <a:lnTo>
                      <a:pt x="19689" y="8932"/>
                    </a:lnTo>
                    <a:lnTo>
                      <a:pt x="19232" y="7417"/>
                    </a:lnTo>
                    <a:lnTo>
                      <a:pt x="18775" y="7092"/>
                    </a:lnTo>
                    <a:lnTo>
                      <a:pt x="18526" y="6442"/>
                    </a:lnTo>
                    <a:lnTo>
                      <a:pt x="17820" y="6171"/>
                    </a:lnTo>
                    <a:lnTo>
                      <a:pt x="17114" y="5847"/>
                    </a:lnTo>
                    <a:lnTo>
                      <a:pt x="16158" y="6171"/>
                    </a:lnTo>
                    <a:lnTo>
                      <a:pt x="15203" y="5847"/>
                    </a:lnTo>
                    <a:lnTo>
                      <a:pt x="14954" y="5847"/>
                    </a:lnTo>
                    <a:lnTo>
                      <a:pt x="14954" y="4926"/>
                    </a:lnTo>
                    <a:lnTo>
                      <a:pt x="15203" y="4602"/>
                    </a:lnTo>
                    <a:lnTo>
                      <a:pt x="15203" y="4277"/>
                    </a:lnTo>
                    <a:lnTo>
                      <a:pt x="15452" y="4277"/>
                    </a:lnTo>
                    <a:lnTo>
                      <a:pt x="15452" y="4006"/>
                    </a:lnTo>
                    <a:lnTo>
                      <a:pt x="14954" y="2111"/>
                    </a:lnTo>
                    <a:lnTo>
                      <a:pt x="14497" y="2111"/>
                    </a:lnTo>
                    <a:lnTo>
                      <a:pt x="13749" y="1191"/>
                    </a:lnTo>
                    <a:lnTo>
                      <a:pt x="13292" y="1191"/>
                    </a:lnTo>
                    <a:lnTo>
                      <a:pt x="12088" y="2111"/>
                    </a:lnTo>
                    <a:lnTo>
                      <a:pt x="12088" y="2436"/>
                    </a:lnTo>
                    <a:lnTo>
                      <a:pt x="11631" y="2761"/>
                    </a:lnTo>
                    <a:lnTo>
                      <a:pt x="11382" y="2111"/>
                    </a:lnTo>
                    <a:lnTo>
                      <a:pt x="10925" y="2111"/>
                    </a:lnTo>
                    <a:lnTo>
                      <a:pt x="10675" y="2436"/>
                    </a:lnTo>
                    <a:lnTo>
                      <a:pt x="10218" y="2111"/>
                    </a:lnTo>
                    <a:lnTo>
                      <a:pt x="10218" y="1516"/>
                    </a:lnTo>
                    <a:lnTo>
                      <a:pt x="9720" y="1191"/>
                    </a:lnTo>
                    <a:lnTo>
                      <a:pt x="9512" y="1516"/>
                    </a:lnTo>
                    <a:lnTo>
                      <a:pt x="7851" y="1516"/>
                    </a:lnTo>
                    <a:lnTo>
                      <a:pt x="7851" y="1191"/>
                    </a:lnTo>
                    <a:lnTo>
                      <a:pt x="7602" y="1191"/>
                    </a:lnTo>
                    <a:lnTo>
                      <a:pt x="7602" y="920"/>
                    </a:lnTo>
                    <a:lnTo>
                      <a:pt x="7851" y="920"/>
                    </a:lnTo>
                    <a:lnTo>
                      <a:pt x="7602" y="920"/>
                    </a:lnTo>
                    <a:lnTo>
                      <a:pt x="7602" y="595"/>
                    </a:lnTo>
                    <a:lnTo>
                      <a:pt x="7602" y="920"/>
                    </a:lnTo>
                    <a:lnTo>
                      <a:pt x="7352" y="595"/>
                    </a:lnTo>
                    <a:lnTo>
                      <a:pt x="7352" y="920"/>
                    </a:lnTo>
                    <a:lnTo>
                      <a:pt x="7352" y="595"/>
                    </a:lnTo>
                    <a:lnTo>
                      <a:pt x="7352" y="920"/>
                    </a:lnTo>
                    <a:lnTo>
                      <a:pt x="7352" y="595"/>
                    </a:lnTo>
                    <a:lnTo>
                      <a:pt x="7103" y="595"/>
                    </a:lnTo>
                    <a:lnTo>
                      <a:pt x="7103" y="920"/>
                    </a:lnTo>
                    <a:lnTo>
                      <a:pt x="6895" y="920"/>
                    </a:lnTo>
                    <a:lnTo>
                      <a:pt x="6895" y="595"/>
                    </a:lnTo>
                    <a:lnTo>
                      <a:pt x="5691" y="595"/>
                    </a:lnTo>
                    <a:lnTo>
                      <a:pt x="5691" y="271"/>
                    </a:lnTo>
                    <a:lnTo>
                      <a:pt x="4985" y="271"/>
                    </a:lnTo>
                    <a:lnTo>
                      <a:pt x="4985" y="0"/>
                    </a:lnTo>
                    <a:lnTo>
                      <a:pt x="4528" y="0"/>
                    </a:lnTo>
                    <a:lnTo>
                      <a:pt x="4528" y="271"/>
                    </a:lnTo>
                    <a:lnTo>
                      <a:pt x="4278" y="595"/>
                    </a:lnTo>
                    <a:lnTo>
                      <a:pt x="4528" y="595"/>
                    </a:lnTo>
                    <a:lnTo>
                      <a:pt x="4278" y="595"/>
                    </a:lnTo>
                    <a:lnTo>
                      <a:pt x="4528" y="595"/>
                    </a:lnTo>
                    <a:lnTo>
                      <a:pt x="4528" y="1191"/>
                    </a:lnTo>
                    <a:lnTo>
                      <a:pt x="4029" y="1191"/>
                    </a:lnTo>
                    <a:lnTo>
                      <a:pt x="4029" y="1516"/>
                    </a:lnTo>
                    <a:lnTo>
                      <a:pt x="3780" y="1516"/>
                    </a:lnTo>
                    <a:lnTo>
                      <a:pt x="3780" y="1841"/>
                    </a:lnTo>
                    <a:lnTo>
                      <a:pt x="4029" y="1841"/>
                    </a:lnTo>
                    <a:lnTo>
                      <a:pt x="4029" y="2111"/>
                    </a:lnTo>
                    <a:lnTo>
                      <a:pt x="3780" y="243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52" name="Shape 2978"/>
              <p:cNvSpPr/>
              <p:nvPr/>
            </p:nvSpPr>
            <p:spPr>
              <a:xfrm>
                <a:off x="9020514" y="5294956"/>
                <a:ext cx="544489" cy="4376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5113"/>
                    </a:moveTo>
                    <a:lnTo>
                      <a:pt x="344" y="13830"/>
                    </a:lnTo>
                    <a:lnTo>
                      <a:pt x="344" y="13046"/>
                    </a:lnTo>
                    <a:lnTo>
                      <a:pt x="630" y="13046"/>
                    </a:lnTo>
                    <a:lnTo>
                      <a:pt x="630" y="12618"/>
                    </a:lnTo>
                    <a:lnTo>
                      <a:pt x="974" y="12618"/>
                    </a:lnTo>
                    <a:lnTo>
                      <a:pt x="630" y="12261"/>
                    </a:lnTo>
                    <a:lnTo>
                      <a:pt x="974" y="12261"/>
                    </a:lnTo>
                    <a:lnTo>
                      <a:pt x="630" y="12261"/>
                    </a:lnTo>
                    <a:lnTo>
                      <a:pt x="630" y="11406"/>
                    </a:lnTo>
                    <a:lnTo>
                      <a:pt x="344" y="11406"/>
                    </a:lnTo>
                    <a:lnTo>
                      <a:pt x="344" y="10978"/>
                    </a:lnTo>
                    <a:lnTo>
                      <a:pt x="0" y="10978"/>
                    </a:lnTo>
                    <a:lnTo>
                      <a:pt x="0" y="10622"/>
                    </a:lnTo>
                    <a:lnTo>
                      <a:pt x="344" y="10622"/>
                    </a:lnTo>
                    <a:lnTo>
                      <a:pt x="344" y="10194"/>
                    </a:lnTo>
                    <a:lnTo>
                      <a:pt x="0" y="10194"/>
                    </a:lnTo>
                    <a:lnTo>
                      <a:pt x="0" y="8198"/>
                    </a:lnTo>
                    <a:lnTo>
                      <a:pt x="344" y="8198"/>
                    </a:lnTo>
                    <a:lnTo>
                      <a:pt x="344" y="7770"/>
                    </a:lnTo>
                    <a:lnTo>
                      <a:pt x="0" y="7770"/>
                    </a:lnTo>
                    <a:lnTo>
                      <a:pt x="344" y="7343"/>
                    </a:lnTo>
                    <a:lnTo>
                      <a:pt x="344" y="6915"/>
                    </a:lnTo>
                    <a:lnTo>
                      <a:pt x="630" y="6915"/>
                    </a:lnTo>
                    <a:lnTo>
                      <a:pt x="630" y="6131"/>
                    </a:lnTo>
                    <a:lnTo>
                      <a:pt x="1318" y="6131"/>
                    </a:lnTo>
                    <a:lnTo>
                      <a:pt x="1318" y="5703"/>
                    </a:lnTo>
                    <a:lnTo>
                      <a:pt x="1662" y="5703"/>
                    </a:lnTo>
                    <a:lnTo>
                      <a:pt x="1662" y="5347"/>
                    </a:lnTo>
                    <a:lnTo>
                      <a:pt x="1948" y="5347"/>
                    </a:lnTo>
                    <a:lnTo>
                      <a:pt x="2292" y="5703"/>
                    </a:lnTo>
                    <a:lnTo>
                      <a:pt x="2292" y="5347"/>
                    </a:lnTo>
                    <a:lnTo>
                      <a:pt x="2636" y="5347"/>
                    </a:lnTo>
                    <a:lnTo>
                      <a:pt x="2636" y="5703"/>
                    </a:lnTo>
                    <a:lnTo>
                      <a:pt x="2922" y="5703"/>
                    </a:lnTo>
                    <a:lnTo>
                      <a:pt x="2922" y="5347"/>
                    </a:lnTo>
                    <a:lnTo>
                      <a:pt x="3266" y="5347"/>
                    </a:lnTo>
                    <a:lnTo>
                      <a:pt x="2922" y="4919"/>
                    </a:lnTo>
                    <a:lnTo>
                      <a:pt x="2922" y="4063"/>
                    </a:lnTo>
                    <a:lnTo>
                      <a:pt x="2292" y="4063"/>
                    </a:lnTo>
                    <a:lnTo>
                      <a:pt x="2292" y="3707"/>
                    </a:lnTo>
                    <a:lnTo>
                      <a:pt x="2922" y="3707"/>
                    </a:lnTo>
                    <a:lnTo>
                      <a:pt x="2922" y="3279"/>
                    </a:lnTo>
                    <a:lnTo>
                      <a:pt x="3266" y="3279"/>
                    </a:lnTo>
                    <a:lnTo>
                      <a:pt x="3266" y="2851"/>
                    </a:lnTo>
                    <a:lnTo>
                      <a:pt x="3610" y="2851"/>
                    </a:lnTo>
                    <a:lnTo>
                      <a:pt x="3610" y="0"/>
                    </a:lnTo>
                    <a:lnTo>
                      <a:pt x="4927" y="428"/>
                    </a:lnTo>
                    <a:lnTo>
                      <a:pt x="5214" y="855"/>
                    </a:lnTo>
                    <a:lnTo>
                      <a:pt x="7506" y="1640"/>
                    </a:lnTo>
                    <a:lnTo>
                      <a:pt x="8537" y="1640"/>
                    </a:lnTo>
                    <a:lnTo>
                      <a:pt x="8537" y="2067"/>
                    </a:lnTo>
                    <a:lnTo>
                      <a:pt x="10829" y="3279"/>
                    </a:lnTo>
                    <a:lnTo>
                      <a:pt x="11803" y="6131"/>
                    </a:lnTo>
                    <a:lnTo>
                      <a:pt x="14094" y="6131"/>
                    </a:lnTo>
                    <a:lnTo>
                      <a:pt x="14725" y="7770"/>
                    </a:lnTo>
                    <a:lnTo>
                      <a:pt x="15699" y="7343"/>
                    </a:lnTo>
                    <a:lnTo>
                      <a:pt x="17360" y="7343"/>
                    </a:lnTo>
                    <a:lnTo>
                      <a:pt x="17360" y="6915"/>
                    </a:lnTo>
                    <a:lnTo>
                      <a:pt x="17990" y="6915"/>
                    </a:lnTo>
                    <a:lnTo>
                      <a:pt x="18334" y="7343"/>
                    </a:lnTo>
                    <a:lnTo>
                      <a:pt x="17990" y="7770"/>
                    </a:lnTo>
                    <a:lnTo>
                      <a:pt x="18334" y="7770"/>
                    </a:lnTo>
                    <a:lnTo>
                      <a:pt x="17990" y="8198"/>
                    </a:lnTo>
                    <a:lnTo>
                      <a:pt x="17990" y="8554"/>
                    </a:lnTo>
                    <a:lnTo>
                      <a:pt x="17990" y="8198"/>
                    </a:lnTo>
                    <a:lnTo>
                      <a:pt x="18334" y="8554"/>
                    </a:lnTo>
                    <a:lnTo>
                      <a:pt x="17990" y="8554"/>
                    </a:lnTo>
                    <a:lnTo>
                      <a:pt x="17990" y="8982"/>
                    </a:lnTo>
                    <a:lnTo>
                      <a:pt x="18334" y="8982"/>
                    </a:lnTo>
                    <a:lnTo>
                      <a:pt x="18334" y="9410"/>
                    </a:lnTo>
                    <a:lnTo>
                      <a:pt x="17990" y="9410"/>
                    </a:lnTo>
                    <a:lnTo>
                      <a:pt x="18334" y="9766"/>
                    </a:lnTo>
                    <a:lnTo>
                      <a:pt x="18334" y="10194"/>
                    </a:lnTo>
                    <a:lnTo>
                      <a:pt x="17704" y="10978"/>
                    </a:lnTo>
                    <a:lnTo>
                      <a:pt x="18334" y="10978"/>
                    </a:lnTo>
                    <a:lnTo>
                      <a:pt x="18334" y="11406"/>
                    </a:lnTo>
                    <a:lnTo>
                      <a:pt x="18678" y="10978"/>
                    </a:lnTo>
                    <a:lnTo>
                      <a:pt x="18678" y="11406"/>
                    </a:lnTo>
                    <a:lnTo>
                      <a:pt x="18678" y="10978"/>
                    </a:lnTo>
                    <a:lnTo>
                      <a:pt x="18964" y="10978"/>
                    </a:lnTo>
                    <a:lnTo>
                      <a:pt x="18964" y="10622"/>
                    </a:lnTo>
                    <a:lnTo>
                      <a:pt x="19308" y="10622"/>
                    </a:lnTo>
                    <a:lnTo>
                      <a:pt x="19308" y="9766"/>
                    </a:lnTo>
                    <a:lnTo>
                      <a:pt x="19652" y="10194"/>
                    </a:lnTo>
                    <a:lnTo>
                      <a:pt x="19652" y="9766"/>
                    </a:lnTo>
                    <a:lnTo>
                      <a:pt x="20282" y="9766"/>
                    </a:lnTo>
                    <a:lnTo>
                      <a:pt x="20626" y="10194"/>
                    </a:lnTo>
                    <a:lnTo>
                      <a:pt x="20626" y="9766"/>
                    </a:lnTo>
                    <a:lnTo>
                      <a:pt x="20970" y="9766"/>
                    </a:lnTo>
                    <a:lnTo>
                      <a:pt x="20970" y="11834"/>
                    </a:lnTo>
                    <a:lnTo>
                      <a:pt x="21256" y="11834"/>
                    </a:lnTo>
                    <a:lnTo>
                      <a:pt x="20970" y="11834"/>
                    </a:lnTo>
                    <a:lnTo>
                      <a:pt x="21256" y="11834"/>
                    </a:lnTo>
                    <a:lnTo>
                      <a:pt x="21256" y="12618"/>
                    </a:lnTo>
                    <a:lnTo>
                      <a:pt x="20970" y="12618"/>
                    </a:lnTo>
                    <a:lnTo>
                      <a:pt x="20970" y="13046"/>
                    </a:lnTo>
                    <a:lnTo>
                      <a:pt x="21600" y="13046"/>
                    </a:lnTo>
                    <a:lnTo>
                      <a:pt x="21600" y="13473"/>
                    </a:lnTo>
                    <a:lnTo>
                      <a:pt x="21256" y="13473"/>
                    </a:lnTo>
                    <a:lnTo>
                      <a:pt x="21256" y="15469"/>
                    </a:lnTo>
                    <a:lnTo>
                      <a:pt x="21600" y="15469"/>
                    </a:lnTo>
                    <a:lnTo>
                      <a:pt x="21600" y="16325"/>
                    </a:lnTo>
                    <a:lnTo>
                      <a:pt x="21256" y="16325"/>
                    </a:lnTo>
                    <a:lnTo>
                      <a:pt x="21256" y="16681"/>
                    </a:lnTo>
                    <a:lnTo>
                      <a:pt x="21600" y="16681"/>
                    </a:lnTo>
                    <a:lnTo>
                      <a:pt x="21256" y="17109"/>
                    </a:lnTo>
                    <a:lnTo>
                      <a:pt x="21600" y="17964"/>
                    </a:lnTo>
                    <a:lnTo>
                      <a:pt x="20970" y="18321"/>
                    </a:lnTo>
                    <a:lnTo>
                      <a:pt x="20282" y="18321"/>
                    </a:lnTo>
                    <a:lnTo>
                      <a:pt x="20282" y="18749"/>
                    </a:lnTo>
                    <a:lnTo>
                      <a:pt x="19996" y="19176"/>
                    </a:lnTo>
                    <a:lnTo>
                      <a:pt x="19652" y="19176"/>
                    </a:lnTo>
                    <a:lnTo>
                      <a:pt x="19996" y="18749"/>
                    </a:lnTo>
                    <a:lnTo>
                      <a:pt x="19308" y="18749"/>
                    </a:lnTo>
                    <a:lnTo>
                      <a:pt x="18678" y="19176"/>
                    </a:lnTo>
                    <a:lnTo>
                      <a:pt x="18334" y="19176"/>
                    </a:lnTo>
                    <a:lnTo>
                      <a:pt x="18334" y="18749"/>
                    </a:lnTo>
                    <a:lnTo>
                      <a:pt x="18334" y="19176"/>
                    </a:lnTo>
                    <a:lnTo>
                      <a:pt x="17990" y="19176"/>
                    </a:lnTo>
                    <a:lnTo>
                      <a:pt x="17990" y="18749"/>
                    </a:lnTo>
                    <a:lnTo>
                      <a:pt x="17704" y="18749"/>
                    </a:lnTo>
                    <a:lnTo>
                      <a:pt x="17704" y="19533"/>
                    </a:lnTo>
                    <a:lnTo>
                      <a:pt x="17360" y="19533"/>
                    </a:lnTo>
                    <a:lnTo>
                      <a:pt x="17360" y="19176"/>
                    </a:lnTo>
                    <a:lnTo>
                      <a:pt x="16673" y="19176"/>
                    </a:lnTo>
                    <a:lnTo>
                      <a:pt x="15699" y="19960"/>
                    </a:lnTo>
                    <a:lnTo>
                      <a:pt x="15699" y="20388"/>
                    </a:lnTo>
                    <a:lnTo>
                      <a:pt x="15412" y="20745"/>
                    </a:lnTo>
                    <a:lnTo>
                      <a:pt x="15699" y="20745"/>
                    </a:lnTo>
                    <a:lnTo>
                      <a:pt x="15068" y="21172"/>
                    </a:lnTo>
                    <a:lnTo>
                      <a:pt x="15412" y="21172"/>
                    </a:lnTo>
                    <a:lnTo>
                      <a:pt x="15412" y="21600"/>
                    </a:lnTo>
                    <a:lnTo>
                      <a:pt x="15068" y="21600"/>
                    </a:lnTo>
                    <a:lnTo>
                      <a:pt x="15068" y="21172"/>
                    </a:lnTo>
                    <a:lnTo>
                      <a:pt x="14725" y="21600"/>
                    </a:lnTo>
                    <a:lnTo>
                      <a:pt x="14725" y="20745"/>
                    </a:lnTo>
                    <a:lnTo>
                      <a:pt x="14381" y="20745"/>
                    </a:lnTo>
                    <a:lnTo>
                      <a:pt x="14381" y="20388"/>
                    </a:lnTo>
                    <a:lnTo>
                      <a:pt x="14094" y="20388"/>
                    </a:lnTo>
                    <a:lnTo>
                      <a:pt x="13751" y="19960"/>
                    </a:lnTo>
                    <a:lnTo>
                      <a:pt x="13751" y="20388"/>
                    </a:lnTo>
                    <a:lnTo>
                      <a:pt x="13751" y="19960"/>
                    </a:lnTo>
                    <a:lnTo>
                      <a:pt x="13407" y="19960"/>
                    </a:lnTo>
                    <a:lnTo>
                      <a:pt x="13407" y="19533"/>
                    </a:lnTo>
                    <a:lnTo>
                      <a:pt x="13751" y="19533"/>
                    </a:lnTo>
                    <a:lnTo>
                      <a:pt x="13751" y="18749"/>
                    </a:lnTo>
                    <a:lnTo>
                      <a:pt x="13407" y="18749"/>
                    </a:lnTo>
                    <a:lnTo>
                      <a:pt x="13120" y="19176"/>
                    </a:lnTo>
                    <a:lnTo>
                      <a:pt x="13120" y="18749"/>
                    </a:lnTo>
                    <a:lnTo>
                      <a:pt x="13407" y="18749"/>
                    </a:lnTo>
                    <a:lnTo>
                      <a:pt x="13120" y="18321"/>
                    </a:lnTo>
                    <a:lnTo>
                      <a:pt x="12777" y="18321"/>
                    </a:lnTo>
                    <a:lnTo>
                      <a:pt x="12777" y="17964"/>
                    </a:lnTo>
                    <a:lnTo>
                      <a:pt x="12433" y="17964"/>
                    </a:lnTo>
                    <a:lnTo>
                      <a:pt x="12433" y="17537"/>
                    </a:lnTo>
                    <a:lnTo>
                      <a:pt x="12089" y="17537"/>
                    </a:lnTo>
                    <a:lnTo>
                      <a:pt x="12089" y="16681"/>
                    </a:lnTo>
                    <a:lnTo>
                      <a:pt x="11803" y="16681"/>
                    </a:lnTo>
                    <a:lnTo>
                      <a:pt x="11803" y="17109"/>
                    </a:lnTo>
                    <a:lnTo>
                      <a:pt x="11115" y="17109"/>
                    </a:lnTo>
                    <a:lnTo>
                      <a:pt x="11115" y="17537"/>
                    </a:lnTo>
                    <a:lnTo>
                      <a:pt x="10485" y="17537"/>
                    </a:lnTo>
                    <a:lnTo>
                      <a:pt x="10485" y="17964"/>
                    </a:lnTo>
                    <a:lnTo>
                      <a:pt x="10141" y="17964"/>
                    </a:lnTo>
                    <a:lnTo>
                      <a:pt x="10141" y="17537"/>
                    </a:lnTo>
                    <a:lnTo>
                      <a:pt x="9797" y="17537"/>
                    </a:lnTo>
                    <a:lnTo>
                      <a:pt x="9797" y="17964"/>
                    </a:lnTo>
                    <a:lnTo>
                      <a:pt x="9167" y="18321"/>
                    </a:lnTo>
                    <a:lnTo>
                      <a:pt x="9167" y="18749"/>
                    </a:lnTo>
                    <a:lnTo>
                      <a:pt x="8823" y="18321"/>
                    </a:lnTo>
                    <a:lnTo>
                      <a:pt x="8823" y="18749"/>
                    </a:lnTo>
                    <a:lnTo>
                      <a:pt x="8537" y="19176"/>
                    </a:lnTo>
                    <a:lnTo>
                      <a:pt x="7506" y="19176"/>
                    </a:lnTo>
                    <a:lnTo>
                      <a:pt x="7506" y="18749"/>
                    </a:lnTo>
                    <a:lnTo>
                      <a:pt x="7219" y="19176"/>
                    </a:lnTo>
                    <a:lnTo>
                      <a:pt x="7219" y="18749"/>
                    </a:lnTo>
                    <a:lnTo>
                      <a:pt x="6875" y="18749"/>
                    </a:lnTo>
                    <a:lnTo>
                      <a:pt x="6532" y="19176"/>
                    </a:lnTo>
                    <a:lnTo>
                      <a:pt x="6532" y="18749"/>
                    </a:lnTo>
                    <a:lnTo>
                      <a:pt x="6245" y="19176"/>
                    </a:lnTo>
                    <a:lnTo>
                      <a:pt x="6245" y="19533"/>
                    </a:lnTo>
                    <a:lnTo>
                      <a:pt x="5214" y="19533"/>
                    </a:lnTo>
                    <a:lnTo>
                      <a:pt x="5214" y="18749"/>
                    </a:lnTo>
                    <a:lnTo>
                      <a:pt x="4584" y="18749"/>
                    </a:lnTo>
                    <a:lnTo>
                      <a:pt x="4584" y="19176"/>
                    </a:lnTo>
                    <a:lnTo>
                      <a:pt x="4927" y="19533"/>
                    </a:lnTo>
                    <a:lnTo>
                      <a:pt x="4584" y="19533"/>
                    </a:lnTo>
                    <a:lnTo>
                      <a:pt x="4584" y="20388"/>
                    </a:lnTo>
                    <a:lnTo>
                      <a:pt x="3953" y="19176"/>
                    </a:lnTo>
                    <a:lnTo>
                      <a:pt x="1948" y="16325"/>
                    </a:lnTo>
                    <a:lnTo>
                      <a:pt x="1948" y="15897"/>
                    </a:lnTo>
                    <a:lnTo>
                      <a:pt x="1662" y="15469"/>
                    </a:lnTo>
                    <a:lnTo>
                      <a:pt x="1948" y="15113"/>
                    </a:lnTo>
                    <a:lnTo>
                      <a:pt x="1948" y="15469"/>
                    </a:lnTo>
                    <a:lnTo>
                      <a:pt x="2636" y="15469"/>
                    </a:lnTo>
                    <a:lnTo>
                      <a:pt x="2636" y="15113"/>
                    </a:lnTo>
                    <a:lnTo>
                      <a:pt x="2922" y="15113"/>
                    </a:lnTo>
                    <a:lnTo>
                      <a:pt x="2922" y="14685"/>
                    </a:lnTo>
                    <a:lnTo>
                      <a:pt x="2636" y="14685"/>
                    </a:lnTo>
                    <a:lnTo>
                      <a:pt x="2636" y="14257"/>
                    </a:lnTo>
                    <a:lnTo>
                      <a:pt x="2922" y="14257"/>
                    </a:lnTo>
                    <a:lnTo>
                      <a:pt x="2292" y="14257"/>
                    </a:lnTo>
                    <a:lnTo>
                      <a:pt x="2292" y="14685"/>
                    </a:lnTo>
                    <a:lnTo>
                      <a:pt x="1948" y="14685"/>
                    </a:lnTo>
                    <a:lnTo>
                      <a:pt x="1948" y="14257"/>
                    </a:lnTo>
                    <a:lnTo>
                      <a:pt x="1318" y="14257"/>
                    </a:lnTo>
                    <a:lnTo>
                      <a:pt x="1318" y="14685"/>
                    </a:lnTo>
                    <a:lnTo>
                      <a:pt x="0" y="1511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53" name="Shape 2979"/>
              <p:cNvSpPr/>
              <p:nvPr/>
            </p:nvSpPr>
            <p:spPr>
              <a:xfrm>
                <a:off x="9549115" y="5435050"/>
                <a:ext cx="271522" cy="46216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383" y="0"/>
                    </a:moveTo>
                    <a:lnTo>
                      <a:pt x="18383" y="405"/>
                    </a:lnTo>
                    <a:lnTo>
                      <a:pt x="19072" y="405"/>
                    </a:lnTo>
                    <a:lnTo>
                      <a:pt x="19072" y="810"/>
                    </a:lnTo>
                    <a:lnTo>
                      <a:pt x="18383" y="810"/>
                    </a:lnTo>
                    <a:lnTo>
                      <a:pt x="18383" y="1215"/>
                    </a:lnTo>
                    <a:lnTo>
                      <a:pt x="17694" y="1215"/>
                    </a:lnTo>
                    <a:lnTo>
                      <a:pt x="17694" y="1553"/>
                    </a:lnTo>
                    <a:lnTo>
                      <a:pt x="18383" y="1553"/>
                    </a:lnTo>
                    <a:lnTo>
                      <a:pt x="18383" y="2363"/>
                    </a:lnTo>
                    <a:lnTo>
                      <a:pt x="19647" y="2363"/>
                    </a:lnTo>
                    <a:lnTo>
                      <a:pt x="19647" y="2700"/>
                    </a:lnTo>
                    <a:lnTo>
                      <a:pt x="20336" y="2700"/>
                    </a:lnTo>
                    <a:lnTo>
                      <a:pt x="19647" y="3105"/>
                    </a:lnTo>
                    <a:lnTo>
                      <a:pt x="20336" y="3105"/>
                    </a:lnTo>
                    <a:lnTo>
                      <a:pt x="20336" y="3510"/>
                    </a:lnTo>
                    <a:lnTo>
                      <a:pt x="21026" y="3848"/>
                    </a:lnTo>
                    <a:lnTo>
                      <a:pt x="20336" y="3848"/>
                    </a:lnTo>
                    <a:lnTo>
                      <a:pt x="21026" y="3848"/>
                    </a:lnTo>
                    <a:lnTo>
                      <a:pt x="21026" y="4658"/>
                    </a:lnTo>
                    <a:lnTo>
                      <a:pt x="21600" y="4658"/>
                    </a:lnTo>
                    <a:lnTo>
                      <a:pt x="21600" y="5063"/>
                    </a:lnTo>
                    <a:lnTo>
                      <a:pt x="20336" y="5063"/>
                    </a:lnTo>
                    <a:lnTo>
                      <a:pt x="20336" y="5400"/>
                    </a:lnTo>
                    <a:lnTo>
                      <a:pt x="19072" y="5400"/>
                    </a:lnTo>
                    <a:lnTo>
                      <a:pt x="19072" y="5805"/>
                    </a:lnTo>
                    <a:lnTo>
                      <a:pt x="18383" y="5805"/>
                    </a:lnTo>
                    <a:lnTo>
                      <a:pt x="18383" y="6210"/>
                    </a:lnTo>
                    <a:lnTo>
                      <a:pt x="17694" y="6210"/>
                    </a:lnTo>
                    <a:lnTo>
                      <a:pt x="17694" y="6953"/>
                    </a:lnTo>
                    <a:lnTo>
                      <a:pt x="17004" y="6953"/>
                    </a:lnTo>
                    <a:lnTo>
                      <a:pt x="17004" y="8505"/>
                    </a:lnTo>
                    <a:lnTo>
                      <a:pt x="17694" y="8910"/>
                    </a:lnTo>
                    <a:lnTo>
                      <a:pt x="17694" y="9248"/>
                    </a:lnTo>
                    <a:lnTo>
                      <a:pt x="17694" y="8910"/>
                    </a:lnTo>
                    <a:lnTo>
                      <a:pt x="17694" y="9653"/>
                    </a:lnTo>
                    <a:lnTo>
                      <a:pt x="17004" y="9653"/>
                    </a:lnTo>
                    <a:lnTo>
                      <a:pt x="17004" y="11205"/>
                    </a:lnTo>
                    <a:lnTo>
                      <a:pt x="15740" y="11205"/>
                    </a:lnTo>
                    <a:lnTo>
                      <a:pt x="15740" y="11610"/>
                    </a:lnTo>
                    <a:lnTo>
                      <a:pt x="17004" y="11610"/>
                    </a:lnTo>
                    <a:lnTo>
                      <a:pt x="17004" y="11947"/>
                    </a:lnTo>
                    <a:lnTo>
                      <a:pt x="17004" y="11610"/>
                    </a:lnTo>
                    <a:lnTo>
                      <a:pt x="17694" y="11610"/>
                    </a:lnTo>
                    <a:lnTo>
                      <a:pt x="17694" y="11205"/>
                    </a:lnTo>
                    <a:lnTo>
                      <a:pt x="18383" y="11205"/>
                    </a:lnTo>
                    <a:lnTo>
                      <a:pt x="18383" y="11947"/>
                    </a:lnTo>
                    <a:lnTo>
                      <a:pt x="19072" y="11947"/>
                    </a:lnTo>
                    <a:lnTo>
                      <a:pt x="19072" y="11610"/>
                    </a:lnTo>
                    <a:lnTo>
                      <a:pt x="19647" y="11610"/>
                    </a:lnTo>
                    <a:lnTo>
                      <a:pt x="19647" y="12757"/>
                    </a:lnTo>
                    <a:lnTo>
                      <a:pt x="18383" y="12757"/>
                    </a:lnTo>
                    <a:lnTo>
                      <a:pt x="18383" y="13095"/>
                    </a:lnTo>
                    <a:lnTo>
                      <a:pt x="19072" y="13500"/>
                    </a:lnTo>
                    <a:lnTo>
                      <a:pt x="19647" y="13500"/>
                    </a:lnTo>
                    <a:lnTo>
                      <a:pt x="19647" y="13905"/>
                    </a:lnTo>
                    <a:lnTo>
                      <a:pt x="19072" y="13905"/>
                    </a:lnTo>
                    <a:lnTo>
                      <a:pt x="19647" y="13905"/>
                    </a:lnTo>
                    <a:lnTo>
                      <a:pt x="19647" y="14310"/>
                    </a:lnTo>
                    <a:lnTo>
                      <a:pt x="18383" y="14310"/>
                    </a:lnTo>
                    <a:lnTo>
                      <a:pt x="18383" y="15052"/>
                    </a:lnTo>
                    <a:lnTo>
                      <a:pt x="17694" y="15052"/>
                    </a:lnTo>
                    <a:lnTo>
                      <a:pt x="17694" y="15795"/>
                    </a:lnTo>
                    <a:lnTo>
                      <a:pt x="17004" y="15795"/>
                    </a:lnTo>
                    <a:lnTo>
                      <a:pt x="17694" y="15795"/>
                    </a:lnTo>
                    <a:lnTo>
                      <a:pt x="17004" y="15795"/>
                    </a:lnTo>
                    <a:lnTo>
                      <a:pt x="17004" y="16200"/>
                    </a:lnTo>
                    <a:lnTo>
                      <a:pt x="17694" y="16200"/>
                    </a:lnTo>
                    <a:lnTo>
                      <a:pt x="18383" y="16605"/>
                    </a:lnTo>
                    <a:lnTo>
                      <a:pt x="18383" y="17347"/>
                    </a:lnTo>
                    <a:lnTo>
                      <a:pt x="17694" y="17752"/>
                    </a:lnTo>
                    <a:lnTo>
                      <a:pt x="17694" y="18157"/>
                    </a:lnTo>
                    <a:lnTo>
                      <a:pt x="18383" y="18157"/>
                    </a:lnTo>
                    <a:lnTo>
                      <a:pt x="18383" y="18495"/>
                    </a:lnTo>
                    <a:lnTo>
                      <a:pt x="19072" y="18495"/>
                    </a:lnTo>
                    <a:lnTo>
                      <a:pt x="19072" y="18900"/>
                    </a:lnTo>
                    <a:lnTo>
                      <a:pt x="18383" y="19305"/>
                    </a:lnTo>
                    <a:lnTo>
                      <a:pt x="18383" y="19710"/>
                    </a:lnTo>
                    <a:lnTo>
                      <a:pt x="17694" y="20047"/>
                    </a:lnTo>
                    <a:lnTo>
                      <a:pt x="17004" y="20452"/>
                    </a:lnTo>
                    <a:lnTo>
                      <a:pt x="16430" y="20452"/>
                    </a:lnTo>
                    <a:lnTo>
                      <a:pt x="16430" y="21195"/>
                    </a:lnTo>
                    <a:lnTo>
                      <a:pt x="15051" y="21195"/>
                    </a:lnTo>
                    <a:lnTo>
                      <a:pt x="15051" y="21600"/>
                    </a:lnTo>
                    <a:lnTo>
                      <a:pt x="14477" y="21600"/>
                    </a:lnTo>
                    <a:lnTo>
                      <a:pt x="14477" y="21195"/>
                    </a:lnTo>
                    <a:lnTo>
                      <a:pt x="15051" y="20857"/>
                    </a:lnTo>
                    <a:lnTo>
                      <a:pt x="15051" y="20452"/>
                    </a:lnTo>
                    <a:lnTo>
                      <a:pt x="13787" y="20452"/>
                    </a:lnTo>
                    <a:lnTo>
                      <a:pt x="13787" y="20047"/>
                    </a:lnTo>
                    <a:lnTo>
                      <a:pt x="13098" y="20047"/>
                    </a:lnTo>
                    <a:lnTo>
                      <a:pt x="13098" y="19710"/>
                    </a:lnTo>
                    <a:lnTo>
                      <a:pt x="12409" y="19710"/>
                    </a:lnTo>
                    <a:lnTo>
                      <a:pt x="12409" y="20047"/>
                    </a:lnTo>
                    <a:lnTo>
                      <a:pt x="10455" y="20047"/>
                    </a:lnTo>
                    <a:lnTo>
                      <a:pt x="10455" y="19710"/>
                    </a:lnTo>
                    <a:lnTo>
                      <a:pt x="9881" y="19710"/>
                    </a:lnTo>
                    <a:lnTo>
                      <a:pt x="9881" y="19305"/>
                    </a:lnTo>
                    <a:lnTo>
                      <a:pt x="9191" y="19305"/>
                    </a:lnTo>
                    <a:lnTo>
                      <a:pt x="9191" y="18900"/>
                    </a:lnTo>
                    <a:lnTo>
                      <a:pt x="8502" y="18900"/>
                    </a:lnTo>
                    <a:lnTo>
                      <a:pt x="8502" y="18495"/>
                    </a:lnTo>
                    <a:lnTo>
                      <a:pt x="7813" y="18495"/>
                    </a:lnTo>
                    <a:lnTo>
                      <a:pt x="8502" y="18157"/>
                    </a:lnTo>
                    <a:lnTo>
                      <a:pt x="8502" y="17347"/>
                    </a:lnTo>
                    <a:lnTo>
                      <a:pt x="9191" y="17347"/>
                    </a:lnTo>
                    <a:lnTo>
                      <a:pt x="8502" y="17347"/>
                    </a:lnTo>
                    <a:lnTo>
                      <a:pt x="8502" y="17010"/>
                    </a:lnTo>
                    <a:lnTo>
                      <a:pt x="7813" y="17010"/>
                    </a:lnTo>
                    <a:lnTo>
                      <a:pt x="7813" y="16605"/>
                    </a:lnTo>
                    <a:lnTo>
                      <a:pt x="7238" y="16605"/>
                    </a:lnTo>
                    <a:lnTo>
                      <a:pt x="7238" y="16200"/>
                    </a:lnTo>
                    <a:lnTo>
                      <a:pt x="7813" y="16200"/>
                    </a:lnTo>
                    <a:lnTo>
                      <a:pt x="7813" y="15795"/>
                    </a:lnTo>
                    <a:lnTo>
                      <a:pt x="8502" y="15795"/>
                    </a:lnTo>
                    <a:lnTo>
                      <a:pt x="8502" y="15457"/>
                    </a:lnTo>
                    <a:lnTo>
                      <a:pt x="7813" y="15457"/>
                    </a:lnTo>
                    <a:lnTo>
                      <a:pt x="7813" y="15052"/>
                    </a:lnTo>
                    <a:lnTo>
                      <a:pt x="7238" y="15052"/>
                    </a:lnTo>
                    <a:lnTo>
                      <a:pt x="7238" y="14647"/>
                    </a:lnTo>
                    <a:lnTo>
                      <a:pt x="6549" y="14647"/>
                    </a:lnTo>
                    <a:lnTo>
                      <a:pt x="6549" y="14310"/>
                    </a:lnTo>
                    <a:lnTo>
                      <a:pt x="5860" y="14310"/>
                    </a:lnTo>
                    <a:lnTo>
                      <a:pt x="5860" y="13500"/>
                    </a:lnTo>
                    <a:lnTo>
                      <a:pt x="5285" y="13500"/>
                    </a:lnTo>
                    <a:lnTo>
                      <a:pt x="5285" y="12757"/>
                    </a:lnTo>
                    <a:lnTo>
                      <a:pt x="4596" y="12352"/>
                    </a:lnTo>
                    <a:lnTo>
                      <a:pt x="3906" y="12352"/>
                    </a:lnTo>
                    <a:lnTo>
                      <a:pt x="3906" y="11947"/>
                    </a:lnTo>
                    <a:lnTo>
                      <a:pt x="3217" y="11947"/>
                    </a:lnTo>
                    <a:lnTo>
                      <a:pt x="3217" y="11610"/>
                    </a:lnTo>
                    <a:lnTo>
                      <a:pt x="2643" y="11610"/>
                    </a:lnTo>
                    <a:lnTo>
                      <a:pt x="1264" y="10463"/>
                    </a:lnTo>
                    <a:lnTo>
                      <a:pt x="574" y="9653"/>
                    </a:lnTo>
                    <a:lnTo>
                      <a:pt x="1264" y="9248"/>
                    </a:lnTo>
                    <a:lnTo>
                      <a:pt x="574" y="9248"/>
                    </a:lnTo>
                    <a:lnTo>
                      <a:pt x="574" y="8910"/>
                    </a:lnTo>
                    <a:lnTo>
                      <a:pt x="1264" y="8910"/>
                    </a:lnTo>
                    <a:lnTo>
                      <a:pt x="1264" y="8100"/>
                    </a:lnTo>
                    <a:lnTo>
                      <a:pt x="574" y="8100"/>
                    </a:lnTo>
                    <a:lnTo>
                      <a:pt x="574" y="6210"/>
                    </a:lnTo>
                    <a:lnTo>
                      <a:pt x="1264" y="6210"/>
                    </a:lnTo>
                    <a:lnTo>
                      <a:pt x="1264" y="5805"/>
                    </a:lnTo>
                    <a:lnTo>
                      <a:pt x="0" y="5805"/>
                    </a:lnTo>
                    <a:lnTo>
                      <a:pt x="0" y="5400"/>
                    </a:lnTo>
                    <a:lnTo>
                      <a:pt x="574" y="5400"/>
                    </a:lnTo>
                    <a:lnTo>
                      <a:pt x="574" y="4658"/>
                    </a:lnTo>
                    <a:lnTo>
                      <a:pt x="0" y="4658"/>
                    </a:lnTo>
                    <a:lnTo>
                      <a:pt x="574" y="4658"/>
                    </a:lnTo>
                    <a:lnTo>
                      <a:pt x="0" y="4658"/>
                    </a:lnTo>
                    <a:lnTo>
                      <a:pt x="0" y="2700"/>
                    </a:lnTo>
                    <a:lnTo>
                      <a:pt x="574" y="2700"/>
                    </a:lnTo>
                    <a:lnTo>
                      <a:pt x="574" y="2363"/>
                    </a:lnTo>
                    <a:lnTo>
                      <a:pt x="2643" y="2363"/>
                    </a:lnTo>
                    <a:lnTo>
                      <a:pt x="2643" y="1958"/>
                    </a:lnTo>
                    <a:lnTo>
                      <a:pt x="3217" y="2363"/>
                    </a:lnTo>
                    <a:lnTo>
                      <a:pt x="3217" y="1958"/>
                    </a:lnTo>
                    <a:lnTo>
                      <a:pt x="3906" y="1958"/>
                    </a:lnTo>
                    <a:lnTo>
                      <a:pt x="3906" y="2363"/>
                    </a:lnTo>
                    <a:lnTo>
                      <a:pt x="5285" y="2363"/>
                    </a:lnTo>
                    <a:lnTo>
                      <a:pt x="5285" y="1958"/>
                    </a:lnTo>
                    <a:lnTo>
                      <a:pt x="4596" y="1958"/>
                    </a:lnTo>
                    <a:lnTo>
                      <a:pt x="5860" y="1553"/>
                    </a:lnTo>
                    <a:lnTo>
                      <a:pt x="5860" y="1215"/>
                    </a:lnTo>
                    <a:lnTo>
                      <a:pt x="7238" y="1215"/>
                    </a:lnTo>
                    <a:lnTo>
                      <a:pt x="7238" y="810"/>
                    </a:lnTo>
                    <a:lnTo>
                      <a:pt x="7813" y="810"/>
                    </a:lnTo>
                    <a:lnTo>
                      <a:pt x="7813" y="405"/>
                    </a:lnTo>
                    <a:lnTo>
                      <a:pt x="8502" y="405"/>
                    </a:lnTo>
                    <a:lnTo>
                      <a:pt x="8502" y="810"/>
                    </a:lnTo>
                    <a:lnTo>
                      <a:pt x="9881" y="810"/>
                    </a:lnTo>
                    <a:lnTo>
                      <a:pt x="9881" y="405"/>
                    </a:lnTo>
                    <a:lnTo>
                      <a:pt x="10455" y="810"/>
                    </a:lnTo>
                    <a:lnTo>
                      <a:pt x="10455" y="405"/>
                    </a:lnTo>
                    <a:lnTo>
                      <a:pt x="10455" y="1215"/>
                    </a:lnTo>
                    <a:lnTo>
                      <a:pt x="11145" y="1215"/>
                    </a:lnTo>
                    <a:lnTo>
                      <a:pt x="11145" y="810"/>
                    </a:lnTo>
                    <a:lnTo>
                      <a:pt x="11145" y="1215"/>
                    </a:lnTo>
                    <a:lnTo>
                      <a:pt x="11834" y="1215"/>
                    </a:lnTo>
                    <a:lnTo>
                      <a:pt x="12409" y="810"/>
                    </a:lnTo>
                    <a:lnTo>
                      <a:pt x="11834" y="405"/>
                    </a:lnTo>
                    <a:lnTo>
                      <a:pt x="12409" y="405"/>
                    </a:lnTo>
                    <a:lnTo>
                      <a:pt x="12409" y="810"/>
                    </a:lnTo>
                    <a:lnTo>
                      <a:pt x="13098" y="405"/>
                    </a:lnTo>
                    <a:lnTo>
                      <a:pt x="13098" y="810"/>
                    </a:lnTo>
                    <a:lnTo>
                      <a:pt x="12409" y="810"/>
                    </a:lnTo>
                    <a:lnTo>
                      <a:pt x="13098" y="810"/>
                    </a:lnTo>
                    <a:lnTo>
                      <a:pt x="13787" y="405"/>
                    </a:lnTo>
                    <a:lnTo>
                      <a:pt x="13787" y="1215"/>
                    </a:lnTo>
                    <a:lnTo>
                      <a:pt x="14477" y="1215"/>
                    </a:lnTo>
                    <a:lnTo>
                      <a:pt x="15051" y="810"/>
                    </a:lnTo>
                    <a:lnTo>
                      <a:pt x="15740" y="810"/>
                    </a:lnTo>
                    <a:lnTo>
                      <a:pt x="16430" y="405"/>
                    </a:lnTo>
                    <a:lnTo>
                      <a:pt x="17004" y="0"/>
                    </a:lnTo>
                    <a:lnTo>
                      <a:pt x="17694" y="0"/>
                    </a:lnTo>
                    <a:lnTo>
                      <a:pt x="18383" y="405"/>
                    </a:lnTo>
                    <a:lnTo>
                      <a:pt x="18383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54" name="Shape 2980"/>
              <p:cNvSpPr/>
              <p:nvPr/>
            </p:nvSpPr>
            <p:spPr>
              <a:xfrm>
                <a:off x="9697874" y="5575143"/>
                <a:ext cx="255635" cy="40439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224" y="0"/>
                    </a:moveTo>
                    <a:lnTo>
                      <a:pt x="6224" y="463"/>
                    </a:lnTo>
                    <a:lnTo>
                      <a:pt x="5492" y="463"/>
                    </a:lnTo>
                    <a:lnTo>
                      <a:pt x="5492" y="2237"/>
                    </a:lnTo>
                    <a:lnTo>
                      <a:pt x="6224" y="2700"/>
                    </a:lnTo>
                    <a:lnTo>
                      <a:pt x="6224" y="3086"/>
                    </a:lnTo>
                    <a:lnTo>
                      <a:pt x="6224" y="2700"/>
                    </a:lnTo>
                    <a:lnTo>
                      <a:pt x="6224" y="3549"/>
                    </a:lnTo>
                    <a:lnTo>
                      <a:pt x="5492" y="3549"/>
                    </a:lnTo>
                    <a:lnTo>
                      <a:pt x="5492" y="5323"/>
                    </a:lnTo>
                    <a:lnTo>
                      <a:pt x="4149" y="5323"/>
                    </a:lnTo>
                    <a:lnTo>
                      <a:pt x="4149" y="5786"/>
                    </a:lnTo>
                    <a:lnTo>
                      <a:pt x="5492" y="5786"/>
                    </a:lnTo>
                    <a:lnTo>
                      <a:pt x="5492" y="6171"/>
                    </a:lnTo>
                    <a:lnTo>
                      <a:pt x="5492" y="5786"/>
                    </a:lnTo>
                    <a:lnTo>
                      <a:pt x="6224" y="5786"/>
                    </a:lnTo>
                    <a:lnTo>
                      <a:pt x="6224" y="5323"/>
                    </a:lnTo>
                    <a:lnTo>
                      <a:pt x="6956" y="5323"/>
                    </a:lnTo>
                    <a:lnTo>
                      <a:pt x="6956" y="6171"/>
                    </a:lnTo>
                    <a:lnTo>
                      <a:pt x="7688" y="6171"/>
                    </a:lnTo>
                    <a:lnTo>
                      <a:pt x="7688" y="5786"/>
                    </a:lnTo>
                    <a:lnTo>
                      <a:pt x="8298" y="5786"/>
                    </a:lnTo>
                    <a:lnTo>
                      <a:pt x="8298" y="7097"/>
                    </a:lnTo>
                    <a:lnTo>
                      <a:pt x="6956" y="7097"/>
                    </a:lnTo>
                    <a:lnTo>
                      <a:pt x="6956" y="7483"/>
                    </a:lnTo>
                    <a:lnTo>
                      <a:pt x="7688" y="7946"/>
                    </a:lnTo>
                    <a:lnTo>
                      <a:pt x="8298" y="7946"/>
                    </a:lnTo>
                    <a:lnTo>
                      <a:pt x="8298" y="8409"/>
                    </a:lnTo>
                    <a:lnTo>
                      <a:pt x="7688" y="8409"/>
                    </a:lnTo>
                    <a:lnTo>
                      <a:pt x="8298" y="8409"/>
                    </a:lnTo>
                    <a:lnTo>
                      <a:pt x="8298" y="8871"/>
                    </a:lnTo>
                    <a:lnTo>
                      <a:pt x="6956" y="8871"/>
                    </a:lnTo>
                    <a:lnTo>
                      <a:pt x="6956" y="9720"/>
                    </a:lnTo>
                    <a:lnTo>
                      <a:pt x="6224" y="9720"/>
                    </a:lnTo>
                    <a:lnTo>
                      <a:pt x="6224" y="10569"/>
                    </a:lnTo>
                    <a:lnTo>
                      <a:pt x="5492" y="10569"/>
                    </a:lnTo>
                    <a:lnTo>
                      <a:pt x="6224" y="10569"/>
                    </a:lnTo>
                    <a:lnTo>
                      <a:pt x="5492" y="10569"/>
                    </a:lnTo>
                    <a:lnTo>
                      <a:pt x="5492" y="11031"/>
                    </a:lnTo>
                    <a:lnTo>
                      <a:pt x="6224" y="11031"/>
                    </a:lnTo>
                    <a:lnTo>
                      <a:pt x="6956" y="11494"/>
                    </a:lnTo>
                    <a:lnTo>
                      <a:pt x="6956" y="12343"/>
                    </a:lnTo>
                    <a:lnTo>
                      <a:pt x="6224" y="12806"/>
                    </a:lnTo>
                    <a:lnTo>
                      <a:pt x="6224" y="13269"/>
                    </a:lnTo>
                    <a:lnTo>
                      <a:pt x="6956" y="13269"/>
                    </a:lnTo>
                    <a:lnTo>
                      <a:pt x="6956" y="13654"/>
                    </a:lnTo>
                    <a:lnTo>
                      <a:pt x="7688" y="13654"/>
                    </a:lnTo>
                    <a:lnTo>
                      <a:pt x="7688" y="14117"/>
                    </a:lnTo>
                    <a:lnTo>
                      <a:pt x="6956" y="14580"/>
                    </a:lnTo>
                    <a:lnTo>
                      <a:pt x="6956" y="15043"/>
                    </a:lnTo>
                    <a:lnTo>
                      <a:pt x="6224" y="15429"/>
                    </a:lnTo>
                    <a:lnTo>
                      <a:pt x="5492" y="15891"/>
                    </a:lnTo>
                    <a:lnTo>
                      <a:pt x="4881" y="15891"/>
                    </a:lnTo>
                    <a:lnTo>
                      <a:pt x="4881" y="16740"/>
                    </a:lnTo>
                    <a:lnTo>
                      <a:pt x="3417" y="16740"/>
                    </a:lnTo>
                    <a:lnTo>
                      <a:pt x="3417" y="17203"/>
                    </a:lnTo>
                    <a:lnTo>
                      <a:pt x="2807" y="17203"/>
                    </a:lnTo>
                    <a:lnTo>
                      <a:pt x="2075" y="17666"/>
                    </a:lnTo>
                    <a:lnTo>
                      <a:pt x="1342" y="17666"/>
                    </a:lnTo>
                    <a:lnTo>
                      <a:pt x="1342" y="18129"/>
                    </a:lnTo>
                    <a:lnTo>
                      <a:pt x="610" y="18129"/>
                    </a:lnTo>
                    <a:lnTo>
                      <a:pt x="610" y="18514"/>
                    </a:lnTo>
                    <a:lnTo>
                      <a:pt x="0" y="18977"/>
                    </a:lnTo>
                    <a:lnTo>
                      <a:pt x="610" y="18977"/>
                    </a:lnTo>
                    <a:lnTo>
                      <a:pt x="610" y="19440"/>
                    </a:lnTo>
                    <a:lnTo>
                      <a:pt x="1342" y="19440"/>
                    </a:lnTo>
                    <a:lnTo>
                      <a:pt x="610" y="19440"/>
                    </a:lnTo>
                    <a:lnTo>
                      <a:pt x="610" y="19826"/>
                    </a:lnTo>
                    <a:lnTo>
                      <a:pt x="0" y="20289"/>
                    </a:lnTo>
                    <a:lnTo>
                      <a:pt x="0" y="20751"/>
                    </a:lnTo>
                    <a:lnTo>
                      <a:pt x="1342" y="20751"/>
                    </a:lnTo>
                    <a:lnTo>
                      <a:pt x="1342" y="21137"/>
                    </a:lnTo>
                    <a:lnTo>
                      <a:pt x="2075" y="21600"/>
                    </a:lnTo>
                    <a:lnTo>
                      <a:pt x="3417" y="21600"/>
                    </a:lnTo>
                    <a:lnTo>
                      <a:pt x="3417" y="21137"/>
                    </a:lnTo>
                    <a:lnTo>
                      <a:pt x="4149" y="21137"/>
                    </a:lnTo>
                    <a:lnTo>
                      <a:pt x="4149" y="20289"/>
                    </a:lnTo>
                    <a:lnTo>
                      <a:pt x="6224" y="20289"/>
                    </a:lnTo>
                    <a:lnTo>
                      <a:pt x="6956" y="19826"/>
                    </a:lnTo>
                    <a:lnTo>
                      <a:pt x="6956" y="20289"/>
                    </a:lnTo>
                    <a:lnTo>
                      <a:pt x="8298" y="20289"/>
                    </a:lnTo>
                    <a:lnTo>
                      <a:pt x="8298" y="20751"/>
                    </a:lnTo>
                    <a:lnTo>
                      <a:pt x="9031" y="20751"/>
                    </a:lnTo>
                    <a:lnTo>
                      <a:pt x="9763" y="20289"/>
                    </a:lnTo>
                    <a:lnTo>
                      <a:pt x="10373" y="20289"/>
                    </a:lnTo>
                    <a:lnTo>
                      <a:pt x="10373" y="19826"/>
                    </a:lnTo>
                    <a:lnTo>
                      <a:pt x="11837" y="19826"/>
                    </a:lnTo>
                    <a:lnTo>
                      <a:pt x="11837" y="19440"/>
                    </a:lnTo>
                    <a:lnTo>
                      <a:pt x="11105" y="19440"/>
                    </a:lnTo>
                    <a:lnTo>
                      <a:pt x="11105" y="18129"/>
                    </a:lnTo>
                    <a:lnTo>
                      <a:pt x="11837" y="18129"/>
                    </a:lnTo>
                    <a:lnTo>
                      <a:pt x="11837" y="17666"/>
                    </a:lnTo>
                    <a:lnTo>
                      <a:pt x="12569" y="17666"/>
                    </a:lnTo>
                    <a:lnTo>
                      <a:pt x="13180" y="17203"/>
                    </a:lnTo>
                    <a:lnTo>
                      <a:pt x="13180" y="17666"/>
                    </a:lnTo>
                    <a:lnTo>
                      <a:pt x="13912" y="17666"/>
                    </a:lnTo>
                    <a:lnTo>
                      <a:pt x="13912" y="16740"/>
                    </a:lnTo>
                    <a:lnTo>
                      <a:pt x="14644" y="16740"/>
                    </a:lnTo>
                    <a:lnTo>
                      <a:pt x="14644" y="16354"/>
                    </a:lnTo>
                    <a:lnTo>
                      <a:pt x="15254" y="15891"/>
                    </a:lnTo>
                    <a:lnTo>
                      <a:pt x="15254" y="15429"/>
                    </a:lnTo>
                    <a:lnTo>
                      <a:pt x="17451" y="15429"/>
                    </a:lnTo>
                    <a:lnTo>
                      <a:pt x="18793" y="15043"/>
                    </a:lnTo>
                    <a:lnTo>
                      <a:pt x="18061" y="15043"/>
                    </a:lnTo>
                    <a:lnTo>
                      <a:pt x="18061" y="14117"/>
                    </a:lnTo>
                    <a:lnTo>
                      <a:pt x="18793" y="14117"/>
                    </a:lnTo>
                    <a:lnTo>
                      <a:pt x="18793" y="13654"/>
                    </a:lnTo>
                    <a:lnTo>
                      <a:pt x="19525" y="13269"/>
                    </a:lnTo>
                    <a:lnTo>
                      <a:pt x="18793" y="13269"/>
                    </a:lnTo>
                    <a:lnTo>
                      <a:pt x="18793" y="12806"/>
                    </a:lnTo>
                    <a:lnTo>
                      <a:pt x="20136" y="12806"/>
                    </a:lnTo>
                    <a:lnTo>
                      <a:pt x="20136" y="12343"/>
                    </a:lnTo>
                    <a:lnTo>
                      <a:pt x="20868" y="12343"/>
                    </a:lnTo>
                    <a:lnTo>
                      <a:pt x="20868" y="11494"/>
                    </a:lnTo>
                    <a:lnTo>
                      <a:pt x="21600" y="11494"/>
                    </a:lnTo>
                    <a:lnTo>
                      <a:pt x="21600" y="11031"/>
                    </a:lnTo>
                    <a:lnTo>
                      <a:pt x="20868" y="11031"/>
                    </a:lnTo>
                    <a:lnTo>
                      <a:pt x="19525" y="10183"/>
                    </a:lnTo>
                    <a:lnTo>
                      <a:pt x="19525" y="9720"/>
                    </a:lnTo>
                    <a:lnTo>
                      <a:pt x="18793" y="9257"/>
                    </a:lnTo>
                    <a:lnTo>
                      <a:pt x="18793" y="8871"/>
                    </a:lnTo>
                    <a:lnTo>
                      <a:pt x="19525" y="8409"/>
                    </a:lnTo>
                    <a:lnTo>
                      <a:pt x="19525" y="7097"/>
                    </a:lnTo>
                    <a:lnTo>
                      <a:pt x="18793" y="6634"/>
                    </a:lnTo>
                    <a:lnTo>
                      <a:pt x="18793" y="6171"/>
                    </a:lnTo>
                    <a:lnTo>
                      <a:pt x="18061" y="5786"/>
                    </a:lnTo>
                    <a:lnTo>
                      <a:pt x="18061" y="4860"/>
                    </a:lnTo>
                    <a:lnTo>
                      <a:pt x="17451" y="4860"/>
                    </a:lnTo>
                    <a:lnTo>
                      <a:pt x="16719" y="4474"/>
                    </a:lnTo>
                    <a:lnTo>
                      <a:pt x="16719" y="3549"/>
                    </a:lnTo>
                    <a:lnTo>
                      <a:pt x="15986" y="3549"/>
                    </a:lnTo>
                    <a:lnTo>
                      <a:pt x="15986" y="3086"/>
                    </a:lnTo>
                    <a:lnTo>
                      <a:pt x="14644" y="3086"/>
                    </a:lnTo>
                    <a:lnTo>
                      <a:pt x="15254" y="2700"/>
                    </a:lnTo>
                    <a:lnTo>
                      <a:pt x="14644" y="2237"/>
                    </a:lnTo>
                    <a:lnTo>
                      <a:pt x="13912" y="2237"/>
                    </a:lnTo>
                    <a:lnTo>
                      <a:pt x="13180" y="1774"/>
                    </a:lnTo>
                    <a:lnTo>
                      <a:pt x="13180" y="2237"/>
                    </a:lnTo>
                    <a:lnTo>
                      <a:pt x="12569" y="1774"/>
                    </a:lnTo>
                    <a:lnTo>
                      <a:pt x="12569" y="2237"/>
                    </a:lnTo>
                    <a:lnTo>
                      <a:pt x="11105" y="2237"/>
                    </a:lnTo>
                    <a:lnTo>
                      <a:pt x="11105" y="2700"/>
                    </a:lnTo>
                    <a:lnTo>
                      <a:pt x="11105" y="2237"/>
                    </a:lnTo>
                    <a:lnTo>
                      <a:pt x="9763" y="2237"/>
                    </a:lnTo>
                    <a:lnTo>
                      <a:pt x="9763" y="2700"/>
                    </a:lnTo>
                    <a:lnTo>
                      <a:pt x="9763" y="2237"/>
                    </a:lnTo>
                    <a:lnTo>
                      <a:pt x="9031" y="2237"/>
                    </a:lnTo>
                    <a:lnTo>
                      <a:pt x="9031" y="1774"/>
                    </a:lnTo>
                    <a:lnTo>
                      <a:pt x="8298" y="1774"/>
                    </a:lnTo>
                    <a:lnTo>
                      <a:pt x="7688" y="1389"/>
                    </a:lnTo>
                    <a:lnTo>
                      <a:pt x="8298" y="926"/>
                    </a:lnTo>
                    <a:lnTo>
                      <a:pt x="7688" y="926"/>
                    </a:lnTo>
                    <a:lnTo>
                      <a:pt x="7688" y="463"/>
                    </a:lnTo>
                    <a:lnTo>
                      <a:pt x="6956" y="463"/>
                    </a:lnTo>
                    <a:lnTo>
                      <a:pt x="6956" y="0"/>
                    </a:lnTo>
                    <a:lnTo>
                      <a:pt x="6224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55" name="Shape 2981"/>
              <p:cNvSpPr/>
              <p:nvPr/>
            </p:nvSpPr>
            <p:spPr>
              <a:xfrm>
                <a:off x="8442809" y="4256530"/>
                <a:ext cx="1237735" cy="89111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383" y="18379"/>
                    </a:moveTo>
                    <a:lnTo>
                      <a:pt x="13535" y="18169"/>
                    </a:lnTo>
                    <a:lnTo>
                      <a:pt x="13535" y="17994"/>
                    </a:lnTo>
                    <a:lnTo>
                      <a:pt x="13383" y="17994"/>
                    </a:lnTo>
                    <a:lnTo>
                      <a:pt x="13383" y="17784"/>
                    </a:lnTo>
                    <a:lnTo>
                      <a:pt x="13535" y="17784"/>
                    </a:lnTo>
                    <a:lnTo>
                      <a:pt x="13535" y="17574"/>
                    </a:lnTo>
                    <a:lnTo>
                      <a:pt x="13837" y="17574"/>
                    </a:lnTo>
                    <a:lnTo>
                      <a:pt x="13837" y="17189"/>
                    </a:lnTo>
                    <a:lnTo>
                      <a:pt x="13686" y="17189"/>
                    </a:lnTo>
                    <a:lnTo>
                      <a:pt x="13837" y="17189"/>
                    </a:lnTo>
                    <a:lnTo>
                      <a:pt x="13686" y="17189"/>
                    </a:lnTo>
                    <a:lnTo>
                      <a:pt x="13837" y="16979"/>
                    </a:lnTo>
                    <a:lnTo>
                      <a:pt x="13837" y="16804"/>
                    </a:lnTo>
                    <a:lnTo>
                      <a:pt x="14114" y="16804"/>
                    </a:lnTo>
                    <a:lnTo>
                      <a:pt x="14114" y="16979"/>
                    </a:lnTo>
                    <a:lnTo>
                      <a:pt x="14543" y="16979"/>
                    </a:lnTo>
                    <a:lnTo>
                      <a:pt x="14543" y="17189"/>
                    </a:lnTo>
                    <a:lnTo>
                      <a:pt x="15274" y="17189"/>
                    </a:lnTo>
                    <a:lnTo>
                      <a:pt x="15274" y="17399"/>
                    </a:lnTo>
                    <a:lnTo>
                      <a:pt x="15400" y="17399"/>
                    </a:lnTo>
                    <a:lnTo>
                      <a:pt x="15400" y="17189"/>
                    </a:lnTo>
                    <a:lnTo>
                      <a:pt x="15551" y="17189"/>
                    </a:lnTo>
                    <a:lnTo>
                      <a:pt x="15551" y="17399"/>
                    </a:lnTo>
                    <a:lnTo>
                      <a:pt x="15551" y="17189"/>
                    </a:lnTo>
                    <a:lnTo>
                      <a:pt x="15551" y="17399"/>
                    </a:lnTo>
                    <a:lnTo>
                      <a:pt x="15551" y="17189"/>
                    </a:lnTo>
                    <a:lnTo>
                      <a:pt x="15702" y="17399"/>
                    </a:lnTo>
                    <a:lnTo>
                      <a:pt x="15702" y="17189"/>
                    </a:lnTo>
                    <a:lnTo>
                      <a:pt x="15702" y="17399"/>
                    </a:lnTo>
                    <a:lnTo>
                      <a:pt x="15853" y="17399"/>
                    </a:lnTo>
                    <a:lnTo>
                      <a:pt x="15702" y="17399"/>
                    </a:lnTo>
                    <a:lnTo>
                      <a:pt x="15702" y="17574"/>
                    </a:lnTo>
                    <a:lnTo>
                      <a:pt x="15853" y="17574"/>
                    </a:lnTo>
                    <a:lnTo>
                      <a:pt x="15853" y="17784"/>
                    </a:lnTo>
                    <a:lnTo>
                      <a:pt x="16862" y="17784"/>
                    </a:lnTo>
                    <a:lnTo>
                      <a:pt x="16988" y="17574"/>
                    </a:lnTo>
                    <a:lnTo>
                      <a:pt x="17290" y="17784"/>
                    </a:lnTo>
                    <a:lnTo>
                      <a:pt x="17290" y="18169"/>
                    </a:lnTo>
                    <a:lnTo>
                      <a:pt x="17567" y="18379"/>
                    </a:lnTo>
                    <a:lnTo>
                      <a:pt x="17719" y="18169"/>
                    </a:lnTo>
                    <a:lnTo>
                      <a:pt x="17996" y="18169"/>
                    </a:lnTo>
                    <a:lnTo>
                      <a:pt x="18147" y="18589"/>
                    </a:lnTo>
                    <a:lnTo>
                      <a:pt x="18424" y="18379"/>
                    </a:lnTo>
                    <a:lnTo>
                      <a:pt x="18424" y="18169"/>
                    </a:lnTo>
                    <a:lnTo>
                      <a:pt x="19155" y="17574"/>
                    </a:lnTo>
                    <a:lnTo>
                      <a:pt x="19432" y="17574"/>
                    </a:lnTo>
                    <a:lnTo>
                      <a:pt x="19886" y="18169"/>
                    </a:lnTo>
                    <a:lnTo>
                      <a:pt x="20012" y="18169"/>
                    </a:lnTo>
                    <a:lnTo>
                      <a:pt x="20466" y="17784"/>
                    </a:lnTo>
                    <a:lnTo>
                      <a:pt x="21474" y="17189"/>
                    </a:lnTo>
                    <a:lnTo>
                      <a:pt x="21323" y="16979"/>
                    </a:lnTo>
                    <a:lnTo>
                      <a:pt x="21474" y="16804"/>
                    </a:lnTo>
                    <a:lnTo>
                      <a:pt x="21600" y="16804"/>
                    </a:lnTo>
                    <a:lnTo>
                      <a:pt x="21600" y="16594"/>
                    </a:lnTo>
                    <a:lnTo>
                      <a:pt x="21474" y="16594"/>
                    </a:lnTo>
                    <a:lnTo>
                      <a:pt x="21172" y="16174"/>
                    </a:lnTo>
                    <a:lnTo>
                      <a:pt x="21020" y="16174"/>
                    </a:lnTo>
                    <a:lnTo>
                      <a:pt x="21020" y="15999"/>
                    </a:lnTo>
                    <a:lnTo>
                      <a:pt x="20894" y="15999"/>
                    </a:lnTo>
                    <a:lnTo>
                      <a:pt x="20894" y="15789"/>
                    </a:lnTo>
                    <a:lnTo>
                      <a:pt x="20743" y="15999"/>
                    </a:lnTo>
                    <a:lnTo>
                      <a:pt x="20743" y="15789"/>
                    </a:lnTo>
                    <a:lnTo>
                      <a:pt x="20592" y="15789"/>
                    </a:lnTo>
                    <a:lnTo>
                      <a:pt x="20592" y="15579"/>
                    </a:lnTo>
                    <a:lnTo>
                      <a:pt x="20466" y="15579"/>
                    </a:lnTo>
                    <a:lnTo>
                      <a:pt x="20466" y="15404"/>
                    </a:lnTo>
                    <a:lnTo>
                      <a:pt x="20592" y="15404"/>
                    </a:lnTo>
                    <a:lnTo>
                      <a:pt x="20592" y="15194"/>
                    </a:lnTo>
                    <a:lnTo>
                      <a:pt x="20466" y="15194"/>
                    </a:lnTo>
                    <a:lnTo>
                      <a:pt x="20592" y="15194"/>
                    </a:lnTo>
                    <a:lnTo>
                      <a:pt x="20592" y="14773"/>
                    </a:lnTo>
                    <a:lnTo>
                      <a:pt x="20466" y="14598"/>
                    </a:lnTo>
                    <a:lnTo>
                      <a:pt x="20466" y="14388"/>
                    </a:lnTo>
                    <a:lnTo>
                      <a:pt x="20315" y="14178"/>
                    </a:lnTo>
                    <a:lnTo>
                      <a:pt x="20315" y="14388"/>
                    </a:lnTo>
                    <a:lnTo>
                      <a:pt x="20163" y="14178"/>
                    </a:lnTo>
                    <a:lnTo>
                      <a:pt x="20163" y="14003"/>
                    </a:lnTo>
                    <a:lnTo>
                      <a:pt x="20012" y="13793"/>
                    </a:lnTo>
                    <a:lnTo>
                      <a:pt x="19886" y="14003"/>
                    </a:lnTo>
                    <a:lnTo>
                      <a:pt x="19886" y="13793"/>
                    </a:lnTo>
                    <a:lnTo>
                      <a:pt x="19735" y="14003"/>
                    </a:lnTo>
                    <a:lnTo>
                      <a:pt x="19584" y="14003"/>
                    </a:lnTo>
                    <a:lnTo>
                      <a:pt x="19432" y="13793"/>
                    </a:lnTo>
                    <a:lnTo>
                      <a:pt x="19432" y="13583"/>
                    </a:lnTo>
                    <a:lnTo>
                      <a:pt x="19306" y="13373"/>
                    </a:lnTo>
                    <a:lnTo>
                      <a:pt x="19306" y="13198"/>
                    </a:lnTo>
                    <a:lnTo>
                      <a:pt x="19004" y="12988"/>
                    </a:lnTo>
                    <a:lnTo>
                      <a:pt x="18575" y="12988"/>
                    </a:lnTo>
                    <a:lnTo>
                      <a:pt x="18575" y="13198"/>
                    </a:lnTo>
                    <a:lnTo>
                      <a:pt x="18424" y="13198"/>
                    </a:lnTo>
                    <a:lnTo>
                      <a:pt x="18298" y="12988"/>
                    </a:lnTo>
                    <a:lnTo>
                      <a:pt x="18147" y="12778"/>
                    </a:lnTo>
                    <a:lnTo>
                      <a:pt x="17996" y="12603"/>
                    </a:lnTo>
                    <a:lnTo>
                      <a:pt x="18147" y="12603"/>
                    </a:lnTo>
                    <a:lnTo>
                      <a:pt x="18147" y="12393"/>
                    </a:lnTo>
                    <a:lnTo>
                      <a:pt x="17996" y="12393"/>
                    </a:lnTo>
                    <a:lnTo>
                      <a:pt x="17996" y="12183"/>
                    </a:lnTo>
                    <a:lnTo>
                      <a:pt x="17870" y="12183"/>
                    </a:lnTo>
                    <a:lnTo>
                      <a:pt x="17870" y="11798"/>
                    </a:lnTo>
                    <a:lnTo>
                      <a:pt x="17719" y="12008"/>
                    </a:lnTo>
                    <a:lnTo>
                      <a:pt x="17567" y="12008"/>
                    </a:lnTo>
                    <a:lnTo>
                      <a:pt x="17567" y="12183"/>
                    </a:lnTo>
                    <a:lnTo>
                      <a:pt x="17416" y="12183"/>
                    </a:lnTo>
                    <a:lnTo>
                      <a:pt x="17416" y="12393"/>
                    </a:lnTo>
                    <a:lnTo>
                      <a:pt x="17139" y="12393"/>
                    </a:lnTo>
                    <a:lnTo>
                      <a:pt x="17139" y="12603"/>
                    </a:lnTo>
                    <a:lnTo>
                      <a:pt x="16862" y="12603"/>
                    </a:lnTo>
                    <a:lnTo>
                      <a:pt x="16862" y="12988"/>
                    </a:lnTo>
                    <a:lnTo>
                      <a:pt x="16408" y="12988"/>
                    </a:lnTo>
                    <a:lnTo>
                      <a:pt x="16131" y="12778"/>
                    </a:lnTo>
                    <a:lnTo>
                      <a:pt x="15400" y="12778"/>
                    </a:lnTo>
                    <a:lnTo>
                      <a:pt x="15400" y="12988"/>
                    </a:lnTo>
                    <a:lnTo>
                      <a:pt x="15274" y="12988"/>
                    </a:lnTo>
                    <a:lnTo>
                      <a:pt x="15274" y="12778"/>
                    </a:lnTo>
                    <a:lnTo>
                      <a:pt x="15123" y="12778"/>
                    </a:lnTo>
                    <a:lnTo>
                      <a:pt x="15123" y="12603"/>
                    </a:lnTo>
                    <a:lnTo>
                      <a:pt x="14971" y="12603"/>
                    </a:lnTo>
                    <a:lnTo>
                      <a:pt x="14971" y="12393"/>
                    </a:lnTo>
                    <a:lnTo>
                      <a:pt x="14845" y="12393"/>
                    </a:lnTo>
                    <a:lnTo>
                      <a:pt x="14845" y="12183"/>
                    </a:lnTo>
                    <a:lnTo>
                      <a:pt x="14694" y="12183"/>
                    </a:lnTo>
                    <a:lnTo>
                      <a:pt x="14694" y="11378"/>
                    </a:lnTo>
                    <a:lnTo>
                      <a:pt x="14392" y="11378"/>
                    </a:lnTo>
                    <a:lnTo>
                      <a:pt x="14392" y="11203"/>
                    </a:lnTo>
                    <a:lnTo>
                      <a:pt x="13963" y="11378"/>
                    </a:lnTo>
                    <a:lnTo>
                      <a:pt x="13963" y="11203"/>
                    </a:lnTo>
                    <a:lnTo>
                      <a:pt x="13837" y="10993"/>
                    </a:lnTo>
                    <a:lnTo>
                      <a:pt x="13686" y="10782"/>
                    </a:lnTo>
                    <a:lnTo>
                      <a:pt x="12678" y="10782"/>
                    </a:lnTo>
                    <a:lnTo>
                      <a:pt x="12526" y="10607"/>
                    </a:lnTo>
                    <a:lnTo>
                      <a:pt x="12526" y="10397"/>
                    </a:lnTo>
                    <a:lnTo>
                      <a:pt x="12375" y="10397"/>
                    </a:lnTo>
                    <a:lnTo>
                      <a:pt x="12375" y="10187"/>
                    </a:lnTo>
                    <a:lnTo>
                      <a:pt x="11947" y="10187"/>
                    </a:lnTo>
                    <a:lnTo>
                      <a:pt x="11821" y="9977"/>
                    </a:lnTo>
                    <a:lnTo>
                      <a:pt x="11821" y="9802"/>
                    </a:lnTo>
                    <a:lnTo>
                      <a:pt x="11670" y="9592"/>
                    </a:lnTo>
                    <a:lnTo>
                      <a:pt x="11670" y="9382"/>
                    </a:lnTo>
                    <a:lnTo>
                      <a:pt x="11518" y="9382"/>
                    </a:lnTo>
                    <a:lnTo>
                      <a:pt x="11367" y="9592"/>
                    </a:lnTo>
                    <a:lnTo>
                      <a:pt x="11090" y="9592"/>
                    </a:lnTo>
                    <a:lnTo>
                      <a:pt x="10939" y="9382"/>
                    </a:lnTo>
                    <a:lnTo>
                      <a:pt x="10510" y="9382"/>
                    </a:lnTo>
                    <a:lnTo>
                      <a:pt x="10510" y="9592"/>
                    </a:lnTo>
                    <a:lnTo>
                      <a:pt x="10359" y="9592"/>
                    </a:lnTo>
                    <a:lnTo>
                      <a:pt x="10359" y="8997"/>
                    </a:lnTo>
                    <a:lnTo>
                      <a:pt x="10510" y="8787"/>
                    </a:lnTo>
                    <a:lnTo>
                      <a:pt x="10510" y="8192"/>
                    </a:lnTo>
                    <a:lnTo>
                      <a:pt x="10082" y="8192"/>
                    </a:lnTo>
                    <a:lnTo>
                      <a:pt x="10082" y="7597"/>
                    </a:lnTo>
                    <a:lnTo>
                      <a:pt x="9930" y="7387"/>
                    </a:lnTo>
                    <a:lnTo>
                      <a:pt x="9930" y="7177"/>
                    </a:lnTo>
                    <a:lnTo>
                      <a:pt x="10082" y="7177"/>
                    </a:lnTo>
                    <a:lnTo>
                      <a:pt x="10082" y="7002"/>
                    </a:lnTo>
                    <a:lnTo>
                      <a:pt x="10233" y="7002"/>
                    </a:lnTo>
                    <a:lnTo>
                      <a:pt x="10233" y="6582"/>
                    </a:lnTo>
                    <a:lnTo>
                      <a:pt x="9930" y="6582"/>
                    </a:lnTo>
                    <a:lnTo>
                      <a:pt x="9930" y="6196"/>
                    </a:lnTo>
                    <a:lnTo>
                      <a:pt x="9502" y="6196"/>
                    </a:lnTo>
                    <a:lnTo>
                      <a:pt x="9502" y="5986"/>
                    </a:lnTo>
                    <a:lnTo>
                      <a:pt x="9225" y="5986"/>
                    </a:lnTo>
                    <a:lnTo>
                      <a:pt x="9225" y="5601"/>
                    </a:lnTo>
                    <a:lnTo>
                      <a:pt x="8922" y="5601"/>
                    </a:lnTo>
                    <a:lnTo>
                      <a:pt x="8922" y="5986"/>
                    </a:lnTo>
                    <a:lnTo>
                      <a:pt x="8796" y="5986"/>
                    </a:lnTo>
                    <a:lnTo>
                      <a:pt x="8796" y="6196"/>
                    </a:lnTo>
                    <a:lnTo>
                      <a:pt x="8645" y="6196"/>
                    </a:lnTo>
                    <a:lnTo>
                      <a:pt x="8645" y="5811"/>
                    </a:lnTo>
                    <a:lnTo>
                      <a:pt x="8343" y="5811"/>
                    </a:lnTo>
                    <a:lnTo>
                      <a:pt x="8343" y="5986"/>
                    </a:lnTo>
                    <a:lnTo>
                      <a:pt x="7914" y="5986"/>
                    </a:lnTo>
                    <a:lnTo>
                      <a:pt x="7914" y="6196"/>
                    </a:lnTo>
                    <a:lnTo>
                      <a:pt x="7763" y="6196"/>
                    </a:lnTo>
                    <a:lnTo>
                      <a:pt x="7763" y="5986"/>
                    </a:lnTo>
                    <a:lnTo>
                      <a:pt x="7486" y="5986"/>
                    </a:lnTo>
                    <a:lnTo>
                      <a:pt x="7486" y="5811"/>
                    </a:lnTo>
                    <a:lnTo>
                      <a:pt x="7334" y="5811"/>
                    </a:lnTo>
                    <a:lnTo>
                      <a:pt x="7486" y="5601"/>
                    </a:lnTo>
                    <a:lnTo>
                      <a:pt x="7208" y="5601"/>
                    </a:lnTo>
                    <a:lnTo>
                      <a:pt x="7208" y="5181"/>
                    </a:lnTo>
                    <a:lnTo>
                      <a:pt x="7334" y="5181"/>
                    </a:lnTo>
                    <a:lnTo>
                      <a:pt x="7334" y="5006"/>
                    </a:lnTo>
                    <a:lnTo>
                      <a:pt x="7486" y="4796"/>
                    </a:lnTo>
                    <a:lnTo>
                      <a:pt x="7334" y="4796"/>
                    </a:lnTo>
                    <a:lnTo>
                      <a:pt x="7334" y="4586"/>
                    </a:lnTo>
                    <a:lnTo>
                      <a:pt x="7057" y="4586"/>
                    </a:lnTo>
                    <a:lnTo>
                      <a:pt x="7057" y="4411"/>
                    </a:lnTo>
                    <a:lnTo>
                      <a:pt x="6906" y="4411"/>
                    </a:lnTo>
                    <a:lnTo>
                      <a:pt x="6906" y="4201"/>
                    </a:lnTo>
                    <a:lnTo>
                      <a:pt x="6477" y="4201"/>
                    </a:lnTo>
                    <a:lnTo>
                      <a:pt x="6200" y="3991"/>
                    </a:lnTo>
                    <a:lnTo>
                      <a:pt x="6049" y="4201"/>
                    </a:lnTo>
                    <a:lnTo>
                      <a:pt x="5621" y="4201"/>
                    </a:lnTo>
                    <a:lnTo>
                      <a:pt x="5621" y="3991"/>
                    </a:lnTo>
                    <a:lnTo>
                      <a:pt x="5621" y="4201"/>
                    </a:lnTo>
                    <a:lnTo>
                      <a:pt x="5192" y="4201"/>
                    </a:lnTo>
                    <a:lnTo>
                      <a:pt x="5192" y="3991"/>
                    </a:lnTo>
                    <a:lnTo>
                      <a:pt x="5041" y="3991"/>
                    </a:lnTo>
                    <a:lnTo>
                      <a:pt x="5041" y="4201"/>
                    </a:lnTo>
                    <a:lnTo>
                      <a:pt x="4738" y="4201"/>
                    </a:lnTo>
                    <a:lnTo>
                      <a:pt x="4738" y="3991"/>
                    </a:lnTo>
                    <a:lnTo>
                      <a:pt x="4612" y="3781"/>
                    </a:lnTo>
                    <a:lnTo>
                      <a:pt x="4738" y="3781"/>
                    </a:lnTo>
                    <a:lnTo>
                      <a:pt x="4738" y="3606"/>
                    </a:lnTo>
                    <a:lnTo>
                      <a:pt x="4612" y="3396"/>
                    </a:lnTo>
                    <a:lnTo>
                      <a:pt x="4461" y="3396"/>
                    </a:lnTo>
                    <a:lnTo>
                      <a:pt x="4461" y="3186"/>
                    </a:lnTo>
                    <a:lnTo>
                      <a:pt x="4310" y="3396"/>
                    </a:lnTo>
                    <a:lnTo>
                      <a:pt x="4310" y="3186"/>
                    </a:lnTo>
                    <a:lnTo>
                      <a:pt x="4184" y="3186"/>
                    </a:lnTo>
                    <a:lnTo>
                      <a:pt x="4184" y="2801"/>
                    </a:lnTo>
                    <a:lnTo>
                      <a:pt x="4461" y="2801"/>
                    </a:lnTo>
                    <a:lnTo>
                      <a:pt x="4461" y="2381"/>
                    </a:lnTo>
                    <a:lnTo>
                      <a:pt x="4612" y="2381"/>
                    </a:lnTo>
                    <a:lnTo>
                      <a:pt x="4461" y="2381"/>
                    </a:lnTo>
                    <a:lnTo>
                      <a:pt x="4461" y="2206"/>
                    </a:lnTo>
                    <a:lnTo>
                      <a:pt x="4612" y="2206"/>
                    </a:lnTo>
                    <a:lnTo>
                      <a:pt x="4612" y="1995"/>
                    </a:lnTo>
                    <a:lnTo>
                      <a:pt x="4738" y="1785"/>
                    </a:lnTo>
                    <a:lnTo>
                      <a:pt x="4738" y="1400"/>
                    </a:lnTo>
                    <a:lnTo>
                      <a:pt x="4890" y="1400"/>
                    </a:lnTo>
                    <a:lnTo>
                      <a:pt x="4890" y="1190"/>
                    </a:lnTo>
                    <a:lnTo>
                      <a:pt x="4738" y="1190"/>
                    </a:lnTo>
                    <a:lnTo>
                      <a:pt x="4612" y="980"/>
                    </a:lnTo>
                    <a:lnTo>
                      <a:pt x="4612" y="595"/>
                    </a:lnTo>
                    <a:lnTo>
                      <a:pt x="4738" y="595"/>
                    </a:lnTo>
                    <a:lnTo>
                      <a:pt x="4612" y="595"/>
                    </a:lnTo>
                    <a:lnTo>
                      <a:pt x="4612" y="210"/>
                    </a:lnTo>
                    <a:lnTo>
                      <a:pt x="4461" y="0"/>
                    </a:lnTo>
                    <a:lnTo>
                      <a:pt x="4310" y="0"/>
                    </a:lnTo>
                    <a:lnTo>
                      <a:pt x="4310" y="210"/>
                    </a:lnTo>
                    <a:lnTo>
                      <a:pt x="4033" y="210"/>
                    </a:lnTo>
                    <a:lnTo>
                      <a:pt x="4033" y="385"/>
                    </a:lnTo>
                    <a:lnTo>
                      <a:pt x="3881" y="385"/>
                    </a:lnTo>
                    <a:lnTo>
                      <a:pt x="3881" y="595"/>
                    </a:lnTo>
                    <a:lnTo>
                      <a:pt x="3730" y="595"/>
                    </a:lnTo>
                    <a:lnTo>
                      <a:pt x="3730" y="805"/>
                    </a:lnTo>
                    <a:lnTo>
                      <a:pt x="3604" y="805"/>
                    </a:lnTo>
                    <a:lnTo>
                      <a:pt x="3604" y="980"/>
                    </a:lnTo>
                    <a:lnTo>
                      <a:pt x="3453" y="980"/>
                    </a:lnTo>
                    <a:lnTo>
                      <a:pt x="3453" y="1190"/>
                    </a:lnTo>
                    <a:lnTo>
                      <a:pt x="3176" y="1190"/>
                    </a:lnTo>
                    <a:lnTo>
                      <a:pt x="3176" y="1400"/>
                    </a:lnTo>
                    <a:lnTo>
                      <a:pt x="2873" y="1400"/>
                    </a:lnTo>
                    <a:lnTo>
                      <a:pt x="3025" y="1190"/>
                    </a:lnTo>
                    <a:lnTo>
                      <a:pt x="2873" y="1190"/>
                    </a:lnTo>
                    <a:lnTo>
                      <a:pt x="2873" y="805"/>
                    </a:lnTo>
                    <a:lnTo>
                      <a:pt x="2596" y="805"/>
                    </a:lnTo>
                    <a:lnTo>
                      <a:pt x="2596" y="980"/>
                    </a:lnTo>
                    <a:lnTo>
                      <a:pt x="2294" y="980"/>
                    </a:lnTo>
                    <a:lnTo>
                      <a:pt x="2294" y="1190"/>
                    </a:lnTo>
                    <a:lnTo>
                      <a:pt x="2168" y="1190"/>
                    </a:lnTo>
                    <a:lnTo>
                      <a:pt x="2168" y="1610"/>
                    </a:lnTo>
                    <a:lnTo>
                      <a:pt x="2016" y="1610"/>
                    </a:lnTo>
                    <a:lnTo>
                      <a:pt x="2016" y="1785"/>
                    </a:lnTo>
                    <a:lnTo>
                      <a:pt x="1865" y="1785"/>
                    </a:lnTo>
                    <a:lnTo>
                      <a:pt x="1865" y="1995"/>
                    </a:lnTo>
                    <a:lnTo>
                      <a:pt x="2016" y="1995"/>
                    </a:lnTo>
                    <a:lnTo>
                      <a:pt x="1865" y="1995"/>
                    </a:lnTo>
                    <a:lnTo>
                      <a:pt x="1865" y="2381"/>
                    </a:lnTo>
                    <a:lnTo>
                      <a:pt x="1714" y="2381"/>
                    </a:lnTo>
                    <a:lnTo>
                      <a:pt x="1714" y="2801"/>
                    </a:lnTo>
                    <a:lnTo>
                      <a:pt x="1865" y="2801"/>
                    </a:lnTo>
                    <a:lnTo>
                      <a:pt x="1865" y="3011"/>
                    </a:lnTo>
                    <a:lnTo>
                      <a:pt x="1714" y="3011"/>
                    </a:lnTo>
                    <a:lnTo>
                      <a:pt x="1714" y="3186"/>
                    </a:lnTo>
                    <a:lnTo>
                      <a:pt x="1437" y="3186"/>
                    </a:lnTo>
                    <a:lnTo>
                      <a:pt x="1437" y="3606"/>
                    </a:lnTo>
                    <a:lnTo>
                      <a:pt x="1285" y="3396"/>
                    </a:lnTo>
                    <a:lnTo>
                      <a:pt x="1285" y="3781"/>
                    </a:lnTo>
                    <a:lnTo>
                      <a:pt x="1159" y="3991"/>
                    </a:lnTo>
                    <a:lnTo>
                      <a:pt x="1159" y="4201"/>
                    </a:lnTo>
                    <a:lnTo>
                      <a:pt x="1008" y="4201"/>
                    </a:lnTo>
                    <a:lnTo>
                      <a:pt x="1008" y="4411"/>
                    </a:lnTo>
                    <a:lnTo>
                      <a:pt x="857" y="4411"/>
                    </a:lnTo>
                    <a:lnTo>
                      <a:pt x="1008" y="4411"/>
                    </a:lnTo>
                    <a:lnTo>
                      <a:pt x="857" y="4586"/>
                    </a:lnTo>
                    <a:lnTo>
                      <a:pt x="857" y="4411"/>
                    </a:lnTo>
                    <a:lnTo>
                      <a:pt x="857" y="4796"/>
                    </a:lnTo>
                    <a:lnTo>
                      <a:pt x="706" y="4796"/>
                    </a:lnTo>
                    <a:lnTo>
                      <a:pt x="706" y="5006"/>
                    </a:lnTo>
                    <a:lnTo>
                      <a:pt x="580" y="5006"/>
                    </a:lnTo>
                    <a:lnTo>
                      <a:pt x="580" y="5391"/>
                    </a:lnTo>
                    <a:lnTo>
                      <a:pt x="706" y="5601"/>
                    </a:lnTo>
                    <a:lnTo>
                      <a:pt x="580" y="5811"/>
                    </a:lnTo>
                    <a:lnTo>
                      <a:pt x="580" y="5986"/>
                    </a:lnTo>
                    <a:lnTo>
                      <a:pt x="428" y="5986"/>
                    </a:lnTo>
                    <a:lnTo>
                      <a:pt x="428" y="6582"/>
                    </a:lnTo>
                    <a:lnTo>
                      <a:pt x="580" y="6582"/>
                    </a:lnTo>
                    <a:lnTo>
                      <a:pt x="580" y="6792"/>
                    </a:lnTo>
                    <a:lnTo>
                      <a:pt x="428" y="6792"/>
                    </a:lnTo>
                    <a:lnTo>
                      <a:pt x="428" y="7002"/>
                    </a:lnTo>
                    <a:lnTo>
                      <a:pt x="277" y="7002"/>
                    </a:lnTo>
                    <a:lnTo>
                      <a:pt x="277" y="7177"/>
                    </a:lnTo>
                    <a:lnTo>
                      <a:pt x="151" y="7177"/>
                    </a:lnTo>
                    <a:lnTo>
                      <a:pt x="151" y="7387"/>
                    </a:lnTo>
                    <a:lnTo>
                      <a:pt x="0" y="7387"/>
                    </a:lnTo>
                    <a:lnTo>
                      <a:pt x="0" y="7982"/>
                    </a:lnTo>
                    <a:lnTo>
                      <a:pt x="277" y="7982"/>
                    </a:lnTo>
                    <a:lnTo>
                      <a:pt x="277" y="8192"/>
                    </a:lnTo>
                    <a:lnTo>
                      <a:pt x="428" y="8192"/>
                    </a:lnTo>
                    <a:lnTo>
                      <a:pt x="277" y="8192"/>
                    </a:lnTo>
                    <a:lnTo>
                      <a:pt x="277" y="8577"/>
                    </a:lnTo>
                    <a:lnTo>
                      <a:pt x="706" y="8787"/>
                    </a:lnTo>
                    <a:lnTo>
                      <a:pt x="706" y="8997"/>
                    </a:lnTo>
                    <a:lnTo>
                      <a:pt x="857" y="8997"/>
                    </a:lnTo>
                    <a:lnTo>
                      <a:pt x="1008" y="9207"/>
                    </a:lnTo>
                    <a:lnTo>
                      <a:pt x="1159" y="9207"/>
                    </a:lnTo>
                    <a:lnTo>
                      <a:pt x="1588" y="10187"/>
                    </a:lnTo>
                    <a:lnTo>
                      <a:pt x="2016" y="10782"/>
                    </a:lnTo>
                    <a:lnTo>
                      <a:pt x="2016" y="11588"/>
                    </a:lnTo>
                    <a:lnTo>
                      <a:pt x="1865" y="11798"/>
                    </a:lnTo>
                    <a:lnTo>
                      <a:pt x="1865" y="13583"/>
                    </a:lnTo>
                    <a:lnTo>
                      <a:pt x="2016" y="14003"/>
                    </a:lnTo>
                    <a:lnTo>
                      <a:pt x="2168" y="14003"/>
                    </a:lnTo>
                    <a:lnTo>
                      <a:pt x="2016" y="14773"/>
                    </a:lnTo>
                    <a:lnTo>
                      <a:pt x="2016" y="14983"/>
                    </a:lnTo>
                    <a:lnTo>
                      <a:pt x="1865" y="15579"/>
                    </a:lnTo>
                    <a:lnTo>
                      <a:pt x="2168" y="15999"/>
                    </a:lnTo>
                    <a:lnTo>
                      <a:pt x="2873" y="16384"/>
                    </a:lnTo>
                    <a:lnTo>
                      <a:pt x="2873" y="17784"/>
                    </a:lnTo>
                    <a:lnTo>
                      <a:pt x="3025" y="18379"/>
                    </a:lnTo>
                    <a:lnTo>
                      <a:pt x="3176" y="18379"/>
                    </a:lnTo>
                    <a:lnTo>
                      <a:pt x="3453" y="18589"/>
                    </a:lnTo>
                    <a:lnTo>
                      <a:pt x="3604" y="18799"/>
                    </a:lnTo>
                    <a:lnTo>
                      <a:pt x="4033" y="18799"/>
                    </a:lnTo>
                    <a:lnTo>
                      <a:pt x="4033" y="17994"/>
                    </a:lnTo>
                    <a:lnTo>
                      <a:pt x="4310" y="17994"/>
                    </a:lnTo>
                    <a:lnTo>
                      <a:pt x="4310" y="18169"/>
                    </a:lnTo>
                    <a:lnTo>
                      <a:pt x="4612" y="17994"/>
                    </a:lnTo>
                    <a:lnTo>
                      <a:pt x="4890" y="17994"/>
                    </a:lnTo>
                    <a:lnTo>
                      <a:pt x="5041" y="17784"/>
                    </a:lnTo>
                    <a:lnTo>
                      <a:pt x="5318" y="17784"/>
                    </a:lnTo>
                    <a:lnTo>
                      <a:pt x="5318" y="17994"/>
                    </a:lnTo>
                    <a:lnTo>
                      <a:pt x="5469" y="17994"/>
                    </a:lnTo>
                    <a:lnTo>
                      <a:pt x="5621" y="17784"/>
                    </a:lnTo>
                    <a:lnTo>
                      <a:pt x="5747" y="17784"/>
                    </a:lnTo>
                    <a:lnTo>
                      <a:pt x="5898" y="17574"/>
                    </a:lnTo>
                    <a:lnTo>
                      <a:pt x="6049" y="17189"/>
                    </a:lnTo>
                    <a:lnTo>
                      <a:pt x="6200" y="17399"/>
                    </a:lnTo>
                    <a:lnTo>
                      <a:pt x="6755" y="16979"/>
                    </a:lnTo>
                    <a:lnTo>
                      <a:pt x="6629" y="16594"/>
                    </a:lnTo>
                    <a:lnTo>
                      <a:pt x="7057" y="16594"/>
                    </a:lnTo>
                    <a:lnTo>
                      <a:pt x="7057" y="16804"/>
                    </a:lnTo>
                    <a:lnTo>
                      <a:pt x="7208" y="16979"/>
                    </a:lnTo>
                    <a:lnTo>
                      <a:pt x="7763" y="17399"/>
                    </a:lnTo>
                    <a:lnTo>
                      <a:pt x="8217" y="17399"/>
                    </a:lnTo>
                    <a:lnTo>
                      <a:pt x="8217" y="17574"/>
                    </a:lnTo>
                    <a:lnTo>
                      <a:pt x="8343" y="17399"/>
                    </a:lnTo>
                    <a:lnTo>
                      <a:pt x="8494" y="17784"/>
                    </a:lnTo>
                    <a:lnTo>
                      <a:pt x="8645" y="17784"/>
                    </a:lnTo>
                    <a:lnTo>
                      <a:pt x="8645" y="18169"/>
                    </a:lnTo>
                    <a:lnTo>
                      <a:pt x="8796" y="18169"/>
                    </a:lnTo>
                    <a:lnTo>
                      <a:pt x="8796" y="18379"/>
                    </a:lnTo>
                    <a:lnTo>
                      <a:pt x="8922" y="18379"/>
                    </a:lnTo>
                    <a:lnTo>
                      <a:pt x="8922" y="18589"/>
                    </a:lnTo>
                    <a:lnTo>
                      <a:pt x="9074" y="18589"/>
                    </a:lnTo>
                    <a:lnTo>
                      <a:pt x="9074" y="18799"/>
                    </a:lnTo>
                    <a:lnTo>
                      <a:pt x="9225" y="19184"/>
                    </a:lnTo>
                    <a:lnTo>
                      <a:pt x="9225" y="19570"/>
                    </a:lnTo>
                    <a:lnTo>
                      <a:pt x="9351" y="19780"/>
                    </a:lnTo>
                    <a:lnTo>
                      <a:pt x="9502" y="19570"/>
                    </a:lnTo>
                    <a:lnTo>
                      <a:pt x="9653" y="19780"/>
                    </a:lnTo>
                    <a:lnTo>
                      <a:pt x="9502" y="19990"/>
                    </a:lnTo>
                    <a:lnTo>
                      <a:pt x="9653" y="20200"/>
                    </a:lnTo>
                    <a:lnTo>
                      <a:pt x="9653" y="20375"/>
                    </a:lnTo>
                    <a:lnTo>
                      <a:pt x="9502" y="20375"/>
                    </a:lnTo>
                    <a:lnTo>
                      <a:pt x="9653" y="20585"/>
                    </a:lnTo>
                    <a:lnTo>
                      <a:pt x="9930" y="20795"/>
                    </a:lnTo>
                    <a:lnTo>
                      <a:pt x="10082" y="20585"/>
                    </a:lnTo>
                    <a:lnTo>
                      <a:pt x="10233" y="20795"/>
                    </a:lnTo>
                    <a:lnTo>
                      <a:pt x="10359" y="20795"/>
                    </a:lnTo>
                    <a:lnTo>
                      <a:pt x="10359" y="20970"/>
                    </a:lnTo>
                    <a:lnTo>
                      <a:pt x="10510" y="21180"/>
                    </a:lnTo>
                    <a:lnTo>
                      <a:pt x="10939" y="21180"/>
                    </a:lnTo>
                    <a:lnTo>
                      <a:pt x="11090" y="21390"/>
                    </a:lnTo>
                    <a:lnTo>
                      <a:pt x="11241" y="21390"/>
                    </a:lnTo>
                    <a:lnTo>
                      <a:pt x="11367" y="21600"/>
                    </a:lnTo>
                    <a:lnTo>
                      <a:pt x="11821" y="21180"/>
                    </a:lnTo>
                    <a:lnTo>
                      <a:pt x="11947" y="20970"/>
                    </a:lnTo>
                    <a:lnTo>
                      <a:pt x="11947" y="20375"/>
                    </a:lnTo>
                    <a:lnTo>
                      <a:pt x="12249" y="20375"/>
                    </a:lnTo>
                    <a:lnTo>
                      <a:pt x="12375" y="19990"/>
                    </a:lnTo>
                    <a:lnTo>
                      <a:pt x="12678" y="19780"/>
                    </a:lnTo>
                    <a:lnTo>
                      <a:pt x="13106" y="19780"/>
                    </a:lnTo>
                    <a:lnTo>
                      <a:pt x="13106" y="19394"/>
                    </a:lnTo>
                    <a:lnTo>
                      <a:pt x="13257" y="19394"/>
                    </a:lnTo>
                    <a:lnTo>
                      <a:pt x="13257" y="18799"/>
                    </a:lnTo>
                    <a:lnTo>
                      <a:pt x="13383" y="18589"/>
                    </a:lnTo>
                    <a:lnTo>
                      <a:pt x="13257" y="18379"/>
                    </a:lnTo>
                    <a:lnTo>
                      <a:pt x="13383" y="1837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56" name="Shape 2982"/>
              <p:cNvSpPr/>
              <p:nvPr/>
            </p:nvSpPr>
            <p:spPr>
              <a:xfrm>
                <a:off x="8682557" y="3587836"/>
                <a:ext cx="1031204" cy="127817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5550" y="2660"/>
                    </a:moveTo>
                    <a:lnTo>
                      <a:pt x="15550" y="2807"/>
                    </a:lnTo>
                    <a:lnTo>
                      <a:pt x="15368" y="2807"/>
                    </a:lnTo>
                    <a:lnTo>
                      <a:pt x="15368" y="3075"/>
                    </a:lnTo>
                    <a:lnTo>
                      <a:pt x="15217" y="3075"/>
                    </a:lnTo>
                    <a:lnTo>
                      <a:pt x="15217" y="3222"/>
                    </a:lnTo>
                    <a:lnTo>
                      <a:pt x="15368" y="3222"/>
                    </a:lnTo>
                    <a:lnTo>
                      <a:pt x="15368" y="3637"/>
                    </a:lnTo>
                    <a:lnTo>
                      <a:pt x="15217" y="3637"/>
                    </a:lnTo>
                    <a:lnTo>
                      <a:pt x="15217" y="3783"/>
                    </a:lnTo>
                    <a:lnTo>
                      <a:pt x="15035" y="3783"/>
                    </a:lnTo>
                    <a:lnTo>
                      <a:pt x="15035" y="3905"/>
                    </a:lnTo>
                    <a:lnTo>
                      <a:pt x="15217" y="4052"/>
                    </a:lnTo>
                    <a:lnTo>
                      <a:pt x="15368" y="4052"/>
                    </a:lnTo>
                    <a:lnTo>
                      <a:pt x="15368" y="4198"/>
                    </a:lnTo>
                    <a:lnTo>
                      <a:pt x="15550" y="4198"/>
                    </a:lnTo>
                    <a:lnTo>
                      <a:pt x="15550" y="4320"/>
                    </a:lnTo>
                    <a:lnTo>
                      <a:pt x="16064" y="4320"/>
                    </a:lnTo>
                    <a:lnTo>
                      <a:pt x="16064" y="4466"/>
                    </a:lnTo>
                    <a:lnTo>
                      <a:pt x="16245" y="4466"/>
                    </a:lnTo>
                    <a:lnTo>
                      <a:pt x="16245" y="4613"/>
                    </a:lnTo>
                    <a:lnTo>
                      <a:pt x="16245" y="4466"/>
                    </a:lnTo>
                    <a:lnTo>
                      <a:pt x="16427" y="4466"/>
                    </a:lnTo>
                    <a:lnTo>
                      <a:pt x="16427" y="4613"/>
                    </a:lnTo>
                    <a:lnTo>
                      <a:pt x="16578" y="4613"/>
                    </a:lnTo>
                    <a:lnTo>
                      <a:pt x="16578" y="4466"/>
                    </a:lnTo>
                    <a:lnTo>
                      <a:pt x="16578" y="4613"/>
                    </a:lnTo>
                    <a:lnTo>
                      <a:pt x="16941" y="4613"/>
                    </a:lnTo>
                    <a:lnTo>
                      <a:pt x="16941" y="5028"/>
                    </a:lnTo>
                    <a:lnTo>
                      <a:pt x="17092" y="5028"/>
                    </a:lnTo>
                    <a:lnTo>
                      <a:pt x="17092" y="5174"/>
                    </a:lnTo>
                    <a:lnTo>
                      <a:pt x="17637" y="5174"/>
                    </a:lnTo>
                    <a:lnTo>
                      <a:pt x="17637" y="5296"/>
                    </a:lnTo>
                    <a:lnTo>
                      <a:pt x="17637" y="5174"/>
                    </a:lnTo>
                    <a:lnTo>
                      <a:pt x="17637" y="5296"/>
                    </a:lnTo>
                    <a:lnTo>
                      <a:pt x="17637" y="5174"/>
                    </a:lnTo>
                    <a:lnTo>
                      <a:pt x="17788" y="5174"/>
                    </a:lnTo>
                    <a:lnTo>
                      <a:pt x="17637" y="5174"/>
                    </a:lnTo>
                    <a:lnTo>
                      <a:pt x="17788" y="5174"/>
                    </a:lnTo>
                    <a:lnTo>
                      <a:pt x="17788" y="5028"/>
                    </a:lnTo>
                    <a:lnTo>
                      <a:pt x="17788" y="5174"/>
                    </a:lnTo>
                    <a:lnTo>
                      <a:pt x="17637" y="5174"/>
                    </a:lnTo>
                    <a:lnTo>
                      <a:pt x="17637" y="5028"/>
                    </a:lnTo>
                    <a:lnTo>
                      <a:pt x="17637" y="5174"/>
                    </a:lnTo>
                    <a:lnTo>
                      <a:pt x="17274" y="5174"/>
                    </a:lnTo>
                    <a:lnTo>
                      <a:pt x="17274" y="5028"/>
                    </a:lnTo>
                    <a:lnTo>
                      <a:pt x="17455" y="5028"/>
                    </a:lnTo>
                    <a:lnTo>
                      <a:pt x="17455" y="4759"/>
                    </a:lnTo>
                    <a:lnTo>
                      <a:pt x="17274" y="4759"/>
                    </a:lnTo>
                    <a:lnTo>
                      <a:pt x="17274" y="4881"/>
                    </a:lnTo>
                    <a:lnTo>
                      <a:pt x="17455" y="4881"/>
                    </a:lnTo>
                    <a:lnTo>
                      <a:pt x="17274" y="4881"/>
                    </a:lnTo>
                    <a:lnTo>
                      <a:pt x="17274" y="4466"/>
                    </a:lnTo>
                    <a:lnTo>
                      <a:pt x="17092" y="4466"/>
                    </a:lnTo>
                    <a:lnTo>
                      <a:pt x="17092" y="4320"/>
                    </a:lnTo>
                    <a:lnTo>
                      <a:pt x="16941" y="4320"/>
                    </a:lnTo>
                    <a:lnTo>
                      <a:pt x="17092" y="4320"/>
                    </a:lnTo>
                    <a:lnTo>
                      <a:pt x="16760" y="4320"/>
                    </a:lnTo>
                    <a:lnTo>
                      <a:pt x="16760" y="4198"/>
                    </a:lnTo>
                    <a:lnTo>
                      <a:pt x="16760" y="4320"/>
                    </a:lnTo>
                    <a:lnTo>
                      <a:pt x="16578" y="4320"/>
                    </a:lnTo>
                    <a:lnTo>
                      <a:pt x="16578" y="4052"/>
                    </a:lnTo>
                    <a:lnTo>
                      <a:pt x="16427" y="4052"/>
                    </a:lnTo>
                    <a:lnTo>
                      <a:pt x="16427" y="3905"/>
                    </a:lnTo>
                    <a:lnTo>
                      <a:pt x="16427" y="4052"/>
                    </a:lnTo>
                    <a:lnTo>
                      <a:pt x="16245" y="3905"/>
                    </a:lnTo>
                    <a:lnTo>
                      <a:pt x="16064" y="3783"/>
                    </a:lnTo>
                    <a:lnTo>
                      <a:pt x="15882" y="3637"/>
                    </a:lnTo>
                    <a:lnTo>
                      <a:pt x="15882" y="3490"/>
                    </a:lnTo>
                    <a:lnTo>
                      <a:pt x="16064" y="3490"/>
                    </a:lnTo>
                    <a:lnTo>
                      <a:pt x="15882" y="3368"/>
                    </a:lnTo>
                    <a:lnTo>
                      <a:pt x="15882" y="2929"/>
                    </a:lnTo>
                    <a:lnTo>
                      <a:pt x="16064" y="2929"/>
                    </a:lnTo>
                    <a:lnTo>
                      <a:pt x="16245" y="2807"/>
                    </a:lnTo>
                    <a:lnTo>
                      <a:pt x="16245" y="2929"/>
                    </a:lnTo>
                    <a:lnTo>
                      <a:pt x="16245" y="2807"/>
                    </a:lnTo>
                    <a:lnTo>
                      <a:pt x="16578" y="2807"/>
                    </a:lnTo>
                    <a:lnTo>
                      <a:pt x="16760" y="2929"/>
                    </a:lnTo>
                    <a:lnTo>
                      <a:pt x="16760" y="3075"/>
                    </a:lnTo>
                    <a:lnTo>
                      <a:pt x="16941" y="3075"/>
                    </a:lnTo>
                    <a:lnTo>
                      <a:pt x="16941" y="3222"/>
                    </a:lnTo>
                    <a:lnTo>
                      <a:pt x="17092" y="3368"/>
                    </a:lnTo>
                    <a:lnTo>
                      <a:pt x="17455" y="3368"/>
                    </a:lnTo>
                    <a:lnTo>
                      <a:pt x="17455" y="3222"/>
                    </a:lnTo>
                    <a:lnTo>
                      <a:pt x="17637" y="3222"/>
                    </a:lnTo>
                    <a:lnTo>
                      <a:pt x="17637" y="2929"/>
                    </a:lnTo>
                    <a:lnTo>
                      <a:pt x="17455" y="2929"/>
                    </a:lnTo>
                    <a:lnTo>
                      <a:pt x="17455" y="2807"/>
                    </a:lnTo>
                    <a:lnTo>
                      <a:pt x="17092" y="2807"/>
                    </a:lnTo>
                    <a:lnTo>
                      <a:pt x="17092" y="2929"/>
                    </a:lnTo>
                    <a:lnTo>
                      <a:pt x="17092" y="2514"/>
                    </a:lnTo>
                    <a:lnTo>
                      <a:pt x="17274" y="2514"/>
                    </a:lnTo>
                    <a:lnTo>
                      <a:pt x="17274" y="2660"/>
                    </a:lnTo>
                    <a:lnTo>
                      <a:pt x="17455" y="2514"/>
                    </a:lnTo>
                    <a:lnTo>
                      <a:pt x="17455" y="2392"/>
                    </a:lnTo>
                    <a:lnTo>
                      <a:pt x="17970" y="2392"/>
                    </a:lnTo>
                    <a:lnTo>
                      <a:pt x="17970" y="2514"/>
                    </a:lnTo>
                    <a:lnTo>
                      <a:pt x="18151" y="2514"/>
                    </a:lnTo>
                    <a:lnTo>
                      <a:pt x="18151" y="2660"/>
                    </a:lnTo>
                    <a:lnTo>
                      <a:pt x="18303" y="2660"/>
                    </a:lnTo>
                    <a:lnTo>
                      <a:pt x="18303" y="2807"/>
                    </a:lnTo>
                    <a:lnTo>
                      <a:pt x="18484" y="2807"/>
                    </a:lnTo>
                    <a:lnTo>
                      <a:pt x="18484" y="2929"/>
                    </a:lnTo>
                    <a:lnTo>
                      <a:pt x="18666" y="2929"/>
                    </a:lnTo>
                    <a:lnTo>
                      <a:pt x="18847" y="3075"/>
                    </a:lnTo>
                    <a:lnTo>
                      <a:pt x="18847" y="3222"/>
                    </a:lnTo>
                    <a:lnTo>
                      <a:pt x="18998" y="3368"/>
                    </a:lnTo>
                    <a:lnTo>
                      <a:pt x="18998" y="3637"/>
                    </a:lnTo>
                    <a:lnTo>
                      <a:pt x="18847" y="3783"/>
                    </a:lnTo>
                    <a:lnTo>
                      <a:pt x="18666" y="3783"/>
                    </a:lnTo>
                    <a:lnTo>
                      <a:pt x="18484" y="3905"/>
                    </a:lnTo>
                    <a:lnTo>
                      <a:pt x="18303" y="3905"/>
                    </a:lnTo>
                    <a:lnTo>
                      <a:pt x="18303" y="4052"/>
                    </a:lnTo>
                    <a:lnTo>
                      <a:pt x="18151" y="4198"/>
                    </a:lnTo>
                    <a:lnTo>
                      <a:pt x="17970" y="4320"/>
                    </a:lnTo>
                    <a:lnTo>
                      <a:pt x="17970" y="4466"/>
                    </a:lnTo>
                    <a:lnTo>
                      <a:pt x="18303" y="4466"/>
                    </a:lnTo>
                    <a:lnTo>
                      <a:pt x="18303" y="4613"/>
                    </a:lnTo>
                    <a:lnTo>
                      <a:pt x="18484" y="4759"/>
                    </a:lnTo>
                    <a:lnTo>
                      <a:pt x="18484" y="4881"/>
                    </a:lnTo>
                    <a:lnTo>
                      <a:pt x="18666" y="4881"/>
                    </a:lnTo>
                    <a:lnTo>
                      <a:pt x="18666" y="5028"/>
                    </a:lnTo>
                    <a:lnTo>
                      <a:pt x="18998" y="5028"/>
                    </a:lnTo>
                    <a:lnTo>
                      <a:pt x="18998" y="5736"/>
                    </a:lnTo>
                    <a:lnTo>
                      <a:pt x="18847" y="5736"/>
                    </a:lnTo>
                    <a:lnTo>
                      <a:pt x="18998" y="5736"/>
                    </a:lnTo>
                    <a:lnTo>
                      <a:pt x="18998" y="6151"/>
                    </a:lnTo>
                    <a:lnTo>
                      <a:pt x="18847" y="6151"/>
                    </a:lnTo>
                    <a:lnTo>
                      <a:pt x="18847" y="6273"/>
                    </a:lnTo>
                    <a:lnTo>
                      <a:pt x="18998" y="6273"/>
                    </a:lnTo>
                    <a:lnTo>
                      <a:pt x="18998" y="6419"/>
                    </a:lnTo>
                    <a:lnTo>
                      <a:pt x="18998" y="6273"/>
                    </a:lnTo>
                    <a:lnTo>
                      <a:pt x="18998" y="6419"/>
                    </a:lnTo>
                    <a:lnTo>
                      <a:pt x="18847" y="6419"/>
                    </a:lnTo>
                    <a:lnTo>
                      <a:pt x="18847" y="6273"/>
                    </a:lnTo>
                    <a:lnTo>
                      <a:pt x="18303" y="6273"/>
                    </a:lnTo>
                    <a:lnTo>
                      <a:pt x="18303" y="6419"/>
                    </a:lnTo>
                    <a:lnTo>
                      <a:pt x="18151" y="6419"/>
                    </a:lnTo>
                    <a:lnTo>
                      <a:pt x="18151" y="6565"/>
                    </a:lnTo>
                    <a:lnTo>
                      <a:pt x="18151" y="6419"/>
                    </a:lnTo>
                    <a:lnTo>
                      <a:pt x="17970" y="6419"/>
                    </a:lnTo>
                    <a:lnTo>
                      <a:pt x="17970" y="6565"/>
                    </a:lnTo>
                    <a:lnTo>
                      <a:pt x="18151" y="6565"/>
                    </a:lnTo>
                    <a:lnTo>
                      <a:pt x="17970" y="6565"/>
                    </a:lnTo>
                    <a:lnTo>
                      <a:pt x="17970" y="6712"/>
                    </a:lnTo>
                    <a:lnTo>
                      <a:pt x="17788" y="6712"/>
                    </a:lnTo>
                    <a:lnTo>
                      <a:pt x="17788" y="6834"/>
                    </a:lnTo>
                    <a:lnTo>
                      <a:pt x="17788" y="6712"/>
                    </a:lnTo>
                    <a:lnTo>
                      <a:pt x="17637" y="6712"/>
                    </a:lnTo>
                    <a:lnTo>
                      <a:pt x="17788" y="6712"/>
                    </a:lnTo>
                    <a:lnTo>
                      <a:pt x="17637" y="6712"/>
                    </a:lnTo>
                    <a:lnTo>
                      <a:pt x="17637" y="6834"/>
                    </a:lnTo>
                    <a:lnTo>
                      <a:pt x="17455" y="6834"/>
                    </a:lnTo>
                    <a:lnTo>
                      <a:pt x="17455" y="6980"/>
                    </a:lnTo>
                    <a:lnTo>
                      <a:pt x="17455" y="6834"/>
                    </a:lnTo>
                    <a:lnTo>
                      <a:pt x="17455" y="7127"/>
                    </a:lnTo>
                    <a:lnTo>
                      <a:pt x="17092" y="7127"/>
                    </a:lnTo>
                    <a:lnTo>
                      <a:pt x="17274" y="7249"/>
                    </a:lnTo>
                    <a:lnTo>
                      <a:pt x="17274" y="7542"/>
                    </a:lnTo>
                    <a:lnTo>
                      <a:pt x="17455" y="7542"/>
                    </a:lnTo>
                    <a:lnTo>
                      <a:pt x="17455" y="7664"/>
                    </a:lnTo>
                    <a:lnTo>
                      <a:pt x="17637" y="7664"/>
                    </a:lnTo>
                    <a:lnTo>
                      <a:pt x="17455" y="7664"/>
                    </a:lnTo>
                    <a:lnTo>
                      <a:pt x="17637" y="7664"/>
                    </a:lnTo>
                    <a:lnTo>
                      <a:pt x="17637" y="8103"/>
                    </a:lnTo>
                    <a:lnTo>
                      <a:pt x="17788" y="8103"/>
                    </a:lnTo>
                    <a:lnTo>
                      <a:pt x="17637" y="8103"/>
                    </a:lnTo>
                    <a:lnTo>
                      <a:pt x="17788" y="8225"/>
                    </a:lnTo>
                    <a:lnTo>
                      <a:pt x="18151" y="8225"/>
                    </a:lnTo>
                    <a:lnTo>
                      <a:pt x="18151" y="8372"/>
                    </a:lnTo>
                    <a:lnTo>
                      <a:pt x="18484" y="8372"/>
                    </a:lnTo>
                    <a:lnTo>
                      <a:pt x="18484" y="8518"/>
                    </a:lnTo>
                    <a:lnTo>
                      <a:pt x="18666" y="8518"/>
                    </a:lnTo>
                    <a:lnTo>
                      <a:pt x="18666" y="8640"/>
                    </a:lnTo>
                    <a:lnTo>
                      <a:pt x="18847" y="8640"/>
                    </a:lnTo>
                    <a:lnTo>
                      <a:pt x="18847" y="8518"/>
                    </a:lnTo>
                    <a:lnTo>
                      <a:pt x="18998" y="8518"/>
                    </a:lnTo>
                    <a:lnTo>
                      <a:pt x="18998" y="8640"/>
                    </a:lnTo>
                    <a:lnTo>
                      <a:pt x="19180" y="8640"/>
                    </a:lnTo>
                    <a:lnTo>
                      <a:pt x="19180" y="8225"/>
                    </a:lnTo>
                    <a:lnTo>
                      <a:pt x="19361" y="8225"/>
                    </a:lnTo>
                    <a:lnTo>
                      <a:pt x="19361" y="8372"/>
                    </a:lnTo>
                    <a:lnTo>
                      <a:pt x="19543" y="8372"/>
                    </a:lnTo>
                    <a:lnTo>
                      <a:pt x="19543" y="8518"/>
                    </a:lnTo>
                    <a:lnTo>
                      <a:pt x="19361" y="8640"/>
                    </a:lnTo>
                    <a:lnTo>
                      <a:pt x="19361" y="8786"/>
                    </a:lnTo>
                    <a:lnTo>
                      <a:pt x="19876" y="8786"/>
                    </a:lnTo>
                    <a:lnTo>
                      <a:pt x="19876" y="9079"/>
                    </a:lnTo>
                    <a:lnTo>
                      <a:pt x="19694" y="9079"/>
                    </a:lnTo>
                    <a:lnTo>
                      <a:pt x="19694" y="9201"/>
                    </a:lnTo>
                    <a:lnTo>
                      <a:pt x="19876" y="9201"/>
                    </a:lnTo>
                    <a:lnTo>
                      <a:pt x="19876" y="9616"/>
                    </a:lnTo>
                    <a:lnTo>
                      <a:pt x="20057" y="9616"/>
                    </a:lnTo>
                    <a:lnTo>
                      <a:pt x="20057" y="9909"/>
                    </a:lnTo>
                    <a:lnTo>
                      <a:pt x="19876" y="9909"/>
                    </a:lnTo>
                    <a:lnTo>
                      <a:pt x="19876" y="10324"/>
                    </a:lnTo>
                    <a:lnTo>
                      <a:pt x="19694" y="10324"/>
                    </a:lnTo>
                    <a:lnTo>
                      <a:pt x="19694" y="10593"/>
                    </a:lnTo>
                    <a:lnTo>
                      <a:pt x="19543" y="10593"/>
                    </a:lnTo>
                    <a:lnTo>
                      <a:pt x="19543" y="10739"/>
                    </a:lnTo>
                    <a:lnTo>
                      <a:pt x="19361" y="10739"/>
                    </a:lnTo>
                    <a:lnTo>
                      <a:pt x="19361" y="11154"/>
                    </a:lnTo>
                    <a:lnTo>
                      <a:pt x="19180" y="11154"/>
                    </a:lnTo>
                    <a:lnTo>
                      <a:pt x="19180" y="11032"/>
                    </a:lnTo>
                    <a:lnTo>
                      <a:pt x="18847" y="11032"/>
                    </a:lnTo>
                    <a:lnTo>
                      <a:pt x="18847" y="11300"/>
                    </a:lnTo>
                    <a:lnTo>
                      <a:pt x="18998" y="11300"/>
                    </a:lnTo>
                    <a:lnTo>
                      <a:pt x="18998" y="11715"/>
                    </a:lnTo>
                    <a:lnTo>
                      <a:pt x="19180" y="11715"/>
                    </a:lnTo>
                    <a:lnTo>
                      <a:pt x="19180" y="11984"/>
                    </a:lnTo>
                    <a:lnTo>
                      <a:pt x="18998" y="11984"/>
                    </a:lnTo>
                    <a:lnTo>
                      <a:pt x="18998" y="12130"/>
                    </a:lnTo>
                    <a:lnTo>
                      <a:pt x="19180" y="12130"/>
                    </a:lnTo>
                    <a:lnTo>
                      <a:pt x="19180" y="12277"/>
                    </a:lnTo>
                    <a:lnTo>
                      <a:pt x="18998" y="12277"/>
                    </a:lnTo>
                    <a:lnTo>
                      <a:pt x="18847" y="12423"/>
                    </a:lnTo>
                    <a:lnTo>
                      <a:pt x="18998" y="12423"/>
                    </a:lnTo>
                    <a:lnTo>
                      <a:pt x="18998" y="12545"/>
                    </a:lnTo>
                    <a:lnTo>
                      <a:pt x="19361" y="12838"/>
                    </a:lnTo>
                    <a:lnTo>
                      <a:pt x="19361" y="12960"/>
                    </a:lnTo>
                    <a:lnTo>
                      <a:pt x="19543" y="12960"/>
                    </a:lnTo>
                    <a:lnTo>
                      <a:pt x="19543" y="13106"/>
                    </a:lnTo>
                    <a:lnTo>
                      <a:pt x="19694" y="13106"/>
                    </a:lnTo>
                    <a:lnTo>
                      <a:pt x="19543" y="13106"/>
                    </a:lnTo>
                    <a:lnTo>
                      <a:pt x="19543" y="13253"/>
                    </a:lnTo>
                    <a:lnTo>
                      <a:pt x="19694" y="13253"/>
                    </a:lnTo>
                    <a:lnTo>
                      <a:pt x="19694" y="13521"/>
                    </a:lnTo>
                    <a:lnTo>
                      <a:pt x="19876" y="13521"/>
                    </a:lnTo>
                    <a:lnTo>
                      <a:pt x="19694" y="13521"/>
                    </a:lnTo>
                    <a:lnTo>
                      <a:pt x="19694" y="13668"/>
                    </a:lnTo>
                    <a:lnTo>
                      <a:pt x="19543" y="13668"/>
                    </a:lnTo>
                    <a:lnTo>
                      <a:pt x="19543" y="14083"/>
                    </a:lnTo>
                    <a:lnTo>
                      <a:pt x="19694" y="14083"/>
                    </a:lnTo>
                    <a:lnTo>
                      <a:pt x="19694" y="14376"/>
                    </a:lnTo>
                    <a:lnTo>
                      <a:pt x="19876" y="14376"/>
                    </a:lnTo>
                    <a:lnTo>
                      <a:pt x="19876" y="14498"/>
                    </a:lnTo>
                    <a:lnTo>
                      <a:pt x="19694" y="14498"/>
                    </a:lnTo>
                    <a:lnTo>
                      <a:pt x="19694" y="14644"/>
                    </a:lnTo>
                    <a:lnTo>
                      <a:pt x="19543" y="14644"/>
                    </a:lnTo>
                    <a:lnTo>
                      <a:pt x="19543" y="14791"/>
                    </a:lnTo>
                    <a:lnTo>
                      <a:pt x="19694" y="14791"/>
                    </a:lnTo>
                    <a:lnTo>
                      <a:pt x="19694" y="15205"/>
                    </a:lnTo>
                    <a:lnTo>
                      <a:pt x="20208" y="15205"/>
                    </a:lnTo>
                    <a:lnTo>
                      <a:pt x="20208" y="15352"/>
                    </a:lnTo>
                    <a:lnTo>
                      <a:pt x="20390" y="15474"/>
                    </a:lnTo>
                    <a:lnTo>
                      <a:pt x="20390" y="15620"/>
                    </a:lnTo>
                    <a:lnTo>
                      <a:pt x="20208" y="15620"/>
                    </a:lnTo>
                    <a:lnTo>
                      <a:pt x="20571" y="15620"/>
                    </a:lnTo>
                    <a:lnTo>
                      <a:pt x="20571" y="16182"/>
                    </a:lnTo>
                    <a:lnTo>
                      <a:pt x="20390" y="16304"/>
                    </a:lnTo>
                    <a:lnTo>
                      <a:pt x="20208" y="16304"/>
                    </a:lnTo>
                    <a:lnTo>
                      <a:pt x="20208" y="16597"/>
                    </a:lnTo>
                    <a:lnTo>
                      <a:pt x="20390" y="16597"/>
                    </a:lnTo>
                    <a:lnTo>
                      <a:pt x="20208" y="16597"/>
                    </a:lnTo>
                    <a:lnTo>
                      <a:pt x="20208" y="16743"/>
                    </a:lnTo>
                    <a:lnTo>
                      <a:pt x="20390" y="16743"/>
                    </a:lnTo>
                    <a:lnTo>
                      <a:pt x="20390" y="16865"/>
                    </a:lnTo>
                    <a:lnTo>
                      <a:pt x="20390" y="16743"/>
                    </a:lnTo>
                    <a:lnTo>
                      <a:pt x="20390" y="16865"/>
                    </a:lnTo>
                    <a:lnTo>
                      <a:pt x="20571" y="16743"/>
                    </a:lnTo>
                    <a:lnTo>
                      <a:pt x="20753" y="16743"/>
                    </a:lnTo>
                    <a:lnTo>
                      <a:pt x="20753" y="16865"/>
                    </a:lnTo>
                    <a:lnTo>
                      <a:pt x="20753" y="16743"/>
                    </a:lnTo>
                    <a:lnTo>
                      <a:pt x="20904" y="16743"/>
                    </a:lnTo>
                    <a:lnTo>
                      <a:pt x="20904" y="16865"/>
                    </a:lnTo>
                    <a:lnTo>
                      <a:pt x="20753" y="16865"/>
                    </a:lnTo>
                    <a:lnTo>
                      <a:pt x="20753" y="17012"/>
                    </a:lnTo>
                    <a:lnTo>
                      <a:pt x="20904" y="17012"/>
                    </a:lnTo>
                    <a:lnTo>
                      <a:pt x="20904" y="17158"/>
                    </a:lnTo>
                    <a:lnTo>
                      <a:pt x="21267" y="17158"/>
                    </a:lnTo>
                    <a:lnTo>
                      <a:pt x="21267" y="17012"/>
                    </a:lnTo>
                    <a:lnTo>
                      <a:pt x="21418" y="17012"/>
                    </a:lnTo>
                    <a:lnTo>
                      <a:pt x="21600" y="17158"/>
                    </a:lnTo>
                    <a:lnTo>
                      <a:pt x="21600" y="18549"/>
                    </a:lnTo>
                    <a:lnTo>
                      <a:pt x="21267" y="18549"/>
                    </a:lnTo>
                    <a:lnTo>
                      <a:pt x="21267" y="18696"/>
                    </a:lnTo>
                    <a:lnTo>
                      <a:pt x="21086" y="18696"/>
                    </a:lnTo>
                    <a:lnTo>
                      <a:pt x="21086" y="18818"/>
                    </a:lnTo>
                    <a:lnTo>
                      <a:pt x="20904" y="18818"/>
                    </a:lnTo>
                    <a:lnTo>
                      <a:pt x="20904" y="19111"/>
                    </a:lnTo>
                    <a:lnTo>
                      <a:pt x="20753" y="19111"/>
                    </a:lnTo>
                    <a:lnTo>
                      <a:pt x="20753" y="19233"/>
                    </a:lnTo>
                    <a:lnTo>
                      <a:pt x="20571" y="19233"/>
                    </a:lnTo>
                    <a:lnTo>
                      <a:pt x="20571" y="19379"/>
                    </a:lnTo>
                    <a:lnTo>
                      <a:pt x="20904" y="19379"/>
                    </a:lnTo>
                    <a:lnTo>
                      <a:pt x="20904" y="19672"/>
                    </a:lnTo>
                    <a:lnTo>
                      <a:pt x="21086" y="19672"/>
                    </a:lnTo>
                    <a:lnTo>
                      <a:pt x="21086" y="19794"/>
                    </a:lnTo>
                    <a:lnTo>
                      <a:pt x="20904" y="19794"/>
                    </a:lnTo>
                    <a:lnTo>
                      <a:pt x="20904" y="20502"/>
                    </a:lnTo>
                    <a:lnTo>
                      <a:pt x="20571" y="20502"/>
                    </a:lnTo>
                    <a:lnTo>
                      <a:pt x="20571" y="20624"/>
                    </a:lnTo>
                    <a:lnTo>
                      <a:pt x="20390" y="20770"/>
                    </a:lnTo>
                    <a:lnTo>
                      <a:pt x="20390" y="20917"/>
                    </a:lnTo>
                    <a:lnTo>
                      <a:pt x="20208" y="20917"/>
                    </a:lnTo>
                    <a:lnTo>
                      <a:pt x="20208" y="21185"/>
                    </a:lnTo>
                    <a:lnTo>
                      <a:pt x="20057" y="21185"/>
                    </a:lnTo>
                    <a:lnTo>
                      <a:pt x="20057" y="21332"/>
                    </a:lnTo>
                    <a:lnTo>
                      <a:pt x="19876" y="21332"/>
                    </a:lnTo>
                    <a:lnTo>
                      <a:pt x="19694" y="21478"/>
                    </a:lnTo>
                    <a:lnTo>
                      <a:pt x="19694" y="21600"/>
                    </a:lnTo>
                    <a:lnTo>
                      <a:pt x="19543" y="21478"/>
                    </a:lnTo>
                    <a:lnTo>
                      <a:pt x="19543" y="21332"/>
                    </a:lnTo>
                    <a:lnTo>
                      <a:pt x="19361" y="21185"/>
                    </a:lnTo>
                    <a:lnTo>
                      <a:pt x="19361" y="21332"/>
                    </a:lnTo>
                    <a:lnTo>
                      <a:pt x="19180" y="21185"/>
                    </a:lnTo>
                    <a:lnTo>
                      <a:pt x="19180" y="21063"/>
                    </a:lnTo>
                    <a:lnTo>
                      <a:pt x="18998" y="20917"/>
                    </a:lnTo>
                    <a:lnTo>
                      <a:pt x="18847" y="21063"/>
                    </a:lnTo>
                    <a:lnTo>
                      <a:pt x="18847" y="20917"/>
                    </a:lnTo>
                    <a:lnTo>
                      <a:pt x="18666" y="21063"/>
                    </a:lnTo>
                    <a:lnTo>
                      <a:pt x="18484" y="21063"/>
                    </a:lnTo>
                    <a:lnTo>
                      <a:pt x="18303" y="20917"/>
                    </a:lnTo>
                    <a:lnTo>
                      <a:pt x="18303" y="20770"/>
                    </a:lnTo>
                    <a:lnTo>
                      <a:pt x="18151" y="20624"/>
                    </a:lnTo>
                    <a:lnTo>
                      <a:pt x="18151" y="20502"/>
                    </a:lnTo>
                    <a:lnTo>
                      <a:pt x="17788" y="20355"/>
                    </a:lnTo>
                    <a:lnTo>
                      <a:pt x="17274" y="20355"/>
                    </a:lnTo>
                    <a:lnTo>
                      <a:pt x="17274" y="20502"/>
                    </a:lnTo>
                    <a:lnTo>
                      <a:pt x="17092" y="20502"/>
                    </a:lnTo>
                    <a:lnTo>
                      <a:pt x="16941" y="20355"/>
                    </a:lnTo>
                    <a:lnTo>
                      <a:pt x="16760" y="20209"/>
                    </a:lnTo>
                    <a:lnTo>
                      <a:pt x="16578" y="20087"/>
                    </a:lnTo>
                    <a:lnTo>
                      <a:pt x="16760" y="20087"/>
                    </a:lnTo>
                    <a:lnTo>
                      <a:pt x="16760" y="19940"/>
                    </a:lnTo>
                    <a:lnTo>
                      <a:pt x="16578" y="19940"/>
                    </a:lnTo>
                    <a:lnTo>
                      <a:pt x="16578" y="19794"/>
                    </a:lnTo>
                    <a:lnTo>
                      <a:pt x="16427" y="19794"/>
                    </a:lnTo>
                    <a:lnTo>
                      <a:pt x="16427" y="19525"/>
                    </a:lnTo>
                    <a:lnTo>
                      <a:pt x="16245" y="19672"/>
                    </a:lnTo>
                    <a:lnTo>
                      <a:pt x="16064" y="19672"/>
                    </a:lnTo>
                    <a:lnTo>
                      <a:pt x="16064" y="19794"/>
                    </a:lnTo>
                    <a:lnTo>
                      <a:pt x="15882" y="19794"/>
                    </a:lnTo>
                    <a:lnTo>
                      <a:pt x="15882" y="19940"/>
                    </a:lnTo>
                    <a:lnTo>
                      <a:pt x="15550" y="19940"/>
                    </a:lnTo>
                    <a:lnTo>
                      <a:pt x="15550" y="20087"/>
                    </a:lnTo>
                    <a:lnTo>
                      <a:pt x="15217" y="20087"/>
                    </a:lnTo>
                    <a:lnTo>
                      <a:pt x="15217" y="20355"/>
                    </a:lnTo>
                    <a:lnTo>
                      <a:pt x="14672" y="20355"/>
                    </a:lnTo>
                    <a:lnTo>
                      <a:pt x="14339" y="20209"/>
                    </a:lnTo>
                    <a:lnTo>
                      <a:pt x="13462" y="20209"/>
                    </a:lnTo>
                    <a:lnTo>
                      <a:pt x="13462" y="20355"/>
                    </a:lnTo>
                    <a:lnTo>
                      <a:pt x="13311" y="20355"/>
                    </a:lnTo>
                    <a:lnTo>
                      <a:pt x="13311" y="20209"/>
                    </a:lnTo>
                    <a:lnTo>
                      <a:pt x="13129" y="20209"/>
                    </a:lnTo>
                    <a:lnTo>
                      <a:pt x="13129" y="20087"/>
                    </a:lnTo>
                    <a:lnTo>
                      <a:pt x="12948" y="20087"/>
                    </a:lnTo>
                    <a:lnTo>
                      <a:pt x="12948" y="19940"/>
                    </a:lnTo>
                    <a:lnTo>
                      <a:pt x="12797" y="19940"/>
                    </a:lnTo>
                    <a:lnTo>
                      <a:pt x="12797" y="19794"/>
                    </a:lnTo>
                    <a:lnTo>
                      <a:pt x="12615" y="19794"/>
                    </a:lnTo>
                    <a:lnTo>
                      <a:pt x="12615" y="19233"/>
                    </a:lnTo>
                    <a:lnTo>
                      <a:pt x="12252" y="19233"/>
                    </a:lnTo>
                    <a:lnTo>
                      <a:pt x="12252" y="19111"/>
                    </a:lnTo>
                    <a:lnTo>
                      <a:pt x="11738" y="19233"/>
                    </a:lnTo>
                    <a:lnTo>
                      <a:pt x="11738" y="19111"/>
                    </a:lnTo>
                    <a:lnTo>
                      <a:pt x="11587" y="18964"/>
                    </a:lnTo>
                    <a:lnTo>
                      <a:pt x="11405" y="18818"/>
                    </a:lnTo>
                    <a:lnTo>
                      <a:pt x="10195" y="18818"/>
                    </a:lnTo>
                    <a:lnTo>
                      <a:pt x="10013" y="18696"/>
                    </a:lnTo>
                    <a:lnTo>
                      <a:pt x="10013" y="18549"/>
                    </a:lnTo>
                    <a:lnTo>
                      <a:pt x="9832" y="18549"/>
                    </a:lnTo>
                    <a:lnTo>
                      <a:pt x="9832" y="18403"/>
                    </a:lnTo>
                    <a:lnTo>
                      <a:pt x="9318" y="18403"/>
                    </a:lnTo>
                    <a:lnTo>
                      <a:pt x="9166" y="18256"/>
                    </a:lnTo>
                    <a:lnTo>
                      <a:pt x="9166" y="18134"/>
                    </a:lnTo>
                    <a:lnTo>
                      <a:pt x="8985" y="17988"/>
                    </a:lnTo>
                    <a:lnTo>
                      <a:pt x="8985" y="17841"/>
                    </a:lnTo>
                    <a:lnTo>
                      <a:pt x="8803" y="17841"/>
                    </a:lnTo>
                    <a:lnTo>
                      <a:pt x="8622" y="17988"/>
                    </a:lnTo>
                    <a:lnTo>
                      <a:pt x="8289" y="17988"/>
                    </a:lnTo>
                    <a:lnTo>
                      <a:pt x="8108" y="17841"/>
                    </a:lnTo>
                    <a:lnTo>
                      <a:pt x="7593" y="17841"/>
                    </a:lnTo>
                    <a:lnTo>
                      <a:pt x="7593" y="17988"/>
                    </a:lnTo>
                    <a:lnTo>
                      <a:pt x="7412" y="17988"/>
                    </a:lnTo>
                    <a:lnTo>
                      <a:pt x="7412" y="17573"/>
                    </a:lnTo>
                    <a:lnTo>
                      <a:pt x="7593" y="17426"/>
                    </a:lnTo>
                    <a:lnTo>
                      <a:pt x="7593" y="17012"/>
                    </a:lnTo>
                    <a:lnTo>
                      <a:pt x="7079" y="17012"/>
                    </a:lnTo>
                    <a:lnTo>
                      <a:pt x="7079" y="16597"/>
                    </a:lnTo>
                    <a:lnTo>
                      <a:pt x="6897" y="16450"/>
                    </a:lnTo>
                    <a:lnTo>
                      <a:pt x="6897" y="16304"/>
                    </a:lnTo>
                    <a:lnTo>
                      <a:pt x="7079" y="16304"/>
                    </a:lnTo>
                    <a:lnTo>
                      <a:pt x="7079" y="16182"/>
                    </a:lnTo>
                    <a:lnTo>
                      <a:pt x="7261" y="16182"/>
                    </a:lnTo>
                    <a:lnTo>
                      <a:pt x="7261" y="15889"/>
                    </a:lnTo>
                    <a:lnTo>
                      <a:pt x="6897" y="15889"/>
                    </a:lnTo>
                    <a:lnTo>
                      <a:pt x="6897" y="15620"/>
                    </a:lnTo>
                    <a:lnTo>
                      <a:pt x="6383" y="15620"/>
                    </a:lnTo>
                    <a:lnTo>
                      <a:pt x="6383" y="15474"/>
                    </a:lnTo>
                    <a:lnTo>
                      <a:pt x="6050" y="15474"/>
                    </a:lnTo>
                    <a:lnTo>
                      <a:pt x="6050" y="15205"/>
                    </a:lnTo>
                    <a:lnTo>
                      <a:pt x="5687" y="15205"/>
                    </a:lnTo>
                    <a:lnTo>
                      <a:pt x="5687" y="15474"/>
                    </a:lnTo>
                    <a:lnTo>
                      <a:pt x="5536" y="15474"/>
                    </a:lnTo>
                    <a:lnTo>
                      <a:pt x="5536" y="15620"/>
                    </a:lnTo>
                    <a:lnTo>
                      <a:pt x="5355" y="15620"/>
                    </a:lnTo>
                    <a:lnTo>
                      <a:pt x="5355" y="15352"/>
                    </a:lnTo>
                    <a:lnTo>
                      <a:pt x="4992" y="15352"/>
                    </a:lnTo>
                    <a:lnTo>
                      <a:pt x="4992" y="15474"/>
                    </a:lnTo>
                    <a:lnTo>
                      <a:pt x="4477" y="15474"/>
                    </a:lnTo>
                    <a:lnTo>
                      <a:pt x="4477" y="15620"/>
                    </a:lnTo>
                    <a:lnTo>
                      <a:pt x="4296" y="15620"/>
                    </a:lnTo>
                    <a:lnTo>
                      <a:pt x="4296" y="15474"/>
                    </a:lnTo>
                    <a:lnTo>
                      <a:pt x="3963" y="15474"/>
                    </a:lnTo>
                    <a:lnTo>
                      <a:pt x="3963" y="15352"/>
                    </a:lnTo>
                    <a:lnTo>
                      <a:pt x="3782" y="15352"/>
                    </a:lnTo>
                    <a:lnTo>
                      <a:pt x="3963" y="15205"/>
                    </a:lnTo>
                    <a:lnTo>
                      <a:pt x="3630" y="15205"/>
                    </a:lnTo>
                    <a:lnTo>
                      <a:pt x="3630" y="14913"/>
                    </a:lnTo>
                    <a:lnTo>
                      <a:pt x="3782" y="14913"/>
                    </a:lnTo>
                    <a:lnTo>
                      <a:pt x="3782" y="14791"/>
                    </a:lnTo>
                    <a:lnTo>
                      <a:pt x="3963" y="14644"/>
                    </a:lnTo>
                    <a:lnTo>
                      <a:pt x="3782" y="14644"/>
                    </a:lnTo>
                    <a:lnTo>
                      <a:pt x="3782" y="14498"/>
                    </a:lnTo>
                    <a:lnTo>
                      <a:pt x="3449" y="14498"/>
                    </a:lnTo>
                    <a:lnTo>
                      <a:pt x="3449" y="14376"/>
                    </a:lnTo>
                    <a:lnTo>
                      <a:pt x="3267" y="14376"/>
                    </a:lnTo>
                    <a:lnTo>
                      <a:pt x="3267" y="14229"/>
                    </a:lnTo>
                    <a:lnTo>
                      <a:pt x="2753" y="14229"/>
                    </a:lnTo>
                    <a:lnTo>
                      <a:pt x="2420" y="14083"/>
                    </a:lnTo>
                    <a:lnTo>
                      <a:pt x="2239" y="14229"/>
                    </a:lnTo>
                    <a:lnTo>
                      <a:pt x="1724" y="14229"/>
                    </a:lnTo>
                    <a:lnTo>
                      <a:pt x="1724" y="14083"/>
                    </a:lnTo>
                    <a:lnTo>
                      <a:pt x="1724" y="14229"/>
                    </a:lnTo>
                    <a:lnTo>
                      <a:pt x="1210" y="14229"/>
                    </a:lnTo>
                    <a:lnTo>
                      <a:pt x="1210" y="14083"/>
                    </a:lnTo>
                    <a:lnTo>
                      <a:pt x="1029" y="14083"/>
                    </a:lnTo>
                    <a:lnTo>
                      <a:pt x="1029" y="14229"/>
                    </a:lnTo>
                    <a:lnTo>
                      <a:pt x="666" y="14229"/>
                    </a:lnTo>
                    <a:lnTo>
                      <a:pt x="666" y="14083"/>
                    </a:lnTo>
                    <a:lnTo>
                      <a:pt x="514" y="13936"/>
                    </a:lnTo>
                    <a:lnTo>
                      <a:pt x="666" y="13936"/>
                    </a:lnTo>
                    <a:lnTo>
                      <a:pt x="666" y="13814"/>
                    </a:lnTo>
                    <a:lnTo>
                      <a:pt x="514" y="13668"/>
                    </a:lnTo>
                    <a:lnTo>
                      <a:pt x="333" y="13668"/>
                    </a:lnTo>
                    <a:lnTo>
                      <a:pt x="333" y="13521"/>
                    </a:lnTo>
                    <a:lnTo>
                      <a:pt x="151" y="13668"/>
                    </a:lnTo>
                    <a:lnTo>
                      <a:pt x="151" y="13521"/>
                    </a:lnTo>
                    <a:lnTo>
                      <a:pt x="0" y="13521"/>
                    </a:lnTo>
                    <a:lnTo>
                      <a:pt x="0" y="13253"/>
                    </a:lnTo>
                    <a:lnTo>
                      <a:pt x="333" y="13253"/>
                    </a:lnTo>
                    <a:lnTo>
                      <a:pt x="333" y="12960"/>
                    </a:lnTo>
                    <a:lnTo>
                      <a:pt x="514" y="12960"/>
                    </a:lnTo>
                    <a:lnTo>
                      <a:pt x="333" y="12960"/>
                    </a:lnTo>
                    <a:lnTo>
                      <a:pt x="333" y="12838"/>
                    </a:lnTo>
                    <a:lnTo>
                      <a:pt x="514" y="12838"/>
                    </a:lnTo>
                    <a:lnTo>
                      <a:pt x="514" y="12692"/>
                    </a:lnTo>
                    <a:lnTo>
                      <a:pt x="666" y="12545"/>
                    </a:lnTo>
                    <a:lnTo>
                      <a:pt x="666" y="12277"/>
                    </a:lnTo>
                    <a:lnTo>
                      <a:pt x="847" y="12277"/>
                    </a:lnTo>
                    <a:lnTo>
                      <a:pt x="847" y="12130"/>
                    </a:lnTo>
                    <a:lnTo>
                      <a:pt x="666" y="12130"/>
                    </a:lnTo>
                    <a:lnTo>
                      <a:pt x="514" y="11984"/>
                    </a:lnTo>
                    <a:lnTo>
                      <a:pt x="514" y="11715"/>
                    </a:lnTo>
                    <a:lnTo>
                      <a:pt x="666" y="11715"/>
                    </a:lnTo>
                    <a:lnTo>
                      <a:pt x="514" y="11715"/>
                    </a:lnTo>
                    <a:lnTo>
                      <a:pt x="514" y="11447"/>
                    </a:lnTo>
                    <a:lnTo>
                      <a:pt x="333" y="11300"/>
                    </a:lnTo>
                    <a:lnTo>
                      <a:pt x="666" y="11300"/>
                    </a:lnTo>
                    <a:lnTo>
                      <a:pt x="847" y="11154"/>
                    </a:lnTo>
                    <a:lnTo>
                      <a:pt x="1210" y="11154"/>
                    </a:lnTo>
                    <a:lnTo>
                      <a:pt x="1210" y="11300"/>
                    </a:lnTo>
                    <a:lnTo>
                      <a:pt x="1210" y="11154"/>
                    </a:lnTo>
                    <a:lnTo>
                      <a:pt x="1361" y="11032"/>
                    </a:lnTo>
                    <a:lnTo>
                      <a:pt x="1361" y="10885"/>
                    </a:lnTo>
                    <a:lnTo>
                      <a:pt x="1543" y="10885"/>
                    </a:lnTo>
                    <a:lnTo>
                      <a:pt x="1543" y="10739"/>
                    </a:lnTo>
                    <a:lnTo>
                      <a:pt x="1876" y="10739"/>
                    </a:lnTo>
                    <a:lnTo>
                      <a:pt x="1876" y="10593"/>
                    </a:lnTo>
                    <a:lnTo>
                      <a:pt x="1876" y="10739"/>
                    </a:lnTo>
                    <a:lnTo>
                      <a:pt x="2057" y="10739"/>
                    </a:lnTo>
                    <a:lnTo>
                      <a:pt x="1876" y="10593"/>
                    </a:lnTo>
                    <a:lnTo>
                      <a:pt x="2057" y="10593"/>
                    </a:lnTo>
                    <a:lnTo>
                      <a:pt x="2057" y="10471"/>
                    </a:lnTo>
                    <a:lnTo>
                      <a:pt x="2239" y="10471"/>
                    </a:lnTo>
                    <a:lnTo>
                      <a:pt x="2239" y="10324"/>
                    </a:lnTo>
                    <a:lnTo>
                      <a:pt x="2420" y="10471"/>
                    </a:lnTo>
                    <a:lnTo>
                      <a:pt x="2420" y="10324"/>
                    </a:lnTo>
                    <a:lnTo>
                      <a:pt x="2753" y="10324"/>
                    </a:lnTo>
                    <a:lnTo>
                      <a:pt x="2753" y="10178"/>
                    </a:lnTo>
                    <a:lnTo>
                      <a:pt x="2934" y="10178"/>
                    </a:lnTo>
                    <a:lnTo>
                      <a:pt x="2934" y="10324"/>
                    </a:lnTo>
                    <a:lnTo>
                      <a:pt x="3086" y="10324"/>
                    </a:lnTo>
                    <a:lnTo>
                      <a:pt x="3267" y="10178"/>
                    </a:lnTo>
                    <a:lnTo>
                      <a:pt x="3449" y="10178"/>
                    </a:lnTo>
                    <a:lnTo>
                      <a:pt x="3449" y="10056"/>
                    </a:lnTo>
                    <a:lnTo>
                      <a:pt x="3630" y="10056"/>
                    </a:lnTo>
                    <a:lnTo>
                      <a:pt x="3630" y="10178"/>
                    </a:lnTo>
                    <a:lnTo>
                      <a:pt x="3630" y="10056"/>
                    </a:lnTo>
                    <a:lnTo>
                      <a:pt x="4145" y="10056"/>
                    </a:lnTo>
                    <a:lnTo>
                      <a:pt x="4145" y="9763"/>
                    </a:lnTo>
                    <a:lnTo>
                      <a:pt x="4296" y="9763"/>
                    </a:lnTo>
                    <a:lnTo>
                      <a:pt x="4296" y="9616"/>
                    </a:lnTo>
                    <a:lnTo>
                      <a:pt x="4477" y="9616"/>
                    </a:lnTo>
                    <a:lnTo>
                      <a:pt x="4477" y="9494"/>
                    </a:lnTo>
                    <a:lnTo>
                      <a:pt x="4477" y="9616"/>
                    </a:lnTo>
                    <a:lnTo>
                      <a:pt x="4659" y="9616"/>
                    </a:lnTo>
                    <a:lnTo>
                      <a:pt x="4659" y="9494"/>
                    </a:lnTo>
                    <a:lnTo>
                      <a:pt x="4840" y="9494"/>
                    </a:lnTo>
                    <a:lnTo>
                      <a:pt x="4840" y="9348"/>
                    </a:lnTo>
                    <a:lnTo>
                      <a:pt x="5355" y="9348"/>
                    </a:lnTo>
                    <a:lnTo>
                      <a:pt x="5355" y="9079"/>
                    </a:lnTo>
                    <a:lnTo>
                      <a:pt x="5173" y="9079"/>
                    </a:lnTo>
                    <a:lnTo>
                      <a:pt x="5173" y="8933"/>
                    </a:lnTo>
                    <a:lnTo>
                      <a:pt x="5536" y="8933"/>
                    </a:lnTo>
                    <a:lnTo>
                      <a:pt x="5536" y="8518"/>
                    </a:lnTo>
                    <a:lnTo>
                      <a:pt x="5687" y="8518"/>
                    </a:lnTo>
                    <a:lnTo>
                      <a:pt x="5536" y="8518"/>
                    </a:lnTo>
                    <a:lnTo>
                      <a:pt x="5687" y="8518"/>
                    </a:lnTo>
                    <a:lnTo>
                      <a:pt x="5536" y="8518"/>
                    </a:lnTo>
                    <a:lnTo>
                      <a:pt x="5536" y="8372"/>
                    </a:lnTo>
                    <a:lnTo>
                      <a:pt x="4992" y="8372"/>
                    </a:lnTo>
                    <a:lnTo>
                      <a:pt x="4992" y="8103"/>
                    </a:lnTo>
                    <a:lnTo>
                      <a:pt x="5173" y="8103"/>
                    </a:lnTo>
                    <a:lnTo>
                      <a:pt x="5173" y="7664"/>
                    </a:lnTo>
                    <a:lnTo>
                      <a:pt x="5355" y="7664"/>
                    </a:lnTo>
                    <a:lnTo>
                      <a:pt x="5355" y="7542"/>
                    </a:lnTo>
                    <a:lnTo>
                      <a:pt x="5536" y="7542"/>
                    </a:lnTo>
                    <a:lnTo>
                      <a:pt x="5536" y="7395"/>
                    </a:lnTo>
                    <a:lnTo>
                      <a:pt x="5687" y="7395"/>
                    </a:lnTo>
                    <a:lnTo>
                      <a:pt x="5687" y="6712"/>
                    </a:lnTo>
                    <a:lnTo>
                      <a:pt x="5355" y="6712"/>
                    </a:lnTo>
                    <a:lnTo>
                      <a:pt x="5355" y="6419"/>
                    </a:lnTo>
                    <a:lnTo>
                      <a:pt x="5173" y="6419"/>
                    </a:lnTo>
                    <a:lnTo>
                      <a:pt x="5173" y="6565"/>
                    </a:lnTo>
                    <a:lnTo>
                      <a:pt x="5173" y="6419"/>
                    </a:lnTo>
                    <a:lnTo>
                      <a:pt x="4992" y="6419"/>
                    </a:lnTo>
                    <a:lnTo>
                      <a:pt x="5173" y="6419"/>
                    </a:lnTo>
                    <a:lnTo>
                      <a:pt x="5173" y="6151"/>
                    </a:lnTo>
                    <a:lnTo>
                      <a:pt x="5355" y="6151"/>
                    </a:lnTo>
                    <a:lnTo>
                      <a:pt x="5355" y="6004"/>
                    </a:lnTo>
                    <a:lnTo>
                      <a:pt x="5536" y="6004"/>
                    </a:lnTo>
                    <a:lnTo>
                      <a:pt x="5536" y="6151"/>
                    </a:lnTo>
                    <a:lnTo>
                      <a:pt x="5536" y="6004"/>
                    </a:lnTo>
                    <a:lnTo>
                      <a:pt x="5687" y="6004"/>
                    </a:lnTo>
                    <a:lnTo>
                      <a:pt x="5687" y="5858"/>
                    </a:lnTo>
                    <a:lnTo>
                      <a:pt x="5869" y="5858"/>
                    </a:lnTo>
                    <a:lnTo>
                      <a:pt x="5869" y="6004"/>
                    </a:lnTo>
                    <a:lnTo>
                      <a:pt x="6050" y="6151"/>
                    </a:lnTo>
                    <a:lnTo>
                      <a:pt x="5869" y="6004"/>
                    </a:lnTo>
                    <a:lnTo>
                      <a:pt x="6050" y="6151"/>
                    </a:lnTo>
                    <a:lnTo>
                      <a:pt x="6202" y="6151"/>
                    </a:lnTo>
                    <a:lnTo>
                      <a:pt x="6202" y="6273"/>
                    </a:lnTo>
                    <a:lnTo>
                      <a:pt x="6383" y="6273"/>
                    </a:lnTo>
                    <a:lnTo>
                      <a:pt x="6383" y="6419"/>
                    </a:lnTo>
                    <a:lnTo>
                      <a:pt x="6202" y="6419"/>
                    </a:lnTo>
                    <a:lnTo>
                      <a:pt x="6202" y="6273"/>
                    </a:lnTo>
                    <a:lnTo>
                      <a:pt x="6202" y="6419"/>
                    </a:lnTo>
                    <a:lnTo>
                      <a:pt x="6383" y="6419"/>
                    </a:lnTo>
                    <a:lnTo>
                      <a:pt x="6383" y="6565"/>
                    </a:lnTo>
                    <a:lnTo>
                      <a:pt x="6565" y="6565"/>
                    </a:lnTo>
                    <a:lnTo>
                      <a:pt x="6565" y="6834"/>
                    </a:lnTo>
                    <a:lnTo>
                      <a:pt x="6746" y="6834"/>
                    </a:lnTo>
                    <a:lnTo>
                      <a:pt x="6897" y="6980"/>
                    </a:lnTo>
                    <a:lnTo>
                      <a:pt x="7079" y="6980"/>
                    </a:lnTo>
                    <a:lnTo>
                      <a:pt x="7079" y="7395"/>
                    </a:lnTo>
                    <a:lnTo>
                      <a:pt x="7261" y="7395"/>
                    </a:lnTo>
                    <a:lnTo>
                      <a:pt x="7261" y="7664"/>
                    </a:lnTo>
                    <a:lnTo>
                      <a:pt x="7412" y="7664"/>
                    </a:lnTo>
                    <a:lnTo>
                      <a:pt x="7412" y="7957"/>
                    </a:lnTo>
                    <a:lnTo>
                      <a:pt x="7593" y="7957"/>
                    </a:lnTo>
                    <a:lnTo>
                      <a:pt x="7593" y="8225"/>
                    </a:lnTo>
                    <a:lnTo>
                      <a:pt x="7775" y="8225"/>
                    </a:lnTo>
                    <a:lnTo>
                      <a:pt x="7593" y="8225"/>
                    </a:lnTo>
                    <a:lnTo>
                      <a:pt x="7775" y="8225"/>
                    </a:lnTo>
                    <a:lnTo>
                      <a:pt x="7593" y="8225"/>
                    </a:lnTo>
                    <a:lnTo>
                      <a:pt x="7593" y="8518"/>
                    </a:lnTo>
                    <a:lnTo>
                      <a:pt x="7775" y="8518"/>
                    </a:lnTo>
                    <a:lnTo>
                      <a:pt x="7775" y="8372"/>
                    </a:lnTo>
                    <a:lnTo>
                      <a:pt x="7956" y="8372"/>
                    </a:lnTo>
                    <a:lnTo>
                      <a:pt x="7956" y="8225"/>
                    </a:lnTo>
                    <a:lnTo>
                      <a:pt x="8108" y="8225"/>
                    </a:lnTo>
                    <a:lnTo>
                      <a:pt x="8108" y="8103"/>
                    </a:lnTo>
                    <a:lnTo>
                      <a:pt x="8289" y="8103"/>
                    </a:lnTo>
                    <a:lnTo>
                      <a:pt x="8289" y="7957"/>
                    </a:lnTo>
                    <a:lnTo>
                      <a:pt x="8471" y="7810"/>
                    </a:lnTo>
                    <a:lnTo>
                      <a:pt x="8471" y="7664"/>
                    </a:lnTo>
                    <a:lnTo>
                      <a:pt x="8622" y="7664"/>
                    </a:lnTo>
                    <a:lnTo>
                      <a:pt x="8622" y="7542"/>
                    </a:lnTo>
                    <a:lnTo>
                      <a:pt x="8803" y="7542"/>
                    </a:lnTo>
                    <a:lnTo>
                      <a:pt x="8803" y="7395"/>
                    </a:lnTo>
                    <a:lnTo>
                      <a:pt x="8622" y="7395"/>
                    </a:lnTo>
                    <a:lnTo>
                      <a:pt x="8803" y="7395"/>
                    </a:lnTo>
                    <a:lnTo>
                      <a:pt x="8803" y="7249"/>
                    </a:lnTo>
                    <a:lnTo>
                      <a:pt x="8289" y="7249"/>
                    </a:lnTo>
                    <a:lnTo>
                      <a:pt x="8289" y="6712"/>
                    </a:lnTo>
                    <a:lnTo>
                      <a:pt x="8108" y="6712"/>
                    </a:lnTo>
                    <a:lnTo>
                      <a:pt x="8108" y="6419"/>
                    </a:lnTo>
                    <a:lnTo>
                      <a:pt x="8289" y="6419"/>
                    </a:lnTo>
                    <a:lnTo>
                      <a:pt x="8289" y="6151"/>
                    </a:lnTo>
                    <a:lnTo>
                      <a:pt x="8471" y="6151"/>
                    </a:lnTo>
                    <a:lnTo>
                      <a:pt x="8471" y="6004"/>
                    </a:lnTo>
                    <a:lnTo>
                      <a:pt x="8289" y="6004"/>
                    </a:lnTo>
                    <a:lnTo>
                      <a:pt x="8289" y="6151"/>
                    </a:lnTo>
                    <a:lnTo>
                      <a:pt x="8108" y="6151"/>
                    </a:lnTo>
                    <a:lnTo>
                      <a:pt x="8108" y="5858"/>
                    </a:lnTo>
                    <a:lnTo>
                      <a:pt x="7956" y="5858"/>
                    </a:lnTo>
                    <a:lnTo>
                      <a:pt x="7956" y="5736"/>
                    </a:lnTo>
                    <a:lnTo>
                      <a:pt x="7775" y="5736"/>
                    </a:lnTo>
                    <a:lnTo>
                      <a:pt x="7775" y="5589"/>
                    </a:lnTo>
                    <a:lnTo>
                      <a:pt x="7593" y="5589"/>
                    </a:lnTo>
                    <a:lnTo>
                      <a:pt x="7593" y="5736"/>
                    </a:lnTo>
                    <a:lnTo>
                      <a:pt x="7593" y="5589"/>
                    </a:lnTo>
                    <a:lnTo>
                      <a:pt x="7412" y="5736"/>
                    </a:lnTo>
                    <a:lnTo>
                      <a:pt x="7412" y="5858"/>
                    </a:lnTo>
                    <a:lnTo>
                      <a:pt x="7412" y="5443"/>
                    </a:lnTo>
                    <a:lnTo>
                      <a:pt x="7593" y="5443"/>
                    </a:lnTo>
                    <a:lnTo>
                      <a:pt x="7593" y="5174"/>
                    </a:lnTo>
                    <a:lnTo>
                      <a:pt x="7775" y="5174"/>
                    </a:lnTo>
                    <a:lnTo>
                      <a:pt x="7775" y="4881"/>
                    </a:lnTo>
                    <a:lnTo>
                      <a:pt x="7956" y="4881"/>
                    </a:lnTo>
                    <a:lnTo>
                      <a:pt x="7956" y="5028"/>
                    </a:lnTo>
                    <a:lnTo>
                      <a:pt x="7775" y="5028"/>
                    </a:lnTo>
                    <a:lnTo>
                      <a:pt x="7956" y="5174"/>
                    </a:lnTo>
                    <a:lnTo>
                      <a:pt x="7956" y="5028"/>
                    </a:lnTo>
                    <a:lnTo>
                      <a:pt x="8108" y="5028"/>
                    </a:lnTo>
                    <a:lnTo>
                      <a:pt x="8108" y="4881"/>
                    </a:lnTo>
                    <a:lnTo>
                      <a:pt x="8289" y="4881"/>
                    </a:lnTo>
                    <a:lnTo>
                      <a:pt x="8108" y="4881"/>
                    </a:lnTo>
                    <a:lnTo>
                      <a:pt x="8289" y="4881"/>
                    </a:lnTo>
                    <a:lnTo>
                      <a:pt x="8289" y="4759"/>
                    </a:lnTo>
                    <a:lnTo>
                      <a:pt x="8108" y="4759"/>
                    </a:lnTo>
                    <a:lnTo>
                      <a:pt x="8108" y="4881"/>
                    </a:lnTo>
                    <a:lnTo>
                      <a:pt x="8108" y="4613"/>
                    </a:lnTo>
                    <a:lnTo>
                      <a:pt x="8289" y="4466"/>
                    </a:lnTo>
                    <a:lnTo>
                      <a:pt x="8289" y="4320"/>
                    </a:lnTo>
                    <a:lnTo>
                      <a:pt x="8471" y="4320"/>
                    </a:lnTo>
                    <a:lnTo>
                      <a:pt x="8471" y="3905"/>
                    </a:lnTo>
                    <a:lnTo>
                      <a:pt x="8622" y="3905"/>
                    </a:lnTo>
                    <a:lnTo>
                      <a:pt x="8622" y="3490"/>
                    </a:lnTo>
                    <a:lnTo>
                      <a:pt x="8471" y="3490"/>
                    </a:lnTo>
                    <a:lnTo>
                      <a:pt x="8471" y="3637"/>
                    </a:lnTo>
                    <a:lnTo>
                      <a:pt x="8108" y="3637"/>
                    </a:lnTo>
                    <a:lnTo>
                      <a:pt x="8289" y="3490"/>
                    </a:lnTo>
                    <a:lnTo>
                      <a:pt x="8289" y="3222"/>
                    </a:lnTo>
                    <a:lnTo>
                      <a:pt x="8471" y="3222"/>
                    </a:lnTo>
                    <a:lnTo>
                      <a:pt x="8471" y="3075"/>
                    </a:lnTo>
                    <a:lnTo>
                      <a:pt x="8622" y="3075"/>
                    </a:lnTo>
                    <a:lnTo>
                      <a:pt x="8622" y="2929"/>
                    </a:lnTo>
                    <a:lnTo>
                      <a:pt x="8471" y="2929"/>
                    </a:lnTo>
                    <a:lnTo>
                      <a:pt x="8622" y="2929"/>
                    </a:lnTo>
                    <a:lnTo>
                      <a:pt x="8622" y="2807"/>
                    </a:lnTo>
                    <a:lnTo>
                      <a:pt x="8803" y="2660"/>
                    </a:lnTo>
                    <a:lnTo>
                      <a:pt x="9318" y="2660"/>
                    </a:lnTo>
                    <a:lnTo>
                      <a:pt x="9318" y="2514"/>
                    </a:lnTo>
                    <a:lnTo>
                      <a:pt x="9681" y="2514"/>
                    </a:lnTo>
                    <a:lnTo>
                      <a:pt x="9681" y="2392"/>
                    </a:lnTo>
                    <a:lnTo>
                      <a:pt x="9681" y="2514"/>
                    </a:lnTo>
                    <a:lnTo>
                      <a:pt x="9681" y="2392"/>
                    </a:lnTo>
                    <a:lnTo>
                      <a:pt x="9832" y="2392"/>
                    </a:lnTo>
                    <a:lnTo>
                      <a:pt x="9832" y="2245"/>
                    </a:lnTo>
                    <a:lnTo>
                      <a:pt x="10195" y="2245"/>
                    </a:lnTo>
                    <a:lnTo>
                      <a:pt x="10013" y="2099"/>
                    </a:lnTo>
                    <a:lnTo>
                      <a:pt x="10195" y="2099"/>
                    </a:lnTo>
                    <a:lnTo>
                      <a:pt x="10195" y="1953"/>
                    </a:lnTo>
                    <a:lnTo>
                      <a:pt x="10376" y="1953"/>
                    </a:lnTo>
                    <a:lnTo>
                      <a:pt x="10376" y="1831"/>
                    </a:lnTo>
                    <a:lnTo>
                      <a:pt x="10528" y="1684"/>
                    </a:lnTo>
                    <a:lnTo>
                      <a:pt x="10528" y="1538"/>
                    </a:lnTo>
                    <a:lnTo>
                      <a:pt x="10709" y="1538"/>
                    </a:lnTo>
                    <a:lnTo>
                      <a:pt x="10709" y="1269"/>
                    </a:lnTo>
                    <a:lnTo>
                      <a:pt x="10891" y="1269"/>
                    </a:lnTo>
                    <a:lnTo>
                      <a:pt x="10891" y="976"/>
                    </a:lnTo>
                    <a:lnTo>
                      <a:pt x="11042" y="976"/>
                    </a:lnTo>
                    <a:lnTo>
                      <a:pt x="11042" y="708"/>
                    </a:lnTo>
                    <a:lnTo>
                      <a:pt x="11224" y="708"/>
                    </a:lnTo>
                    <a:lnTo>
                      <a:pt x="11224" y="561"/>
                    </a:lnTo>
                    <a:lnTo>
                      <a:pt x="11405" y="561"/>
                    </a:lnTo>
                    <a:lnTo>
                      <a:pt x="11224" y="561"/>
                    </a:lnTo>
                    <a:lnTo>
                      <a:pt x="11224" y="439"/>
                    </a:lnTo>
                    <a:lnTo>
                      <a:pt x="11405" y="439"/>
                    </a:lnTo>
                    <a:lnTo>
                      <a:pt x="11587" y="293"/>
                    </a:lnTo>
                    <a:lnTo>
                      <a:pt x="11587" y="146"/>
                    </a:lnTo>
                    <a:lnTo>
                      <a:pt x="11738" y="146"/>
                    </a:lnTo>
                    <a:lnTo>
                      <a:pt x="11738" y="0"/>
                    </a:lnTo>
                    <a:lnTo>
                      <a:pt x="11919" y="0"/>
                    </a:lnTo>
                    <a:lnTo>
                      <a:pt x="12101" y="146"/>
                    </a:lnTo>
                    <a:lnTo>
                      <a:pt x="11738" y="146"/>
                    </a:lnTo>
                    <a:lnTo>
                      <a:pt x="11919" y="293"/>
                    </a:lnTo>
                    <a:lnTo>
                      <a:pt x="12615" y="293"/>
                    </a:lnTo>
                    <a:lnTo>
                      <a:pt x="12615" y="439"/>
                    </a:lnTo>
                    <a:lnTo>
                      <a:pt x="13311" y="439"/>
                    </a:lnTo>
                    <a:lnTo>
                      <a:pt x="13311" y="561"/>
                    </a:lnTo>
                    <a:lnTo>
                      <a:pt x="13462" y="561"/>
                    </a:lnTo>
                    <a:lnTo>
                      <a:pt x="13462" y="708"/>
                    </a:lnTo>
                    <a:lnTo>
                      <a:pt x="13311" y="708"/>
                    </a:lnTo>
                    <a:lnTo>
                      <a:pt x="13644" y="708"/>
                    </a:lnTo>
                    <a:lnTo>
                      <a:pt x="13644" y="854"/>
                    </a:lnTo>
                    <a:lnTo>
                      <a:pt x="13825" y="854"/>
                    </a:lnTo>
                    <a:lnTo>
                      <a:pt x="13825" y="976"/>
                    </a:lnTo>
                    <a:lnTo>
                      <a:pt x="14007" y="976"/>
                    </a:lnTo>
                    <a:lnTo>
                      <a:pt x="14007" y="1123"/>
                    </a:lnTo>
                    <a:lnTo>
                      <a:pt x="13825" y="1123"/>
                    </a:lnTo>
                    <a:lnTo>
                      <a:pt x="13825" y="1416"/>
                    </a:lnTo>
                    <a:lnTo>
                      <a:pt x="14007" y="1416"/>
                    </a:lnTo>
                    <a:lnTo>
                      <a:pt x="13825" y="1416"/>
                    </a:lnTo>
                    <a:lnTo>
                      <a:pt x="13825" y="1831"/>
                    </a:lnTo>
                    <a:lnTo>
                      <a:pt x="13644" y="1953"/>
                    </a:lnTo>
                    <a:lnTo>
                      <a:pt x="13644" y="2099"/>
                    </a:lnTo>
                    <a:lnTo>
                      <a:pt x="13462" y="2099"/>
                    </a:lnTo>
                    <a:lnTo>
                      <a:pt x="13462" y="2392"/>
                    </a:lnTo>
                    <a:lnTo>
                      <a:pt x="13311" y="2392"/>
                    </a:lnTo>
                    <a:lnTo>
                      <a:pt x="13311" y="2514"/>
                    </a:lnTo>
                    <a:lnTo>
                      <a:pt x="13129" y="2514"/>
                    </a:lnTo>
                    <a:lnTo>
                      <a:pt x="13129" y="2807"/>
                    </a:lnTo>
                    <a:lnTo>
                      <a:pt x="12948" y="2807"/>
                    </a:lnTo>
                    <a:lnTo>
                      <a:pt x="12948" y="3075"/>
                    </a:lnTo>
                    <a:lnTo>
                      <a:pt x="12797" y="3075"/>
                    </a:lnTo>
                    <a:lnTo>
                      <a:pt x="12797" y="2929"/>
                    </a:lnTo>
                    <a:lnTo>
                      <a:pt x="12615" y="2929"/>
                    </a:lnTo>
                    <a:lnTo>
                      <a:pt x="12615" y="3222"/>
                    </a:lnTo>
                    <a:lnTo>
                      <a:pt x="12434" y="3222"/>
                    </a:lnTo>
                    <a:lnTo>
                      <a:pt x="12434" y="3368"/>
                    </a:lnTo>
                    <a:lnTo>
                      <a:pt x="12615" y="3368"/>
                    </a:lnTo>
                    <a:lnTo>
                      <a:pt x="12615" y="3637"/>
                    </a:lnTo>
                    <a:lnTo>
                      <a:pt x="12797" y="3783"/>
                    </a:lnTo>
                    <a:lnTo>
                      <a:pt x="12797" y="3905"/>
                    </a:lnTo>
                    <a:lnTo>
                      <a:pt x="12948" y="3905"/>
                    </a:lnTo>
                    <a:lnTo>
                      <a:pt x="12948" y="4052"/>
                    </a:lnTo>
                    <a:lnTo>
                      <a:pt x="12797" y="4198"/>
                    </a:lnTo>
                    <a:lnTo>
                      <a:pt x="12797" y="4320"/>
                    </a:lnTo>
                    <a:lnTo>
                      <a:pt x="12948" y="4320"/>
                    </a:lnTo>
                    <a:lnTo>
                      <a:pt x="12948" y="4613"/>
                    </a:lnTo>
                    <a:lnTo>
                      <a:pt x="12797" y="4613"/>
                    </a:lnTo>
                    <a:lnTo>
                      <a:pt x="12797" y="4881"/>
                    </a:lnTo>
                    <a:lnTo>
                      <a:pt x="12615" y="4881"/>
                    </a:lnTo>
                    <a:lnTo>
                      <a:pt x="12615" y="5296"/>
                    </a:lnTo>
                    <a:lnTo>
                      <a:pt x="12434" y="5296"/>
                    </a:lnTo>
                    <a:lnTo>
                      <a:pt x="12434" y="5443"/>
                    </a:lnTo>
                    <a:lnTo>
                      <a:pt x="12252" y="5443"/>
                    </a:lnTo>
                    <a:lnTo>
                      <a:pt x="12252" y="6419"/>
                    </a:lnTo>
                    <a:lnTo>
                      <a:pt x="12101" y="6565"/>
                    </a:lnTo>
                    <a:lnTo>
                      <a:pt x="12101" y="6712"/>
                    </a:lnTo>
                    <a:lnTo>
                      <a:pt x="11919" y="6712"/>
                    </a:lnTo>
                    <a:lnTo>
                      <a:pt x="11919" y="7127"/>
                    </a:lnTo>
                    <a:lnTo>
                      <a:pt x="11738" y="7127"/>
                    </a:lnTo>
                    <a:lnTo>
                      <a:pt x="11919" y="7127"/>
                    </a:lnTo>
                    <a:lnTo>
                      <a:pt x="11919" y="7395"/>
                    </a:lnTo>
                    <a:lnTo>
                      <a:pt x="11738" y="7395"/>
                    </a:lnTo>
                    <a:lnTo>
                      <a:pt x="11738" y="7542"/>
                    </a:lnTo>
                    <a:lnTo>
                      <a:pt x="11587" y="7542"/>
                    </a:lnTo>
                    <a:lnTo>
                      <a:pt x="11587" y="8103"/>
                    </a:lnTo>
                    <a:lnTo>
                      <a:pt x="11738" y="8225"/>
                    </a:lnTo>
                    <a:lnTo>
                      <a:pt x="11738" y="8372"/>
                    </a:lnTo>
                    <a:lnTo>
                      <a:pt x="11919" y="8372"/>
                    </a:lnTo>
                    <a:lnTo>
                      <a:pt x="11919" y="8518"/>
                    </a:lnTo>
                    <a:lnTo>
                      <a:pt x="12101" y="8518"/>
                    </a:lnTo>
                    <a:lnTo>
                      <a:pt x="12101" y="8786"/>
                    </a:lnTo>
                    <a:lnTo>
                      <a:pt x="12252" y="8786"/>
                    </a:lnTo>
                    <a:lnTo>
                      <a:pt x="12252" y="9079"/>
                    </a:lnTo>
                    <a:lnTo>
                      <a:pt x="12101" y="9079"/>
                    </a:lnTo>
                    <a:lnTo>
                      <a:pt x="12101" y="8933"/>
                    </a:lnTo>
                    <a:lnTo>
                      <a:pt x="12101" y="9079"/>
                    </a:lnTo>
                    <a:lnTo>
                      <a:pt x="11919" y="9079"/>
                    </a:lnTo>
                    <a:lnTo>
                      <a:pt x="11919" y="9201"/>
                    </a:lnTo>
                    <a:lnTo>
                      <a:pt x="11738" y="9201"/>
                    </a:lnTo>
                    <a:lnTo>
                      <a:pt x="11738" y="9348"/>
                    </a:lnTo>
                    <a:lnTo>
                      <a:pt x="11587" y="9348"/>
                    </a:lnTo>
                    <a:lnTo>
                      <a:pt x="11587" y="10056"/>
                    </a:lnTo>
                    <a:lnTo>
                      <a:pt x="11405" y="10056"/>
                    </a:lnTo>
                    <a:lnTo>
                      <a:pt x="11405" y="10178"/>
                    </a:lnTo>
                    <a:lnTo>
                      <a:pt x="11224" y="10178"/>
                    </a:lnTo>
                    <a:lnTo>
                      <a:pt x="11224" y="10324"/>
                    </a:lnTo>
                    <a:lnTo>
                      <a:pt x="11042" y="10324"/>
                    </a:lnTo>
                    <a:lnTo>
                      <a:pt x="10891" y="10471"/>
                    </a:lnTo>
                    <a:lnTo>
                      <a:pt x="10891" y="10324"/>
                    </a:lnTo>
                    <a:lnTo>
                      <a:pt x="10891" y="10471"/>
                    </a:lnTo>
                    <a:lnTo>
                      <a:pt x="10709" y="10471"/>
                    </a:lnTo>
                    <a:lnTo>
                      <a:pt x="10709" y="10593"/>
                    </a:lnTo>
                    <a:lnTo>
                      <a:pt x="10528" y="10593"/>
                    </a:lnTo>
                    <a:lnTo>
                      <a:pt x="10528" y="10885"/>
                    </a:lnTo>
                    <a:lnTo>
                      <a:pt x="10195" y="10885"/>
                    </a:lnTo>
                    <a:lnTo>
                      <a:pt x="10376" y="11032"/>
                    </a:lnTo>
                    <a:lnTo>
                      <a:pt x="10376" y="11154"/>
                    </a:lnTo>
                    <a:lnTo>
                      <a:pt x="10195" y="11154"/>
                    </a:lnTo>
                    <a:lnTo>
                      <a:pt x="10195" y="11032"/>
                    </a:lnTo>
                    <a:lnTo>
                      <a:pt x="10195" y="11154"/>
                    </a:lnTo>
                    <a:lnTo>
                      <a:pt x="10013" y="11154"/>
                    </a:lnTo>
                    <a:lnTo>
                      <a:pt x="10013" y="11300"/>
                    </a:lnTo>
                    <a:lnTo>
                      <a:pt x="9832" y="11300"/>
                    </a:lnTo>
                    <a:lnTo>
                      <a:pt x="9832" y="11447"/>
                    </a:lnTo>
                    <a:lnTo>
                      <a:pt x="9499" y="11447"/>
                    </a:lnTo>
                    <a:lnTo>
                      <a:pt x="9499" y="11300"/>
                    </a:lnTo>
                    <a:lnTo>
                      <a:pt x="9318" y="11300"/>
                    </a:lnTo>
                    <a:lnTo>
                      <a:pt x="9318" y="11447"/>
                    </a:lnTo>
                    <a:lnTo>
                      <a:pt x="9499" y="11447"/>
                    </a:lnTo>
                    <a:lnTo>
                      <a:pt x="9318" y="11447"/>
                    </a:lnTo>
                    <a:lnTo>
                      <a:pt x="9499" y="11447"/>
                    </a:lnTo>
                    <a:lnTo>
                      <a:pt x="9499" y="11862"/>
                    </a:lnTo>
                    <a:lnTo>
                      <a:pt x="8803" y="11862"/>
                    </a:lnTo>
                    <a:lnTo>
                      <a:pt x="8803" y="11715"/>
                    </a:lnTo>
                    <a:lnTo>
                      <a:pt x="8622" y="11715"/>
                    </a:lnTo>
                    <a:lnTo>
                      <a:pt x="8622" y="11569"/>
                    </a:lnTo>
                    <a:lnTo>
                      <a:pt x="8803" y="11569"/>
                    </a:lnTo>
                    <a:lnTo>
                      <a:pt x="8622" y="11569"/>
                    </a:lnTo>
                    <a:lnTo>
                      <a:pt x="8471" y="11447"/>
                    </a:lnTo>
                    <a:lnTo>
                      <a:pt x="8471" y="11569"/>
                    </a:lnTo>
                    <a:lnTo>
                      <a:pt x="8622" y="11569"/>
                    </a:lnTo>
                    <a:lnTo>
                      <a:pt x="8108" y="11569"/>
                    </a:lnTo>
                    <a:lnTo>
                      <a:pt x="8289" y="11447"/>
                    </a:lnTo>
                    <a:lnTo>
                      <a:pt x="8108" y="11447"/>
                    </a:lnTo>
                    <a:lnTo>
                      <a:pt x="8108" y="11300"/>
                    </a:lnTo>
                    <a:lnTo>
                      <a:pt x="7775" y="11300"/>
                    </a:lnTo>
                    <a:lnTo>
                      <a:pt x="7775" y="11154"/>
                    </a:lnTo>
                    <a:lnTo>
                      <a:pt x="7775" y="11300"/>
                    </a:lnTo>
                    <a:lnTo>
                      <a:pt x="7775" y="11154"/>
                    </a:lnTo>
                    <a:lnTo>
                      <a:pt x="7079" y="11154"/>
                    </a:lnTo>
                    <a:lnTo>
                      <a:pt x="7079" y="11032"/>
                    </a:lnTo>
                    <a:lnTo>
                      <a:pt x="7079" y="11154"/>
                    </a:lnTo>
                    <a:lnTo>
                      <a:pt x="7079" y="11032"/>
                    </a:lnTo>
                    <a:lnTo>
                      <a:pt x="7079" y="11154"/>
                    </a:lnTo>
                    <a:lnTo>
                      <a:pt x="6565" y="11154"/>
                    </a:lnTo>
                    <a:lnTo>
                      <a:pt x="6565" y="11300"/>
                    </a:lnTo>
                    <a:lnTo>
                      <a:pt x="6746" y="11300"/>
                    </a:lnTo>
                    <a:lnTo>
                      <a:pt x="6897" y="11154"/>
                    </a:lnTo>
                    <a:lnTo>
                      <a:pt x="7412" y="11154"/>
                    </a:lnTo>
                    <a:lnTo>
                      <a:pt x="7412" y="11300"/>
                    </a:lnTo>
                    <a:lnTo>
                      <a:pt x="7261" y="11300"/>
                    </a:lnTo>
                    <a:lnTo>
                      <a:pt x="7261" y="11569"/>
                    </a:lnTo>
                    <a:lnTo>
                      <a:pt x="7412" y="11569"/>
                    </a:lnTo>
                    <a:lnTo>
                      <a:pt x="7412" y="11715"/>
                    </a:lnTo>
                    <a:lnTo>
                      <a:pt x="7593" y="11715"/>
                    </a:lnTo>
                    <a:lnTo>
                      <a:pt x="7593" y="11862"/>
                    </a:lnTo>
                    <a:lnTo>
                      <a:pt x="7775" y="11862"/>
                    </a:lnTo>
                    <a:lnTo>
                      <a:pt x="7775" y="11984"/>
                    </a:lnTo>
                    <a:lnTo>
                      <a:pt x="7956" y="11984"/>
                    </a:lnTo>
                    <a:lnTo>
                      <a:pt x="7956" y="12130"/>
                    </a:lnTo>
                    <a:lnTo>
                      <a:pt x="8108" y="12130"/>
                    </a:lnTo>
                    <a:lnTo>
                      <a:pt x="8289" y="12277"/>
                    </a:lnTo>
                    <a:lnTo>
                      <a:pt x="8803" y="12277"/>
                    </a:lnTo>
                    <a:lnTo>
                      <a:pt x="8985" y="12423"/>
                    </a:lnTo>
                    <a:lnTo>
                      <a:pt x="9166" y="12423"/>
                    </a:lnTo>
                    <a:lnTo>
                      <a:pt x="9318" y="12545"/>
                    </a:lnTo>
                    <a:lnTo>
                      <a:pt x="9318" y="12692"/>
                    </a:lnTo>
                    <a:lnTo>
                      <a:pt x="9499" y="12692"/>
                    </a:lnTo>
                    <a:lnTo>
                      <a:pt x="9499" y="12838"/>
                    </a:lnTo>
                    <a:lnTo>
                      <a:pt x="9499" y="12692"/>
                    </a:lnTo>
                    <a:lnTo>
                      <a:pt x="9832" y="12692"/>
                    </a:lnTo>
                    <a:lnTo>
                      <a:pt x="10013" y="12545"/>
                    </a:lnTo>
                    <a:lnTo>
                      <a:pt x="10013" y="12277"/>
                    </a:lnTo>
                    <a:lnTo>
                      <a:pt x="10195" y="12277"/>
                    </a:lnTo>
                    <a:lnTo>
                      <a:pt x="10195" y="12130"/>
                    </a:lnTo>
                    <a:lnTo>
                      <a:pt x="10709" y="12130"/>
                    </a:lnTo>
                    <a:lnTo>
                      <a:pt x="10709" y="11984"/>
                    </a:lnTo>
                    <a:lnTo>
                      <a:pt x="11224" y="11984"/>
                    </a:lnTo>
                    <a:lnTo>
                      <a:pt x="11224" y="11862"/>
                    </a:lnTo>
                    <a:lnTo>
                      <a:pt x="11405" y="11862"/>
                    </a:lnTo>
                    <a:lnTo>
                      <a:pt x="11405" y="11715"/>
                    </a:lnTo>
                    <a:lnTo>
                      <a:pt x="11587" y="11715"/>
                    </a:lnTo>
                    <a:lnTo>
                      <a:pt x="11587" y="11569"/>
                    </a:lnTo>
                    <a:lnTo>
                      <a:pt x="11738" y="11569"/>
                    </a:lnTo>
                    <a:lnTo>
                      <a:pt x="11738" y="11154"/>
                    </a:lnTo>
                    <a:lnTo>
                      <a:pt x="11919" y="11154"/>
                    </a:lnTo>
                    <a:lnTo>
                      <a:pt x="11919" y="11032"/>
                    </a:lnTo>
                    <a:lnTo>
                      <a:pt x="12101" y="11032"/>
                    </a:lnTo>
                    <a:lnTo>
                      <a:pt x="12101" y="10885"/>
                    </a:lnTo>
                    <a:lnTo>
                      <a:pt x="12252" y="10885"/>
                    </a:lnTo>
                    <a:lnTo>
                      <a:pt x="12434" y="10739"/>
                    </a:lnTo>
                    <a:lnTo>
                      <a:pt x="12615" y="10739"/>
                    </a:lnTo>
                    <a:lnTo>
                      <a:pt x="12615" y="10593"/>
                    </a:lnTo>
                    <a:lnTo>
                      <a:pt x="12797" y="10593"/>
                    </a:lnTo>
                    <a:lnTo>
                      <a:pt x="12797" y="10324"/>
                    </a:lnTo>
                    <a:lnTo>
                      <a:pt x="12948" y="10178"/>
                    </a:lnTo>
                    <a:lnTo>
                      <a:pt x="12948" y="9616"/>
                    </a:lnTo>
                    <a:lnTo>
                      <a:pt x="12797" y="9494"/>
                    </a:lnTo>
                    <a:lnTo>
                      <a:pt x="12797" y="9201"/>
                    </a:lnTo>
                    <a:lnTo>
                      <a:pt x="12948" y="9079"/>
                    </a:lnTo>
                    <a:lnTo>
                      <a:pt x="12948" y="8640"/>
                    </a:lnTo>
                    <a:lnTo>
                      <a:pt x="13462" y="8640"/>
                    </a:lnTo>
                    <a:lnTo>
                      <a:pt x="13644" y="8518"/>
                    </a:lnTo>
                    <a:lnTo>
                      <a:pt x="14854" y="8518"/>
                    </a:lnTo>
                    <a:lnTo>
                      <a:pt x="14854" y="8640"/>
                    </a:lnTo>
                    <a:lnTo>
                      <a:pt x="15035" y="8640"/>
                    </a:lnTo>
                    <a:lnTo>
                      <a:pt x="15035" y="8786"/>
                    </a:lnTo>
                    <a:lnTo>
                      <a:pt x="14854" y="8786"/>
                    </a:lnTo>
                    <a:lnTo>
                      <a:pt x="14854" y="9079"/>
                    </a:lnTo>
                    <a:lnTo>
                      <a:pt x="15035" y="9079"/>
                    </a:lnTo>
                    <a:lnTo>
                      <a:pt x="15035" y="9201"/>
                    </a:lnTo>
                    <a:lnTo>
                      <a:pt x="15217" y="9201"/>
                    </a:lnTo>
                    <a:lnTo>
                      <a:pt x="15217" y="9348"/>
                    </a:lnTo>
                    <a:lnTo>
                      <a:pt x="15035" y="9348"/>
                    </a:lnTo>
                    <a:lnTo>
                      <a:pt x="15035" y="9201"/>
                    </a:lnTo>
                    <a:lnTo>
                      <a:pt x="15035" y="9348"/>
                    </a:lnTo>
                    <a:lnTo>
                      <a:pt x="15217" y="9348"/>
                    </a:lnTo>
                    <a:lnTo>
                      <a:pt x="15217" y="9909"/>
                    </a:lnTo>
                    <a:lnTo>
                      <a:pt x="15035" y="9763"/>
                    </a:lnTo>
                    <a:lnTo>
                      <a:pt x="15035" y="9909"/>
                    </a:lnTo>
                    <a:lnTo>
                      <a:pt x="15217" y="10056"/>
                    </a:lnTo>
                    <a:lnTo>
                      <a:pt x="15035" y="10178"/>
                    </a:lnTo>
                    <a:lnTo>
                      <a:pt x="15035" y="10324"/>
                    </a:lnTo>
                    <a:lnTo>
                      <a:pt x="14854" y="10471"/>
                    </a:lnTo>
                    <a:lnTo>
                      <a:pt x="15035" y="10471"/>
                    </a:lnTo>
                    <a:lnTo>
                      <a:pt x="15035" y="10593"/>
                    </a:lnTo>
                    <a:lnTo>
                      <a:pt x="14854" y="10739"/>
                    </a:lnTo>
                    <a:lnTo>
                      <a:pt x="14672" y="10739"/>
                    </a:lnTo>
                    <a:lnTo>
                      <a:pt x="14854" y="10885"/>
                    </a:lnTo>
                    <a:lnTo>
                      <a:pt x="14854" y="11032"/>
                    </a:lnTo>
                    <a:lnTo>
                      <a:pt x="15035" y="11032"/>
                    </a:lnTo>
                    <a:lnTo>
                      <a:pt x="15217" y="11154"/>
                    </a:lnTo>
                    <a:lnTo>
                      <a:pt x="15217" y="11300"/>
                    </a:lnTo>
                    <a:lnTo>
                      <a:pt x="15731" y="11300"/>
                    </a:lnTo>
                    <a:lnTo>
                      <a:pt x="15731" y="11447"/>
                    </a:lnTo>
                    <a:lnTo>
                      <a:pt x="16064" y="11447"/>
                    </a:lnTo>
                    <a:lnTo>
                      <a:pt x="16064" y="11300"/>
                    </a:lnTo>
                    <a:lnTo>
                      <a:pt x="16064" y="11447"/>
                    </a:lnTo>
                    <a:lnTo>
                      <a:pt x="16245" y="11447"/>
                    </a:lnTo>
                    <a:lnTo>
                      <a:pt x="16245" y="11300"/>
                    </a:lnTo>
                    <a:lnTo>
                      <a:pt x="16064" y="11300"/>
                    </a:lnTo>
                    <a:lnTo>
                      <a:pt x="16245" y="11300"/>
                    </a:lnTo>
                    <a:lnTo>
                      <a:pt x="16064" y="11300"/>
                    </a:lnTo>
                    <a:lnTo>
                      <a:pt x="16064" y="11154"/>
                    </a:lnTo>
                    <a:lnTo>
                      <a:pt x="15882" y="11154"/>
                    </a:lnTo>
                    <a:lnTo>
                      <a:pt x="15731" y="11300"/>
                    </a:lnTo>
                    <a:lnTo>
                      <a:pt x="15731" y="11154"/>
                    </a:lnTo>
                    <a:lnTo>
                      <a:pt x="15368" y="11154"/>
                    </a:lnTo>
                    <a:lnTo>
                      <a:pt x="15368" y="11032"/>
                    </a:lnTo>
                    <a:lnTo>
                      <a:pt x="15550" y="11032"/>
                    </a:lnTo>
                    <a:lnTo>
                      <a:pt x="15368" y="11032"/>
                    </a:lnTo>
                    <a:lnTo>
                      <a:pt x="15368" y="10885"/>
                    </a:lnTo>
                    <a:lnTo>
                      <a:pt x="15368" y="11032"/>
                    </a:lnTo>
                    <a:lnTo>
                      <a:pt x="15217" y="11032"/>
                    </a:lnTo>
                    <a:lnTo>
                      <a:pt x="15035" y="10885"/>
                    </a:lnTo>
                    <a:lnTo>
                      <a:pt x="15035" y="10739"/>
                    </a:lnTo>
                    <a:lnTo>
                      <a:pt x="15217" y="10739"/>
                    </a:lnTo>
                    <a:lnTo>
                      <a:pt x="15217" y="10324"/>
                    </a:lnTo>
                    <a:lnTo>
                      <a:pt x="15368" y="10178"/>
                    </a:lnTo>
                    <a:lnTo>
                      <a:pt x="15368" y="10056"/>
                    </a:lnTo>
                    <a:lnTo>
                      <a:pt x="15731" y="10056"/>
                    </a:lnTo>
                    <a:lnTo>
                      <a:pt x="15731" y="10178"/>
                    </a:lnTo>
                    <a:lnTo>
                      <a:pt x="15731" y="10056"/>
                    </a:lnTo>
                    <a:lnTo>
                      <a:pt x="15882" y="10056"/>
                    </a:lnTo>
                    <a:lnTo>
                      <a:pt x="15882" y="9909"/>
                    </a:lnTo>
                    <a:lnTo>
                      <a:pt x="15731" y="9909"/>
                    </a:lnTo>
                    <a:lnTo>
                      <a:pt x="15731" y="8786"/>
                    </a:lnTo>
                    <a:lnTo>
                      <a:pt x="15550" y="8786"/>
                    </a:lnTo>
                    <a:lnTo>
                      <a:pt x="15550" y="8640"/>
                    </a:lnTo>
                    <a:lnTo>
                      <a:pt x="15368" y="8640"/>
                    </a:lnTo>
                    <a:lnTo>
                      <a:pt x="15368" y="8518"/>
                    </a:lnTo>
                    <a:lnTo>
                      <a:pt x="15217" y="8518"/>
                    </a:lnTo>
                    <a:lnTo>
                      <a:pt x="15217" y="8225"/>
                    </a:lnTo>
                    <a:lnTo>
                      <a:pt x="14854" y="8225"/>
                    </a:lnTo>
                    <a:lnTo>
                      <a:pt x="14854" y="8103"/>
                    </a:lnTo>
                    <a:lnTo>
                      <a:pt x="14672" y="8103"/>
                    </a:lnTo>
                    <a:lnTo>
                      <a:pt x="14672" y="7957"/>
                    </a:lnTo>
                    <a:lnTo>
                      <a:pt x="13825" y="7957"/>
                    </a:lnTo>
                    <a:lnTo>
                      <a:pt x="13825" y="8103"/>
                    </a:lnTo>
                    <a:lnTo>
                      <a:pt x="13462" y="8103"/>
                    </a:lnTo>
                    <a:lnTo>
                      <a:pt x="13462" y="7957"/>
                    </a:lnTo>
                    <a:lnTo>
                      <a:pt x="12797" y="7957"/>
                    </a:lnTo>
                    <a:lnTo>
                      <a:pt x="12797" y="7542"/>
                    </a:lnTo>
                    <a:lnTo>
                      <a:pt x="12948" y="7395"/>
                    </a:lnTo>
                    <a:lnTo>
                      <a:pt x="12948" y="6980"/>
                    </a:lnTo>
                    <a:lnTo>
                      <a:pt x="12797" y="6834"/>
                    </a:lnTo>
                    <a:lnTo>
                      <a:pt x="12797" y="6565"/>
                    </a:lnTo>
                    <a:lnTo>
                      <a:pt x="12948" y="6565"/>
                    </a:lnTo>
                    <a:lnTo>
                      <a:pt x="12948" y="6419"/>
                    </a:lnTo>
                    <a:lnTo>
                      <a:pt x="13129" y="6419"/>
                    </a:lnTo>
                    <a:lnTo>
                      <a:pt x="13129" y="6151"/>
                    </a:lnTo>
                    <a:lnTo>
                      <a:pt x="13311" y="6151"/>
                    </a:lnTo>
                    <a:lnTo>
                      <a:pt x="13311" y="6004"/>
                    </a:lnTo>
                    <a:lnTo>
                      <a:pt x="13129" y="6004"/>
                    </a:lnTo>
                    <a:lnTo>
                      <a:pt x="13311" y="6004"/>
                    </a:lnTo>
                    <a:lnTo>
                      <a:pt x="13311" y="5858"/>
                    </a:lnTo>
                    <a:lnTo>
                      <a:pt x="13644" y="5589"/>
                    </a:lnTo>
                    <a:lnTo>
                      <a:pt x="13825" y="5589"/>
                    </a:lnTo>
                    <a:lnTo>
                      <a:pt x="13825" y="5443"/>
                    </a:lnTo>
                    <a:lnTo>
                      <a:pt x="14007" y="5296"/>
                    </a:lnTo>
                    <a:lnTo>
                      <a:pt x="14007" y="5028"/>
                    </a:lnTo>
                    <a:lnTo>
                      <a:pt x="13825" y="4881"/>
                    </a:lnTo>
                    <a:lnTo>
                      <a:pt x="13825" y="4198"/>
                    </a:lnTo>
                    <a:lnTo>
                      <a:pt x="13644" y="4198"/>
                    </a:lnTo>
                    <a:lnTo>
                      <a:pt x="13825" y="4052"/>
                    </a:lnTo>
                    <a:lnTo>
                      <a:pt x="13644" y="4052"/>
                    </a:lnTo>
                    <a:lnTo>
                      <a:pt x="13644" y="3637"/>
                    </a:lnTo>
                    <a:lnTo>
                      <a:pt x="13462" y="3637"/>
                    </a:lnTo>
                    <a:lnTo>
                      <a:pt x="13462" y="3490"/>
                    </a:lnTo>
                    <a:lnTo>
                      <a:pt x="13644" y="3368"/>
                    </a:lnTo>
                    <a:lnTo>
                      <a:pt x="13644" y="3222"/>
                    </a:lnTo>
                    <a:lnTo>
                      <a:pt x="13825" y="3222"/>
                    </a:lnTo>
                    <a:lnTo>
                      <a:pt x="14007" y="3075"/>
                    </a:lnTo>
                    <a:lnTo>
                      <a:pt x="14007" y="2807"/>
                    </a:lnTo>
                    <a:lnTo>
                      <a:pt x="14339" y="2807"/>
                    </a:lnTo>
                    <a:lnTo>
                      <a:pt x="14339" y="2660"/>
                    </a:lnTo>
                    <a:lnTo>
                      <a:pt x="14854" y="2660"/>
                    </a:lnTo>
                    <a:lnTo>
                      <a:pt x="15035" y="2514"/>
                    </a:lnTo>
                    <a:lnTo>
                      <a:pt x="15217" y="2514"/>
                    </a:lnTo>
                    <a:lnTo>
                      <a:pt x="15217" y="2392"/>
                    </a:lnTo>
                    <a:lnTo>
                      <a:pt x="15368" y="2392"/>
                    </a:lnTo>
                    <a:lnTo>
                      <a:pt x="15368" y="2099"/>
                    </a:lnTo>
                    <a:lnTo>
                      <a:pt x="15550" y="1953"/>
                    </a:lnTo>
                    <a:lnTo>
                      <a:pt x="15550" y="1123"/>
                    </a:lnTo>
                    <a:lnTo>
                      <a:pt x="15368" y="1123"/>
                    </a:lnTo>
                    <a:lnTo>
                      <a:pt x="15550" y="1123"/>
                    </a:lnTo>
                    <a:lnTo>
                      <a:pt x="15550" y="976"/>
                    </a:lnTo>
                    <a:lnTo>
                      <a:pt x="15731" y="976"/>
                    </a:lnTo>
                    <a:lnTo>
                      <a:pt x="15731" y="1123"/>
                    </a:lnTo>
                    <a:lnTo>
                      <a:pt x="15882" y="1123"/>
                    </a:lnTo>
                    <a:lnTo>
                      <a:pt x="15882" y="1416"/>
                    </a:lnTo>
                    <a:lnTo>
                      <a:pt x="15731" y="1416"/>
                    </a:lnTo>
                    <a:lnTo>
                      <a:pt x="15882" y="1416"/>
                    </a:lnTo>
                    <a:lnTo>
                      <a:pt x="15882" y="1684"/>
                    </a:lnTo>
                    <a:lnTo>
                      <a:pt x="16064" y="1684"/>
                    </a:lnTo>
                    <a:lnTo>
                      <a:pt x="15882" y="1831"/>
                    </a:lnTo>
                    <a:lnTo>
                      <a:pt x="15882" y="1684"/>
                    </a:lnTo>
                    <a:lnTo>
                      <a:pt x="15882" y="2392"/>
                    </a:lnTo>
                    <a:lnTo>
                      <a:pt x="15731" y="2392"/>
                    </a:lnTo>
                    <a:lnTo>
                      <a:pt x="15731" y="2514"/>
                    </a:lnTo>
                    <a:lnTo>
                      <a:pt x="15550" y="2514"/>
                    </a:lnTo>
                    <a:lnTo>
                      <a:pt x="15550" y="266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/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57" name="Shape 2983"/>
              <p:cNvSpPr/>
              <p:nvPr/>
            </p:nvSpPr>
            <p:spPr>
              <a:xfrm>
                <a:off x="7567585" y="5121644"/>
                <a:ext cx="577706" cy="53726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280" y="13297"/>
                    </a:moveTo>
                    <a:lnTo>
                      <a:pt x="17604" y="13297"/>
                    </a:lnTo>
                    <a:lnTo>
                      <a:pt x="17604" y="13645"/>
                    </a:lnTo>
                    <a:lnTo>
                      <a:pt x="17874" y="13935"/>
                    </a:lnTo>
                    <a:lnTo>
                      <a:pt x="17874" y="13645"/>
                    </a:lnTo>
                    <a:lnTo>
                      <a:pt x="18198" y="13645"/>
                    </a:lnTo>
                    <a:lnTo>
                      <a:pt x="18198" y="13297"/>
                    </a:lnTo>
                    <a:lnTo>
                      <a:pt x="18522" y="13645"/>
                    </a:lnTo>
                    <a:lnTo>
                      <a:pt x="18846" y="13935"/>
                    </a:lnTo>
                    <a:lnTo>
                      <a:pt x="19440" y="13935"/>
                    </a:lnTo>
                    <a:lnTo>
                      <a:pt x="19440" y="14284"/>
                    </a:lnTo>
                    <a:lnTo>
                      <a:pt x="19764" y="14284"/>
                    </a:lnTo>
                    <a:lnTo>
                      <a:pt x="20034" y="14632"/>
                    </a:lnTo>
                    <a:lnTo>
                      <a:pt x="19764" y="14923"/>
                    </a:lnTo>
                    <a:lnTo>
                      <a:pt x="19764" y="15271"/>
                    </a:lnTo>
                    <a:lnTo>
                      <a:pt x="19116" y="15271"/>
                    </a:lnTo>
                    <a:lnTo>
                      <a:pt x="19116" y="16258"/>
                    </a:lnTo>
                    <a:lnTo>
                      <a:pt x="19764" y="16955"/>
                    </a:lnTo>
                    <a:lnTo>
                      <a:pt x="19764" y="17245"/>
                    </a:lnTo>
                    <a:lnTo>
                      <a:pt x="19440" y="17245"/>
                    </a:lnTo>
                    <a:lnTo>
                      <a:pt x="19440" y="17594"/>
                    </a:lnTo>
                    <a:lnTo>
                      <a:pt x="19764" y="17594"/>
                    </a:lnTo>
                    <a:lnTo>
                      <a:pt x="19764" y="17942"/>
                    </a:lnTo>
                    <a:lnTo>
                      <a:pt x="20358" y="18232"/>
                    </a:lnTo>
                    <a:lnTo>
                      <a:pt x="21276" y="19277"/>
                    </a:lnTo>
                    <a:lnTo>
                      <a:pt x="21276" y="19916"/>
                    </a:lnTo>
                    <a:lnTo>
                      <a:pt x="21600" y="20265"/>
                    </a:lnTo>
                    <a:lnTo>
                      <a:pt x="21276" y="20265"/>
                    </a:lnTo>
                    <a:lnTo>
                      <a:pt x="20358" y="21600"/>
                    </a:lnTo>
                    <a:lnTo>
                      <a:pt x="18846" y="21600"/>
                    </a:lnTo>
                    <a:lnTo>
                      <a:pt x="17874" y="20903"/>
                    </a:lnTo>
                    <a:lnTo>
                      <a:pt x="17604" y="20265"/>
                    </a:lnTo>
                    <a:lnTo>
                      <a:pt x="17874" y="20265"/>
                    </a:lnTo>
                    <a:lnTo>
                      <a:pt x="17604" y="19916"/>
                    </a:lnTo>
                    <a:lnTo>
                      <a:pt x="17280" y="20265"/>
                    </a:lnTo>
                    <a:lnTo>
                      <a:pt x="17280" y="20555"/>
                    </a:lnTo>
                    <a:lnTo>
                      <a:pt x="16956" y="20555"/>
                    </a:lnTo>
                    <a:lnTo>
                      <a:pt x="16956" y="20903"/>
                    </a:lnTo>
                    <a:lnTo>
                      <a:pt x="15714" y="20903"/>
                    </a:lnTo>
                    <a:lnTo>
                      <a:pt x="16038" y="20555"/>
                    </a:lnTo>
                    <a:lnTo>
                      <a:pt x="15714" y="20555"/>
                    </a:lnTo>
                    <a:lnTo>
                      <a:pt x="16038" y="20555"/>
                    </a:lnTo>
                    <a:lnTo>
                      <a:pt x="16038" y="20265"/>
                    </a:lnTo>
                    <a:lnTo>
                      <a:pt x="15444" y="20265"/>
                    </a:lnTo>
                    <a:lnTo>
                      <a:pt x="15444" y="19916"/>
                    </a:lnTo>
                    <a:lnTo>
                      <a:pt x="15120" y="19916"/>
                    </a:lnTo>
                    <a:lnTo>
                      <a:pt x="15120" y="19568"/>
                    </a:lnTo>
                    <a:lnTo>
                      <a:pt x="14796" y="19568"/>
                    </a:lnTo>
                    <a:lnTo>
                      <a:pt x="14796" y="18929"/>
                    </a:lnTo>
                    <a:lnTo>
                      <a:pt x="14526" y="18929"/>
                    </a:lnTo>
                    <a:lnTo>
                      <a:pt x="14526" y="18232"/>
                    </a:lnTo>
                    <a:lnTo>
                      <a:pt x="14796" y="18232"/>
                    </a:lnTo>
                    <a:lnTo>
                      <a:pt x="14796" y="17942"/>
                    </a:lnTo>
                    <a:lnTo>
                      <a:pt x="14526" y="17942"/>
                    </a:lnTo>
                    <a:lnTo>
                      <a:pt x="14202" y="17594"/>
                    </a:lnTo>
                    <a:lnTo>
                      <a:pt x="14526" y="17594"/>
                    </a:lnTo>
                    <a:lnTo>
                      <a:pt x="14526" y="17245"/>
                    </a:lnTo>
                    <a:lnTo>
                      <a:pt x="13878" y="17245"/>
                    </a:lnTo>
                    <a:lnTo>
                      <a:pt x="13878" y="17594"/>
                    </a:lnTo>
                    <a:lnTo>
                      <a:pt x="13878" y="17245"/>
                    </a:lnTo>
                    <a:lnTo>
                      <a:pt x="13554" y="17245"/>
                    </a:lnTo>
                    <a:lnTo>
                      <a:pt x="13284" y="16955"/>
                    </a:lnTo>
                    <a:lnTo>
                      <a:pt x="12960" y="16955"/>
                    </a:lnTo>
                    <a:lnTo>
                      <a:pt x="12960" y="17245"/>
                    </a:lnTo>
                    <a:lnTo>
                      <a:pt x="12636" y="17594"/>
                    </a:lnTo>
                    <a:lnTo>
                      <a:pt x="12636" y="17245"/>
                    </a:lnTo>
                    <a:lnTo>
                      <a:pt x="12366" y="17245"/>
                    </a:lnTo>
                    <a:lnTo>
                      <a:pt x="12042" y="17594"/>
                    </a:lnTo>
                    <a:lnTo>
                      <a:pt x="12042" y="16955"/>
                    </a:lnTo>
                    <a:lnTo>
                      <a:pt x="11718" y="16606"/>
                    </a:lnTo>
                    <a:lnTo>
                      <a:pt x="11718" y="16258"/>
                    </a:lnTo>
                    <a:lnTo>
                      <a:pt x="11124" y="16258"/>
                    </a:lnTo>
                    <a:lnTo>
                      <a:pt x="10800" y="15910"/>
                    </a:lnTo>
                    <a:lnTo>
                      <a:pt x="10800" y="16258"/>
                    </a:lnTo>
                    <a:lnTo>
                      <a:pt x="10476" y="16258"/>
                    </a:lnTo>
                    <a:lnTo>
                      <a:pt x="10476" y="15619"/>
                    </a:lnTo>
                    <a:lnTo>
                      <a:pt x="10206" y="15619"/>
                    </a:lnTo>
                    <a:lnTo>
                      <a:pt x="10206" y="15910"/>
                    </a:lnTo>
                    <a:lnTo>
                      <a:pt x="9882" y="15910"/>
                    </a:lnTo>
                    <a:lnTo>
                      <a:pt x="9882" y="16258"/>
                    </a:lnTo>
                    <a:lnTo>
                      <a:pt x="9558" y="15910"/>
                    </a:lnTo>
                    <a:lnTo>
                      <a:pt x="9234" y="16258"/>
                    </a:lnTo>
                    <a:lnTo>
                      <a:pt x="9234" y="16606"/>
                    </a:lnTo>
                    <a:lnTo>
                      <a:pt x="8046" y="16606"/>
                    </a:lnTo>
                    <a:lnTo>
                      <a:pt x="8046" y="16955"/>
                    </a:lnTo>
                    <a:lnTo>
                      <a:pt x="7722" y="16606"/>
                    </a:lnTo>
                    <a:lnTo>
                      <a:pt x="7722" y="15910"/>
                    </a:lnTo>
                    <a:lnTo>
                      <a:pt x="7398" y="15910"/>
                    </a:lnTo>
                    <a:lnTo>
                      <a:pt x="7074" y="15271"/>
                    </a:lnTo>
                    <a:lnTo>
                      <a:pt x="7074" y="14632"/>
                    </a:lnTo>
                    <a:lnTo>
                      <a:pt x="6804" y="14632"/>
                    </a:lnTo>
                    <a:lnTo>
                      <a:pt x="6804" y="14284"/>
                    </a:lnTo>
                    <a:lnTo>
                      <a:pt x="6480" y="13935"/>
                    </a:lnTo>
                    <a:lnTo>
                      <a:pt x="6156" y="13935"/>
                    </a:lnTo>
                    <a:lnTo>
                      <a:pt x="6156" y="14284"/>
                    </a:lnTo>
                    <a:lnTo>
                      <a:pt x="6480" y="14284"/>
                    </a:lnTo>
                    <a:lnTo>
                      <a:pt x="6156" y="14632"/>
                    </a:lnTo>
                    <a:lnTo>
                      <a:pt x="6156" y="15271"/>
                    </a:lnTo>
                    <a:lnTo>
                      <a:pt x="5886" y="15271"/>
                    </a:lnTo>
                    <a:lnTo>
                      <a:pt x="5886" y="15619"/>
                    </a:lnTo>
                    <a:lnTo>
                      <a:pt x="5562" y="15619"/>
                    </a:lnTo>
                    <a:lnTo>
                      <a:pt x="5562" y="15271"/>
                    </a:lnTo>
                    <a:lnTo>
                      <a:pt x="5238" y="15271"/>
                    </a:lnTo>
                    <a:lnTo>
                      <a:pt x="5238" y="14923"/>
                    </a:lnTo>
                    <a:lnTo>
                      <a:pt x="5562" y="14923"/>
                    </a:lnTo>
                    <a:lnTo>
                      <a:pt x="5562" y="14632"/>
                    </a:lnTo>
                    <a:lnTo>
                      <a:pt x="5886" y="14632"/>
                    </a:lnTo>
                    <a:lnTo>
                      <a:pt x="5886" y="14284"/>
                    </a:lnTo>
                    <a:lnTo>
                      <a:pt x="5562" y="14284"/>
                    </a:lnTo>
                    <a:lnTo>
                      <a:pt x="5562" y="12948"/>
                    </a:lnTo>
                    <a:lnTo>
                      <a:pt x="5238" y="12948"/>
                    </a:lnTo>
                    <a:lnTo>
                      <a:pt x="5562" y="12948"/>
                    </a:lnTo>
                    <a:lnTo>
                      <a:pt x="5562" y="12600"/>
                    </a:lnTo>
                    <a:lnTo>
                      <a:pt x="5238" y="12600"/>
                    </a:lnTo>
                    <a:lnTo>
                      <a:pt x="5238" y="12310"/>
                    </a:lnTo>
                    <a:lnTo>
                      <a:pt x="4914" y="12310"/>
                    </a:lnTo>
                    <a:lnTo>
                      <a:pt x="4914" y="11323"/>
                    </a:lnTo>
                    <a:lnTo>
                      <a:pt x="4644" y="11323"/>
                    </a:lnTo>
                    <a:lnTo>
                      <a:pt x="4644" y="10974"/>
                    </a:lnTo>
                    <a:lnTo>
                      <a:pt x="4320" y="10626"/>
                    </a:lnTo>
                    <a:lnTo>
                      <a:pt x="3726" y="10626"/>
                    </a:lnTo>
                    <a:lnTo>
                      <a:pt x="3726" y="10277"/>
                    </a:lnTo>
                    <a:lnTo>
                      <a:pt x="3078" y="10277"/>
                    </a:lnTo>
                    <a:lnTo>
                      <a:pt x="3078" y="9000"/>
                    </a:lnTo>
                    <a:lnTo>
                      <a:pt x="2754" y="9000"/>
                    </a:lnTo>
                    <a:lnTo>
                      <a:pt x="2754" y="8652"/>
                    </a:lnTo>
                    <a:lnTo>
                      <a:pt x="2484" y="9000"/>
                    </a:lnTo>
                    <a:lnTo>
                      <a:pt x="2160" y="9000"/>
                    </a:lnTo>
                    <a:lnTo>
                      <a:pt x="2160" y="8652"/>
                    </a:lnTo>
                    <a:lnTo>
                      <a:pt x="1512" y="8652"/>
                    </a:lnTo>
                    <a:lnTo>
                      <a:pt x="1512" y="9000"/>
                    </a:lnTo>
                    <a:lnTo>
                      <a:pt x="1242" y="9000"/>
                    </a:lnTo>
                    <a:lnTo>
                      <a:pt x="1242" y="9290"/>
                    </a:lnTo>
                    <a:lnTo>
                      <a:pt x="1242" y="9000"/>
                    </a:lnTo>
                    <a:lnTo>
                      <a:pt x="594" y="9000"/>
                    </a:lnTo>
                    <a:lnTo>
                      <a:pt x="594" y="8303"/>
                    </a:lnTo>
                    <a:lnTo>
                      <a:pt x="918" y="8303"/>
                    </a:lnTo>
                    <a:lnTo>
                      <a:pt x="594" y="7955"/>
                    </a:lnTo>
                    <a:lnTo>
                      <a:pt x="594" y="7665"/>
                    </a:lnTo>
                    <a:lnTo>
                      <a:pt x="324" y="7665"/>
                    </a:lnTo>
                    <a:lnTo>
                      <a:pt x="0" y="7316"/>
                    </a:lnTo>
                    <a:lnTo>
                      <a:pt x="0" y="6968"/>
                    </a:lnTo>
                    <a:lnTo>
                      <a:pt x="594" y="6968"/>
                    </a:lnTo>
                    <a:lnTo>
                      <a:pt x="594" y="6677"/>
                    </a:lnTo>
                    <a:lnTo>
                      <a:pt x="918" y="6968"/>
                    </a:lnTo>
                    <a:lnTo>
                      <a:pt x="1242" y="6677"/>
                    </a:lnTo>
                    <a:lnTo>
                      <a:pt x="1836" y="6677"/>
                    </a:lnTo>
                    <a:lnTo>
                      <a:pt x="1836" y="6329"/>
                    </a:lnTo>
                    <a:lnTo>
                      <a:pt x="2160" y="6329"/>
                    </a:lnTo>
                    <a:lnTo>
                      <a:pt x="2160" y="5632"/>
                    </a:lnTo>
                    <a:lnTo>
                      <a:pt x="2754" y="5632"/>
                    </a:lnTo>
                    <a:lnTo>
                      <a:pt x="2754" y="5342"/>
                    </a:lnTo>
                    <a:lnTo>
                      <a:pt x="2484" y="5342"/>
                    </a:lnTo>
                    <a:lnTo>
                      <a:pt x="2754" y="4994"/>
                    </a:lnTo>
                    <a:lnTo>
                      <a:pt x="2754" y="4645"/>
                    </a:lnTo>
                    <a:lnTo>
                      <a:pt x="3078" y="4994"/>
                    </a:lnTo>
                    <a:lnTo>
                      <a:pt x="3078" y="4645"/>
                    </a:lnTo>
                    <a:lnTo>
                      <a:pt x="3078" y="4994"/>
                    </a:lnTo>
                    <a:lnTo>
                      <a:pt x="3402" y="4994"/>
                    </a:lnTo>
                    <a:lnTo>
                      <a:pt x="3726" y="4645"/>
                    </a:lnTo>
                    <a:lnTo>
                      <a:pt x="3726" y="4355"/>
                    </a:lnTo>
                    <a:lnTo>
                      <a:pt x="4320" y="4355"/>
                    </a:lnTo>
                    <a:lnTo>
                      <a:pt x="4320" y="4006"/>
                    </a:lnTo>
                    <a:lnTo>
                      <a:pt x="4644" y="4355"/>
                    </a:lnTo>
                    <a:lnTo>
                      <a:pt x="4644" y="4006"/>
                    </a:lnTo>
                    <a:lnTo>
                      <a:pt x="4914" y="4006"/>
                    </a:lnTo>
                    <a:lnTo>
                      <a:pt x="4914" y="3658"/>
                    </a:lnTo>
                    <a:lnTo>
                      <a:pt x="5238" y="3368"/>
                    </a:lnTo>
                    <a:lnTo>
                      <a:pt x="5562" y="3019"/>
                    </a:lnTo>
                    <a:lnTo>
                      <a:pt x="5562" y="2323"/>
                    </a:lnTo>
                    <a:lnTo>
                      <a:pt x="5886" y="2323"/>
                    </a:lnTo>
                    <a:lnTo>
                      <a:pt x="6804" y="1335"/>
                    </a:lnTo>
                    <a:lnTo>
                      <a:pt x="6804" y="1045"/>
                    </a:lnTo>
                    <a:lnTo>
                      <a:pt x="7398" y="1045"/>
                    </a:lnTo>
                    <a:lnTo>
                      <a:pt x="7398" y="697"/>
                    </a:lnTo>
                    <a:lnTo>
                      <a:pt x="7074" y="697"/>
                    </a:lnTo>
                    <a:lnTo>
                      <a:pt x="7074" y="348"/>
                    </a:lnTo>
                    <a:lnTo>
                      <a:pt x="7398" y="348"/>
                    </a:lnTo>
                    <a:lnTo>
                      <a:pt x="7398" y="0"/>
                    </a:lnTo>
                    <a:lnTo>
                      <a:pt x="8316" y="0"/>
                    </a:lnTo>
                    <a:lnTo>
                      <a:pt x="8316" y="348"/>
                    </a:lnTo>
                    <a:lnTo>
                      <a:pt x="8640" y="697"/>
                    </a:lnTo>
                    <a:lnTo>
                      <a:pt x="8316" y="697"/>
                    </a:lnTo>
                    <a:lnTo>
                      <a:pt x="8964" y="697"/>
                    </a:lnTo>
                    <a:lnTo>
                      <a:pt x="8964" y="1045"/>
                    </a:lnTo>
                    <a:lnTo>
                      <a:pt x="8640" y="1045"/>
                    </a:lnTo>
                    <a:lnTo>
                      <a:pt x="8640" y="697"/>
                    </a:lnTo>
                    <a:lnTo>
                      <a:pt x="8316" y="697"/>
                    </a:lnTo>
                    <a:lnTo>
                      <a:pt x="8316" y="1335"/>
                    </a:lnTo>
                    <a:lnTo>
                      <a:pt x="8640" y="1335"/>
                    </a:lnTo>
                    <a:lnTo>
                      <a:pt x="8316" y="1335"/>
                    </a:lnTo>
                    <a:lnTo>
                      <a:pt x="8316" y="1684"/>
                    </a:lnTo>
                    <a:lnTo>
                      <a:pt x="8316" y="1335"/>
                    </a:lnTo>
                    <a:lnTo>
                      <a:pt x="8640" y="1684"/>
                    </a:lnTo>
                    <a:lnTo>
                      <a:pt x="8964" y="1684"/>
                    </a:lnTo>
                    <a:lnTo>
                      <a:pt x="8640" y="2032"/>
                    </a:lnTo>
                    <a:lnTo>
                      <a:pt x="8964" y="2032"/>
                    </a:lnTo>
                    <a:lnTo>
                      <a:pt x="8640" y="2032"/>
                    </a:lnTo>
                    <a:lnTo>
                      <a:pt x="9234" y="2032"/>
                    </a:lnTo>
                    <a:lnTo>
                      <a:pt x="9234" y="2671"/>
                    </a:lnTo>
                    <a:lnTo>
                      <a:pt x="8964" y="2671"/>
                    </a:lnTo>
                    <a:lnTo>
                      <a:pt x="8964" y="3368"/>
                    </a:lnTo>
                    <a:lnTo>
                      <a:pt x="9234" y="3658"/>
                    </a:lnTo>
                    <a:lnTo>
                      <a:pt x="9234" y="4994"/>
                    </a:lnTo>
                    <a:lnTo>
                      <a:pt x="9558" y="5342"/>
                    </a:lnTo>
                    <a:lnTo>
                      <a:pt x="9882" y="5342"/>
                    </a:lnTo>
                    <a:lnTo>
                      <a:pt x="10206" y="5632"/>
                    </a:lnTo>
                    <a:lnTo>
                      <a:pt x="9882" y="5981"/>
                    </a:lnTo>
                    <a:lnTo>
                      <a:pt x="10206" y="5981"/>
                    </a:lnTo>
                    <a:lnTo>
                      <a:pt x="9882" y="5981"/>
                    </a:lnTo>
                    <a:lnTo>
                      <a:pt x="9882" y="6329"/>
                    </a:lnTo>
                    <a:lnTo>
                      <a:pt x="10476" y="6329"/>
                    </a:lnTo>
                    <a:lnTo>
                      <a:pt x="10476" y="7955"/>
                    </a:lnTo>
                    <a:lnTo>
                      <a:pt x="10206" y="7955"/>
                    </a:lnTo>
                    <a:lnTo>
                      <a:pt x="10476" y="8303"/>
                    </a:lnTo>
                    <a:lnTo>
                      <a:pt x="10476" y="7955"/>
                    </a:lnTo>
                    <a:lnTo>
                      <a:pt x="10476" y="8303"/>
                    </a:lnTo>
                    <a:lnTo>
                      <a:pt x="10476" y="7955"/>
                    </a:lnTo>
                    <a:lnTo>
                      <a:pt x="10800" y="7955"/>
                    </a:lnTo>
                    <a:lnTo>
                      <a:pt x="10800" y="9000"/>
                    </a:lnTo>
                    <a:lnTo>
                      <a:pt x="10476" y="9000"/>
                    </a:lnTo>
                    <a:lnTo>
                      <a:pt x="10476" y="8652"/>
                    </a:lnTo>
                    <a:lnTo>
                      <a:pt x="10476" y="9000"/>
                    </a:lnTo>
                    <a:lnTo>
                      <a:pt x="10800" y="9000"/>
                    </a:lnTo>
                    <a:lnTo>
                      <a:pt x="10800" y="9290"/>
                    </a:lnTo>
                    <a:lnTo>
                      <a:pt x="10476" y="9290"/>
                    </a:lnTo>
                    <a:lnTo>
                      <a:pt x="10800" y="9290"/>
                    </a:lnTo>
                    <a:lnTo>
                      <a:pt x="10800" y="9639"/>
                    </a:lnTo>
                    <a:lnTo>
                      <a:pt x="10476" y="9639"/>
                    </a:lnTo>
                    <a:lnTo>
                      <a:pt x="10800" y="9639"/>
                    </a:lnTo>
                    <a:lnTo>
                      <a:pt x="10476" y="9639"/>
                    </a:lnTo>
                    <a:lnTo>
                      <a:pt x="10476" y="10277"/>
                    </a:lnTo>
                    <a:lnTo>
                      <a:pt x="11124" y="10277"/>
                    </a:lnTo>
                    <a:lnTo>
                      <a:pt x="11124" y="10626"/>
                    </a:lnTo>
                    <a:lnTo>
                      <a:pt x="11124" y="10277"/>
                    </a:lnTo>
                    <a:lnTo>
                      <a:pt x="11394" y="9987"/>
                    </a:lnTo>
                    <a:lnTo>
                      <a:pt x="11718" y="9987"/>
                    </a:lnTo>
                    <a:lnTo>
                      <a:pt x="12042" y="9639"/>
                    </a:lnTo>
                    <a:lnTo>
                      <a:pt x="12042" y="9987"/>
                    </a:lnTo>
                    <a:lnTo>
                      <a:pt x="12366" y="10277"/>
                    </a:lnTo>
                    <a:lnTo>
                      <a:pt x="12636" y="10277"/>
                    </a:lnTo>
                    <a:lnTo>
                      <a:pt x="12366" y="10277"/>
                    </a:lnTo>
                    <a:lnTo>
                      <a:pt x="12366" y="10626"/>
                    </a:lnTo>
                    <a:lnTo>
                      <a:pt x="12636" y="10626"/>
                    </a:lnTo>
                    <a:lnTo>
                      <a:pt x="12366" y="10626"/>
                    </a:lnTo>
                    <a:lnTo>
                      <a:pt x="12366" y="10974"/>
                    </a:lnTo>
                    <a:lnTo>
                      <a:pt x="12042" y="11323"/>
                    </a:lnTo>
                    <a:lnTo>
                      <a:pt x="11718" y="11323"/>
                    </a:lnTo>
                    <a:lnTo>
                      <a:pt x="11394" y="11613"/>
                    </a:lnTo>
                    <a:lnTo>
                      <a:pt x="11718" y="11961"/>
                    </a:lnTo>
                    <a:lnTo>
                      <a:pt x="11718" y="11613"/>
                    </a:lnTo>
                    <a:lnTo>
                      <a:pt x="12042" y="11613"/>
                    </a:lnTo>
                    <a:lnTo>
                      <a:pt x="12042" y="11961"/>
                    </a:lnTo>
                    <a:lnTo>
                      <a:pt x="12366" y="11961"/>
                    </a:lnTo>
                    <a:lnTo>
                      <a:pt x="12042" y="12310"/>
                    </a:lnTo>
                    <a:lnTo>
                      <a:pt x="12366" y="12310"/>
                    </a:lnTo>
                    <a:lnTo>
                      <a:pt x="12042" y="12600"/>
                    </a:lnTo>
                    <a:lnTo>
                      <a:pt x="12366" y="12948"/>
                    </a:lnTo>
                    <a:lnTo>
                      <a:pt x="12042" y="12948"/>
                    </a:lnTo>
                    <a:lnTo>
                      <a:pt x="11718" y="13297"/>
                    </a:lnTo>
                    <a:lnTo>
                      <a:pt x="12042" y="13297"/>
                    </a:lnTo>
                    <a:lnTo>
                      <a:pt x="12042" y="13645"/>
                    </a:lnTo>
                    <a:lnTo>
                      <a:pt x="11718" y="13645"/>
                    </a:lnTo>
                    <a:lnTo>
                      <a:pt x="11718" y="14284"/>
                    </a:lnTo>
                    <a:lnTo>
                      <a:pt x="12042" y="14284"/>
                    </a:lnTo>
                    <a:lnTo>
                      <a:pt x="12042" y="13645"/>
                    </a:lnTo>
                    <a:lnTo>
                      <a:pt x="12366" y="13935"/>
                    </a:lnTo>
                    <a:lnTo>
                      <a:pt x="12366" y="14284"/>
                    </a:lnTo>
                    <a:lnTo>
                      <a:pt x="12636" y="14284"/>
                    </a:lnTo>
                    <a:lnTo>
                      <a:pt x="12366" y="14284"/>
                    </a:lnTo>
                    <a:lnTo>
                      <a:pt x="12366" y="14632"/>
                    </a:lnTo>
                    <a:lnTo>
                      <a:pt x="13284" y="14632"/>
                    </a:lnTo>
                    <a:lnTo>
                      <a:pt x="13284" y="14284"/>
                    </a:lnTo>
                    <a:lnTo>
                      <a:pt x="13554" y="14632"/>
                    </a:lnTo>
                    <a:lnTo>
                      <a:pt x="13878" y="14632"/>
                    </a:lnTo>
                    <a:lnTo>
                      <a:pt x="13878" y="14284"/>
                    </a:lnTo>
                    <a:lnTo>
                      <a:pt x="14526" y="14284"/>
                    </a:lnTo>
                    <a:lnTo>
                      <a:pt x="14526" y="14632"/>
                    </a:lnTo>
                    <a:lnTo>
                      <a:pt x="14796" y="14632"/>
                    </a:lnTo>
                    <a:lnTo>
                      <a:pt x="14796" y="15271"/>
                    </a:lnTo>
                    <a:lnTo>
                      <a:pt x="15120" y="15271"/>
                    </a:lnTo>
                    <a:lnTo>
                      <a:pt x="15120" y="14923"/>
                    </a:lnTo>
                    <a:lnTo>
                      <a:pt x="15120" y="15271"/>
                    </a:lnTo>
                    <a:lnTo>
                      <a:pt x="15120" y="14923"/>
                    </a:lnTo>
                    <a:lnTo>
                      <a:pt x="15444" y="14923"/>
                    </a:lnTo>
                    <a:lnTo>
                      <a:pt x="15714" y="15271"/>
                    </a:lnTo>
                    <a:lnTo>
                      <a:pt x="16038" y="15271"/>
                    </a:lnTo>
                    <a:lnTo>
                      <a:pt x="16038" y="14923"/>
                    </a:lnTo>
                    <a:lnTo>
                      <a:pt x="16362" y="14632"/>
                    </a:lnTo>
                    <a:lnTo>
                      <a:pt x="16362" y="13935"/>
                    </a:lnTo>
                    <a:lnTo>
                      <a:pt x="16686" y="13935"/>
                    </a:lnTo>
                    <a:lnTo>
                      <a:pt x="16686" y="13645"/>
                    </a:lnTo>
                    <a:lnTo>
                      <a:pt x="16956" y="13645"/>
                    </a:lnTo>
                    <a:lnTo>
                      <a:pt x="16956" y="13935"/>
                    </a:lnTo>
                    <a:lnTo>
                      <a:pt x="17280" y="13935"/>
                    </a:lnTo>
                    <a:lnTo>
                      <a:pt x="17280" y="13297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58" name="Shape 2984"/>
              <p:cNvSpPr/>
              <p:nvPr/>
            </p:nvSpPr>
            <p:spPr>
              <a:xfrm>
                <a:off x="8029750" y="5105758"/>
                <a:ext cx="322072" cy="42028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019" y="14400"/>
                    </a:moveTo>
                    <a:lnTo>
                      <a:pt x="19953" y="14400"/>
                    </a:lnTo>
                    <a:lnTo>
                      <a:pt x="19953" y="14845"/>
                    </a:lnTo>
                    <a:lnTo>
                      <a:pt x="19372" y="14400"/>
                    </a:lnTo>
                    <a:lnTo>
                      <a:pt x="17726" y="14400"/>
                    </a:lnTo>
                    <a:lnTo>
                      <a:pt x="17726" y="14845"/>
                    </a:lnTo>
                    <a:lnTo>
                      <a:pt x="17144" y="14845"/>
                    </a:lnTo>
                    <a:lnTo>
                      <a:pt x="17144" y="15291"/>
                    </a:lnTo>
                    <a:lnTo>
                      <a:pt x="17144" y="14400"/>
                    </a:lnTo>
                    <a:lnTo>
                      <a:pt x="16563" y="14400"/>
                    </a:lnTo>
                    <a:lnTo>
                      <a:pt x="16563" y="13955"/>
                    </a:lnTo>
                    <a:lnTo>
                      <a:pt x="15498" y="13955"/>
                    </a:lnTo>
                    <a:lnTo>
                      <a:pt x="15498" y="14400"/>
                    </a:lnTo>
                    <a:lnTo>
                      <a:pt x="14917" y="13955"/>
                    </a:lnTo>
                    <a:lnTo>
                      <a:pt x="14917" y="13584"/>
                    </a:lnTo>
                    <a:lnTo>
                      <a:pt x="14917" y="13955"/>
                    </a:lnTo>
                    <a:lnTo>
                      <a:pt x="14432" y="13584"/>
                    </a:lnTo>
                    <a:lnTo>
                      <a:pt x="13851" y="13584"/>
                    </a:lnTo>
                    <a:lnTo>
                      <a:pt x="13851" y="13138"/>
                    </a:lnTo>
                    <a:lnTo>
                      <a:pt x="13270" y="12693"/>
                    </a:lnTo>
                    <a:lnTo>
                      <a:pt x="12689" y="12693"/>
                    </a:lnTo>
                    <a:lnTo>
                      <a:pt x="12689" y="13584"/>
                    </a:lnTo>
                    <a:lnTo>
                      <a:pt x="12204" y="13584"/>
                    </a:lnTo>
                    <a:lnTo>
                      <a:pt x="12689" y="13584"/>
                    </a:lnTo>
                    <a:lnTo>
                      <a:pt x="12689" y="13138"/>
                    </a:lnTo>
                    <a:lnTo>
                      <a:pt x="11623" y="13138"/>
                    </a:lnTo>
                    <a:lnTo>
                      <a:pt x="11623" y="13584"/>
                    </a:lnTo>
                    <a:lnTo>
                      <a:pt x="12204" y="13584"/>
                    </a:lnTo>
                    <a:lnTo>
                      <a:pt x="12204" y="13955"/>
                    </a:lnTo>
                    <a:lnTo>
                      <a:pt x="11623" y="13955"/>
                    </a:lnTo>
                    <a:lnTo>
                      <a:pt x="11623" y="14400"/>
                    </a:lnTo>
                    <a:lnTo>
                      <a:pt x="10558" y="14400"/>
                    </a:lnTo>
                    <a:lnTo>
                      <a:pt x="11042" y="14845"/>
                    </a:lnTo>
                    <a:lnTo>
                      <a:pt x="12204" y="15291"/>
                    </a:lnTo>
                    <a:lnTo>
                      <a:pt x="12689" y="15291"/>
                    </a:lnTo>
                    <a:lnTo>
                      <a:pt x="12689" y="15662"/>
                    </a:lnTo>
                    <a:lnTo>
                      <a:pt x="12204" y="16107"/>
                    </a:lnTo>
                    <a:lnTo>
                      <a:pt x="12204" y="15662"/>
                    </a:lnTo>
                    <a:lnTo>
                      <a:pt x="11042" y="15662"/>
                    </a:lnTo>
                    <a:lnTo>
                      <a:pt x="11042" y="16553"/>
                    </a:lnTo>
                    <a:lnTo>
                      <a:pt x="11623" y="16553"/>
                    </a:lnTo>
                    <a:lnTo>
                      <a:pt x="11623" y="17369"/>
                    </a:lnTo>
                    <a:lnTo>
                      <a:pt x="12204" y="17369"/>
                    </a:lnTo>
                    <a:lnTo>
                      <a:pt x="12204" y="16924"/>
                    </a:lnTo>
                    <a:lnTo>
                      <a:pt x="12689" y="16924"/>
                    </a:lnTo>
                    <a:lnTo>
                      <a:pt x="12689" y="17814"/>
                    </a:lnTo>
                    <a:lnTo>
                      <a:pt x="13270" y="18260"/>
                    </a:lnTo>
                    <a:lnTo>
                      <a:pt x="13851" y="18260"/>
                    </a:lnTo>
                    <a:lnTo>
                      <a:pt x="13851" y="18631"/>
                    </a:lnTo>
                    <a:lnTo>
                      <a:pt x="13270" y="18631"/>
                    </a:lnTo>
                    <a:lnTo>
                      <a:pt x="13270" y="19076"/>
                    </a:lnTo>
                    <a:lnTo>
                      <a:pt x="12689" y="19076"/>
                    </a:lnTo>
                    <a:lnTo>
                      <a:pt x="12689" y="18631"/>
                    </a:lnTo>
                    <a:lnTo>
                      <a:pt x="12204" y="18260"/>
                    </a:lnTo>
                    <a:lnTo>
                      <a:pt x="11623" y="18631"/>
                    </a:lnTo>
                    <a:lnTo>
                      <a:pt x="11623" y="18260"/>
                    </a:lnTo>
                    <a:lnTo>
                      <a:pt x="11042" y="18260"/>
                    </a:lnTo>
                    <a:lnTo>
                      <a:pt x="11042" y="17814"/>
                    </a:lnTo>
                    <a:lnTo>
                      <a:pt x="10558" y="18260"/>
                    </a:lnTo>
                    <a:lnTo>
                      <a:pt x="10558" y="17814"/>
                    </a:lnTo>
                    <a:lnTo>
                      <a:pt x="9396" y="17814"/>
                    </a:lnTo>
                    <a:lnTo>
                      <a:pt x="9396" y="18260"/>
                    </a:lnTo>
                    <a:lnTo>
                      <a:pt x="8330" y="18260"/>
                    </a:lnTo>
                    <a:lnTo>
                      <a:pt x="8330" y="18631"/>
                    </a:lnTo>
                    <a:lnTo>
                      <a:pt x="7749" y="18260"/>
                    </a:lnTo>
                    <a:lnTo>
                      <a:pt x="7749" y="19893"/>
                    </a:lnTo>
                    <a:lnTo>
                      <a:pt x="8330" y="19893"/>
                    </a:lnTo>
                    <a:lnTo>
                      <a:pt x="7749" y="20338"/>
                    </a:lnTo>
                    <a:lnTo>
                      <a:pt x="8330" y="20784"/>
                    </a:lnTo>
                    <a:lnTo>
                      <a:pt x="7168" y="20784"/>
                    </a:lnTo>
                    <a:lnTo>
                      <a:pt x="6683" y="21155"/>
                    </a:lnTo>
                    <a:lnTo>
                      <a:pt x="6683" y="20784"/>
                    </a:lnTo>
                    <a:lnTo>
                      <a:pt x="6683" y="21155"/>
                    </a:lnTo>
                    <a:lnTo>
                      <a:pt x="4456" y="21155"/>
                    </a:lnTo>
                    <a:lnTo>
                      <a:pt x="3874" y="21600"/>
                    </a:lnTo>
                    <a:lnTo>
                      <a:pt x="3293" y="21155"/>
                    </a:lnTo>
                    <a:lnTo>
                      <a:pt x="3293" y="20338"/>
                    </a:lnTo>
                    <a:lnTo>
                      <a:pt x="4456" y="20338"/>
                    </a:lnTo>
                    <a:lnTo>
                      <a:pt x="4456" y="19893"/>
                    </a:lnTo>
                    <a:lnTo>
                      <a:pt x="4940" y="19522"/>
                    </a:lnTo>
                    <a:lnTo>
                      <a:pt x="4456" y="19076"/>
                    </a:lnTo>
                    <a:lnTo>
                      <a:pt x="3874" y="19076"/>
                    </a:lnTo>
                    <a:lnTo>
                      <a:pt x="3874" y="18631"/>
                    </a:lnTo>
                    <a:lnTo>
                      <a:pt x="2809" y="18631"/>
                    </a:lnTo>
                    <a:lnTo>
                      <a:pt x="2228" y="18260"/>
                    </a:lnTo>
                    <a:lnTo>
                      <a:pt x="1647" y="17814"/>
                    </a:lnTo>
                    <a:lnTo>
                      <a:pt x="1647" y="18260"/>
                    </a:lnTo>
                    <a:lnTo>
                      <a:pt x="1065" y="18260"/>
                    </a:lnTo>
                    <a:lnTo>
                      <a:pt x="1065" y="18631"/>
                    </a:lnTo>
                    <a:lnTo>
                      <a:pt x="581" y="18260"/>
                    </a:lnTo>
                    <a:lnTo>
                      <a:pt x="581" y="17814"/>
                    </a:lnTo>
                    <a:lnTo>
                      <a:pt x="0" y="17814"/>
                    </a:lnTo>
                    <a:lnTo>
                      <a:pt x="0" y="17369"/>
                    </a:lnTo>
                    <a:lnTo>
                      <a:pt x="581" y="16924"/>
                    </a:lnTo>
                    <a:lnTo>
                      <a:pt x="0" y="16924"/>
                    </a:lnTo>
                    <a:lnTo>
                      <a:pt x="581" y="16924"/>
                    </a:lnTo>
                    <a:lnTo>
                      <a:pt x="0" y="16553"/>
                    </a:lnTo>
                    <a:lnTo>
                      <a:pt x="581" y="16553"/>
                    </a:lnTo>
                    <a:lnTo>
                      <a:pt x="581" y="15662"/>
                    </a:lnTo>
                    <a:lnTo>
                      <a:pt x="1065" y="15662"/>
                    </a:lnTo>
                    <a:lnTo>
                      <a:pt x="1065" y="15291"/>
                    </a:lnTo>
                    <a:lnTo>
                      <a:pt x="1647" y="15291"/>
                    </a:lnTo>
                    <a:lnTo>
                      <a:pt x="1647" y="14845"/>
                    </a:lnTo>
                    <a:lnTo>
                      <a:pt x="2228" y="15291"/>
                    </a:lnTo>
                    <a:lnTo>
                      <a:pt x="2228" y="13955"/>
                    </a:lnTo>
                    <a:lnTo>
                      <a:pt x="3293" y="12693"/>
                    </a:lnTo>
                    <a:lnTo>
                      <a:pt x="2809" y="12322"/>
                    </a:lnTo>
                    <a:lnTo>
                      <a:pt x="3293" y="12322"/>
                    </a:lnTo>
                    <a:lnTo>
                      <a:pt x="3293" y="11876"/>
                    </a:lnTo>
                    <a:lnTo>
                      <a:pt x="3874" y="11876"/>
                    </a:lnTo>
                    <a:lnTo>
                      <a:pt x="3874" y="10986"/>
                    </a:lnTo>
                    <a:lnTo>
                      <a:pt x="4456" y="10986"/>
                    </a:lnTo>
                    <a:lnTo>
                      <a:pt x="4456" y="10614"/>
                    </a:lnTo>
                    <a:lnTo>
                      <a:pt x="4456" y="10986"/>
                    </a:lnTo>
                    <a:lnTo>
                      <a:pt x="5521" y="10986"/>
                    </a:lnTo>
                    <a:lnTo>
                      <a:pt x="5521" y="10614"/>
                    </a:lnTo>
                    <a:lnTo>
                      <a:pt x="6102" y="10614"/>
                    </a:lnTo>
                    <a:lnTo>
                      <a:pt x="6102" y="10169"/>
                    </a:lnTo>
                    <a:lnTo>
                      <a:pt x="7168" y="10169"/>
                    </a:lnTo>
                    <a:lnTo>
                      <a:pt x="7168" y="10614"/>
                    </a:lnTo>
                    <a:lnTo>
                      <a:pt x="7749" y="10986"/>
                    </a:lnTo>
                    <a:lnTo>
                      <a:pt x="7749" y="10614"/>
                    </a:lnTo>
                    <a:lnTo>
                      <a:pt x="8330" y="10614"/>
                    </a:lnTo>
                    <a:lnTo>
                      <a:pt x="8330" y="9353"/>
                    </a:lnTo>
                    <a:lnTo>
                      <a:pt x="8814" y="9353"/>
                    </a:lnTo>
                    <a:lnTo>
                      <a:pt x="8330" y="9353"/>
                    </a:lnTo>
                    <a:lnTo>
                      <a:pt x="8330" y="8907"/>
                    </a:lnTo>
                    <a:lnTo>
                      <a:pt x="9396" y="8907"/>
                    </a:lnTo>
                    <a:lnTo>
                      <a:pt x="9977" y="8462"/>
                    </a:lnTo>
                    <a:lnTo>
                      <a:pt x="9977" y="8016"/>
                    </a:lnTo>
                    <a:lnTo>
                      <a:pt x="10558" y="7645"/>
                    </a:lnTo>
                    <a:lnTo>
                      <a:pt x="9977" y="7645"/>
                    </a:lnTo>
                    <a:lnTo>
                      <a:pt x="9977" y="7200"/>
                    </a:lnTo>
                    <a:lnTo>
                      <a:pt x="8814" y="7200"/>
                    </a:lnTo>
                    <a:lnTo>
                      <a:pt x="8814" y="7645"/>
                    </a:lnTo>
                    <a:lnTo>
                      <a:pt x="7749" y="7645"/>
                    </a:lnTo>
                    <a:lnTo>
                      <a:pt x="7749" y="8016"/>
                    </a:lnTo>
                    <a:lnTo>
                      <a:pt x="7168" y="8016"/>
                    </a:lnTo>
                    <a:lnTo>
                      <a:pt x="6683" y="7645"/>
                    </a:lnTo>
                    <a:lnTo>
                      <a:pt x="4940" y="7645"/>
                    </a:lnTo>
                    <a:lnTo>
                      <a:pt x="4940" y="8016"/>
                    </a:lnTo>
                    <a:lnTo>
                      <a:pt x="4456" y="8016"/>
                    </a:lnTo>
                    <a:lnTo>
                      <a:pt x="3874" y="7200"/>
                    </a:lnTo>
                    <a:lnTo>
                      <a:pt x="2809" y="7200"/>
                    </a:lnTo>
                    <a:lnTo>
                      <a:pt x="2809" y="7645"/>
                    </a:lnTo>
                    <a:lnTo>
                      <a:pt x="2228" y="7645"/>
                    </a:lnTo>
                    <a:lnTo>
                      <a:pt x="2228" y="7200"/>
                    </a:lnTo>
                    <a:lnTo>
                      <a:pt x="1647" y="7200"/>
                    </a:lnTo>
                    <a:lnTo>
                      <a:pt x="1647" y="5493"/>
                    </a:lnTo>
                    <a:lnTo>
                      <a:pt x="1065" y="5493"/>
                    </a:lnTo>
                    <a:lnTo>
                      <a:pt x="1647" y="5493"/>
                    </a:lnTo>
                    <a:lnTo>
                      <a:pt x="1065" y="5493"/>
                    </a:lnTo>
                    <a:lnTo>
                      <a:pt x="1065" y="5122"/>
                    </a:lnTo>
                    <a:lnTo>
                      <a:pt x="581" y="5122"/>
                    </a:lnTo>
                    <a:lnTo>
                      <a:pt x="581" y="4231"/>
                    </a:lnTo>
                    <a:lnTo>
                      <a:pt x="1065" y="4231"/>
                    </a:lnTo>
                    <a:lnTo>
                      <a:pt x="1065" y="2969"/>
                    </a:lnTo>
                    <a:lnTo>
                      <a:pt x="1647" y="2969"/>
                    </a:lnTo>
                    <a:lnTo>
                      <a:pt x="1647" y="2524"/>
                    </a:lnTo>
                    <a:lnTo>
                      <a:pt x="3293" y="2524"/>
                    </a:lnTo>
                    <a:lnTo>
                      <a:pt x="3293" y="2969"/>
                    </a:lnTo>
                    <a:lnTo>
                      <a:pt x="3874" y="2969"/>
                    </a:lnTo>
                    <a:lnTo>
                      <a:pt x="4456" y="3414"/>
                    </a:lnTo>
                    <a:lnTo>
                      <a:pt x="4940" y="3414"/>
                    </a:lnTo>
                    <a:lnTo>
                      <a:pt x="4940" y="3786"/>
                    </a:lnTo>
                    <a:lnTo>
                      <a:pt x="4456" y="3786"/>
                    </a:lnTo>
                    <a:lnTo>
                      <a:pt x="4456" y="4231"/>
                    </a:lnTo>
                    <a:lnTo>
                      <a:pt x="3874" y="4231"/>
                    </a:lnTo>
                    <a:lnTo>
                      <a:pt x="4456" y="4231"/>
                    </a:lnTo>
                    <a:lnTo>
                      <a:pt x="4456" y="4676"/>
                    </a:lnTo>
                    <a:lnTo>
                      <a:pt x="3874" y="4676"/>
                    </a:lnTo>
                    <a:lnTo>
                      <a:pt x="3874" y="5122"/>
                    </a:lnTo>
                    <a:lnTo>
                      <a:pt x="3293" y="5122"/>
                    </a:lnTo>
                    <a:lnTo>
                      <a:pt x="4456" y="5122"/>
                    </a:lnTo>
                    <a:lnTo>
                      <a:pt x="4456" y="4676"/>
                    </a:lnTo>
                    <a:lnTo>
                      <a:pt x="4940" y="4231"/>
                    </a:lnTo>
                    <a:lnTo>
                      <a:pt x="5521" y="4231"/>
                    </a:lnTo>
                    <a:lnTo>
                      <a:pt x="5521" y="5122"/>
                    </a:lnTo>
                    <a:lnTo>
                      <a:pt x="6102" y="5122"/>
                    </a:lnTo>
                    <a:lnTo>
                      <a:pt x="6102" y="5493"/>
                    </a:lnTo>
                    <a:lnTo>
                      <a:pt x="5521" y="5493"/>
                    </a:lnTo>
                    <a:lnTo>
                      <a:pt x="6102" y="5493"/>
                    </a:lnTo>
                    <a:lnTo>
                      <a:pt x="6102" y="5938"/>
                    </a:lnTo>
                    <a:lnTo>
                      <a:pt x="6102" y="5493"/>
                    </a:lnTo>
                    <a:lnTo>
                      <a:pt x="6102" y="5938"/>
                    </a:lnTo>
                    <a:lnTo>
                      <a:pt x="6683" y="5493"/>
                    </a:lnTo>
                    <a:lnTo>
                      <a:pt x="7168" y="5493"/>
                    </a:lnTo>
                    <a:lnTo>
                      <a:pt x="6683" y="5493"/>
                    </a:lnTo>
                    <a:lnTo>
                      <a:pt x="7168" y="5122"/>
                    </a:lnTo>
                    <a:lnTo>
                      <a:pt x="6683" y="5122"/>
                    </a:lnTo>
                    <a:lnTo>
                      <a:pt x="6683" y="4676"/>
                    </a:lnTo>
                    <a:lnTo>
                      <a:pt x="6683" y="5122"/>
                    </a:lnTo>
                    <a:lnTo>
                      <a:pt x="7168" y="4676"/>
                    </a:lnTo>
                    <a:lnTo>
                      <a:pt x="7168" y="4231"/>
                    </a:lnTo>
                    <a:lnTo>
                      <a:pt x="7749" y="4676"/>
                    </a:lnTo>
                    <a:lnTo>
                      <a:pt x="7749" y="4231"/>
                    </a:lnTo>
                    <a:lnTo>
                      <a:pt x="8330" y="4676"/>
                    </a:lnTo>
                    <a:lnTo>
                      <a:pt x="7749" y="4676"/>
                    </a:lnTo>
                    <a:lnTo>
                      <a:pt x="8814" y="4676"/>
                    </a:lnTo>
                    <a:lnTo>
                      <a:pt x="8814" y="4231"/>
                    </a:lnTo>
                    <a:lnTo>
                      <a:pt x="9396" y="4231"/>
                    </a:lnTo>
                    <a:lnTo>
                      <a:pt x="9396" y="3786"/>
                    </a:lnTo>
                    <a:lnTo>
                      <a:pt x="9977" y="4231"/>
                    </a:lnTo>
                    <a:lnTo>
                      <a:pt x="11042" y="4231"/>
                    </a:lnTo>
                    <a:lnTo>
                      <a:pt x="11042" y="3786"/>
                    </a:lnTo>
                    <a:lnTo>
                      <a:pt x="10558" y="3786"/>
                    </a:lnTo>
                    <a:lnTo>
                      <a:pt x="10558" y="3414"/>
                    </a:lnTo>
                    <a:lnTo>
                      <a:pt x="9977" y="3414"/>
                    </a:lnTo>
                    <a:lnTo>
                      <a:pt x="10558" y="3414"/>
                    </a:lnTo>
                    <a:lnTo>
                      <a:pt x="10558" y="2969"/>
                    </a:lnTo>
                    <a:lnTo>
                      <a:pt x="9977" y="2969"/>
                    </a:lnTo>
                    <a:lnTo>
                      <a:pt x="10558" y="2969"/>
                    </a:lnTo>
                    <a:lnTo>
                      <a:pt x="10558" y="2524"/>
                    </a:lnTo>
                    <a:lnTo>
                      <a:pt x="9977" y="2524"/>
                    </a:lnTo>
                    <a:lnTo>
                      <a:pt x="9977" y="2153"/>
                    </a:lnTo>
                    <a:lnTo>
                      <a:pt x="10558" y="2153"/>
                    </a:lnTo>
                    <a:lnTo>
                      <a:pt x="10558" y="1262"/>
                    </a:lnTo>
                    <a:lnTo>
                      <a:pt x="11042" y="1262"/>
                    </a:lnTo>
                    <a:lnTo>
                      <a:pt x="11623" y="816"/>
                    </a:lnTo>
                    <a:lnTo>
                      <a:pt x="11042" y="816"/>
                    </a:lnTo>
                    <a:lnTo>
                      <a:pt x="10558" y="445"/>
                    </a:lnTo>
                    <a:lnTo>
                      <a:pt x="11623" y="445"/>
                    </a:lnTo>
                    <a:lnTo>
                      <a:pt x="11623" y="0"/>
                    </a:lnTo>
                    <a:lnTo>
                      <a:pt x="12204" y="0"/>
                    </a:lnTo>
                    <a:lnTo>
                      <a:pt x="12204" y="445"/>
                    </a:lnTo>
                    <a:lnTo>
                      <a:pt x="12204" y="0"/>
                    </a:lnTo>
                    <a:lnTo>
                      <a:pt x="12689" y="445"/>
                    </a:lnTo>
                    <a:lnTo>
                      <a:pt x="13270" y="445"/>
                    </a:lnTo>
                    <a:lnTo>
                      <a:pt x="12689" y="816"/>
                    </a:lnTo>
                    <a:lnTo>
                      <a:pt x="13270" y="1262"/>
                    </a:lnTo>
                    <a:lnTo>
                      <a:pt x="13851" y="816"/>
                    </a:lnTo>
                    <a:lnTo>
                      <a:pt x="13851" y="1262"/>
                    </a:lnTo>
                    <a:lnTo>
                      <a:pt x="14432" y="1262"/>
                    </a:lnTo>
                    <a:lnTo>
                      <a:pt x="14432" y="1707"/>
                    </a:lnTo>
                    <a:lnTo>
                      <a:pt x="16079" y="1707"/>
                    </a:lnTo>
                    <a:lnTo>
                      <a:pt x="16079" y="2153"/>
                    </a:lnTo>
                    <a:lnTo>
                      <a:pt x="17144" y="2153"/>
                    </a:lnTo>
                    <a:lnTo>
                      <a:pt x="17144" y="2524"/>
                    </a:lnTo>
                    <a:lnTo>
                      <a:pt x="18307" y="2524"/>
                    </a:lnTo>
                    <a:lnTo>
                      <a:pt x="18307" y="1707"/>
                    </a:lnTo>
                    <a:lnTo>
                      <a:pt x="18791" y="2153"/>
                    </a:lnTo>
                    <a:lnTo>
                      <a:pt x="19372" y="2153"/>
                    </a:lnTo>
                    <a:lnTo>
                      <a:pt x="19372" y="2524"/>
                    </a:lnTo>
                    <a:lnTo>
                      <a:pt x="19953" y="2524"/>
                    </a:lnTo>
                    <a:lnTo>
                      <a:pt x="19953" y="2969"/>
                    </a:lnTo>
                    <a:lnTo>
                      <a:pt x="20535" y="2969"/>
                    </a:lnTo>
                    <a:lnTo>
                      <a:pt x="20535" y="3414"/>
                    </a:lnTo>
                    <a:lnTo>
                      <a:pt x="21019" y="3786"/>
                    </a:lnTo>
                    <a:lnTo>
                      <a:pt x="21019" y="5122"/>
                    </a:lnTo>
                    <a:lnTo>
                      <a:pt x="21600" y="5122"/>
                    </a:lnTo>
                    <a:lnTo>
                      <a:pt x="21600" y="5493"/>
                    </a:lnTo>
                    <a:lnTo>
                      <a:pt x="21019" y="5493"/>
                    </a:lnTo>
                    <a:lnTo>
                      <a:pt x="21600" y="5493"/>
                    </a:lnTo>
                    <a:lnTo>
                      <a:pt x="21600" y="6755"/>
                    </a:lnTo>
                    <a:lnTo>
                      <a:pt x="21019" y="7200"/>
                    </a:lnTo>
                    <a:lnTo>
                      <a:pt x="21600" y="7645"/>
                    </a:lnTo>
                    <a:lnTo>
                      <a:pt x="19953" y="7645"/>
                    </a:lnTo>
                    <a:lnTo>
                      <a:pt x="19953" y="7200"/>
                    </a:lnTo>
                    <a:lnTo>
                      <a:pt x="19372" y="7645"/>
                    </a:lnTo>
                    <a:lnTo>
                      <a:pt x="19372" y="8016"/>
                    </a:lnTo>
                    <a:lnTo>
                      <a:pt x="18791" y="8016"/>
                    </a:lnTo>
                    <a:lnTo>
                      <a:pt x="18791" y="8462"/>
                    </a:lnTo>
                    <a:lnTo>
                      <a:pt x="19372" y="8462"/>
                    </a:lnTo>
                    <a:lnTo>
                      <a:pt x="18791" y="8907"/>
                    </a:lnTo>
                    <a:lnTo>
                      <a:pt x="19372" y="9353"/>
                    </a:lnTo>
                    <a:lnTo>
                      <a:pt x="18307" y="9353"/>
                    </a:lnTo>
                    <a:lnTo>
                      <a:pt x="17726" y="8907"/>
                    </a:lnTo>
                    <a:lnTo>
                      <a:pt x="17726" y="10614"/>
                    </a:lnTo>
                    <a:lnTo>
                      <a:pt x="17144" y="10614"/>
                    </a:lnTo>
                    <a:lnTo>
                      <a:pt x="17726" y="10614"/>
                    </a:lnTo>
                    <a:lnTo>
                      <a:pt x="17726" y="10986"/>
                    </a:lnTo>
                    <a:lnTo>
                      <a:pt x="19372" y="10986"/>
                    </a:lnTo>
                    <a:lnTo>
                      <a:pt x="19372" y="11431"/>
                    </a:lnTo>
                    <a:lnTo>
                      <a:pt x="18791" y="11431"/>
                    </a:lnTo>
                    <a:lnTo>
                      <a:pt x="19372" y="11876"/>
                    </a:lnTo>
                    <a:lnTo>
                      <a:pt x="19372" y="11431"/>
                    </a:lnTo>
                    <a:lnTo>
                      <a:pt x="19372" y="11876"/>
                    </a:lnTo>
                    <a:lnTo>
                      <a:pt x="21600" y="11876"/>
                    </a:lnTo>
                    <a:lnTo>
                      <a:pt x="21600" y="12693"/>
                    </a:lnTo>
                    <a:lnTo>
                      <a:pt x="21019" y="13138"/>
                    </a:lnTo>
                    <a:lnTo>
                      <a:pt x="21019" y="12693"/>
                    </a:lnTo>
                    <a:lnTo>
                      <a:pt x="20535" y="13138"/>
                    </a:lnTo>
                    <a:lnTo>
                      <a:pt x="21019" y="13138"/>
                    </a:lnTo>
                    <a:lnTo>
                      <a:pt x="20535" y="13584"/>
                    </a:lnTo>
                    <a:lnTo>
                      <a:pt x="20535" y="13138"/>
                    </a:lnTo>
                    <a:lnTo>
                      <a:pt x="20535" y="14400"/>
                    </a:lnTo>
                    <a:lnTo>
                      <a:pt x="21019" y="13955"/>
                    </a:lnTo>
                    <a:lnTo>
                      <a:pt x="21019" y="144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59" name="Shape 2985"/>
              <p:cNvSpPr/>
              <p:nvPr/>
            </p:nvSpPr>
            <p:spPr>
              <a:xfrm>
                <a:off x="8112072" y="4578602"/>
                <a:ext cx="512715" cy="6181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735" y="20994"/>
                    </a:moveTo>
                    <a:lnTo>
                      <a:pt x="9431" y="20742"/>
                    </a:lnTo>
                    <a:lnTo>
                      <a:pt x="9431" y="20439"/>
                    </a:lnTo>
                    <a:lnTo>
                      <a:pt x="9066" y="20439"/>
                    </a:lnTo>
                    <a:lnTo>
                      <a:pt x="9066" y="20136"/>
                    </a:lnTo>
                    <a:lnTo>
                      <a:pt x="8701" y="20136"/>
                    </a:lnTo>
                    <a:lnTo>
                      <a:pt x="8701" y="19884"/>
                    </a:lnTo>
                    <a:lnTo>
                      <a:pt x="8336" y="19884"/>
                    </a:lnTo>
                    <a:lnTo>
                      <a:pt x="8032" y="19581"/>
                    </a:lnTo>
                    <a:lnTo>
                      <a:pt x="8032" y="20136"/>
                    </a:lnTo>
                    <a:lnTo>
                      <a:pt x="7301" y="20136"/>
                    </a:lnTo>
                    <a:lnTo>
                      <a:pt x="7301" y="19884"/>
                    </a:lnTo>
                    <a:lnTo>
                      <a:pt x="6632" y="19884"/>
                    </a:lnTo>
                    <a:lnTo>
                      <a:pt x="6632" y="19581"/>
                    </a:lnTo>
                    <a:lnTo>
                      <a:pt x="5598" y="19581"/>
                    </a:lnTo>
                    <a:lnTo>
                      <a:pt x="5598" y="19279"/>
                    </a:lnTo>
                    <a:lnTo>
                      <a:pt x="5233" y="19279"/>
                    </a:lnTo>
                    <a:lnTo>
                      <a:pt x="5233" y="18976"/>
                    </a:lnTo>
                    <a:lnTo>
                      <a:pt x="4868" y="19279"/>
                    </a:lnTo>
                    <a:lnTo>
                      <a:pt x="4503" y="18976"/>
                    </a:lnTo>
                    <a:lnTo>
                      <a:pt x="4868" y="18723"/>
                    </a:lnTo>
                    <a:lnTo>
                      <a:pt x="4503" y="18723"/>
                    </a:lnTo>
                    <a:lnTo>
                      <a:pt x="4198" y="18421"/>
                    </a:lnTo>
                    <a:lnTo>
                      <a:pt x="4198" y="18723"/>
                    </a:lnTo>
                    <a:lnTo>
                      <a:pt x="4198" y="18421"/>
                    </a:lnTo>
                    <a:lnTo>
                      <a:pt x="3833" y="18421"/>
                    </a:lnTo>
                    <a:lnTo>
                      <a:pt x="3833" y="18118"/>
                    </a:lnTo>
                    <a:lnTo>
                      <a:pt x="3833" y="18723"/>
                    </a:lnTo>
                    <a:lnTo>
                      <a:pt x="3164" y="18723"/>
                    </a:lnTo>
                    <a:lnTo>
                      <a:pt x="3164" y="18976"/>
                    </a:lnTo>
                    <a:lnTo>
                      <a:pt x="2799" y="18976"/>
                    </a:lnTo>
                    <a:lnTo>
                      <a:pt x="2799" y="18723"/>
                    </a:lnTo>
                    <a:lnTo>
                      <a:pt x="2434" y="18723"/>
                    </a:lnTo>
                    <a:lnTo>
                      <a:pt x="2434" y="18421"/>
                    </a:lnTo>
                    <a:lnTo>
                      <a:pt x="1399" y="18421"/>
                    </a:lnTo>
                    <a:lnTo>
                      <a:pt x="1399" y="18118"/>
                    </a:lnTo>
                    <a:lnTo>
                      <a:pt x="730" y="18118"/>
                    </a:lnTo>
                    <a:lnTo>
                      <a:pt x="730" y="17865"/>
                    </a:lnTo>
                    <a:lnTo>
                      <a:pt x="365" y="17865"/>
                    </a:lnTo>
                    <a:lnTo>
                      <a:pt x="0" y="16957"/>
                    </a:lnTo>
                    <a:lnTo>
                      <a:pt x="0" y="16705"/>
                    </a:lnTo>
                    <a:lnTo>
                      <a:pt x="365" y="16402"/>
                    </a:lnTo>
                    <a:lnTo>
                      <a:pt x="365" y="15847"/>
                    </a:lnTo>
                    <a:lnTo>
                      <a:pt x="730" y="16099"/>
                    </a:lnTo>
                    <a:lnTo>
                      <a:pt x="730" y="14938"/>
                    </a:lnTo>
                    <a:lnTo>
                      <a:pt x="1034" y="14938"/>
                    </a:lnTo>
                    <a:lnTo>
                      <a:pt x="1034" y="15241"/>
                    </a:lnTo>
                    <a:lnTo>
                      <a:pt x="1765" y="15241"/>
                    </a:lnTo>
                    <a:lnTo>
                      <a:pt x="2069" y="14938"/>
                    </a:lnTo>
                    <a:lnTo>
                      <a:pt x="2069" y="15241"/>
                    </a:lnTo>
                    <a:lnTo>
                      <a:pt x="2069" y="14938"/>
                    </a:lnTo>
                    <a:lnTo>
                      <a:pt x="2434" y="14938"/>
                    </a:lnTo>
                    <a:lnTo>
                      <a:pt x="2434" y="15241"/>
                    </a:lnTo>
                    <a:lnTo>
                      <a:pt x="2434" y="14938"/>
                    </a:lnTo>
                    <a:lnTo>
                      <a:pt x="2434" y="15241"/>
                    </a:lnTo>
                    <a:lnTo>
                      <a:pt x="2799" y="14938"/>
                    </a:lnTo>
                    <a:lnTo>
                      <a:pt x="2799" y="15241"/>
                    </a:lnTo>
                    <a:lnTo>
                      <a:pt x="2799" y="14383"/>
                    </a:lnTo>
                    <a:lnTo>
                      <a:pt x="3164" y="14383"/>
                    </a:lnTo>
                    <a:lnTo>
                      <a:pt x="2799" y="14080"/>
                    </a:lnTo>
                    <a:lnTo>
                      <a:pt x="3164" y="14080"/>
                    </a:lnTo>
                    <a:lnTo>
                      <a:pt x="2799" y="14080"/>
                    </a:lnTo>
                    <a:lnTo>
                      <a:pt x="3164" y="13828"/>
                    </a:lnTo>
                    <a:lnTo>
                      <a:pt x="3468" y="13525"/>
                    </a:lnTo>
                    <a:lnTo>
                      <a:pt x="3164" y="13525"/>
                    </a:lnTo>
                    <a:lnTo>
                      <a:pt x="3468" y="13222"/>
                    </a:lnTo>
                    <a:lnTo>
                      <a:pt x="3468" y="13525"/>
                    </a:lnTo>
                    <a:lnTo>
                      <a:pt x="3833" y="13525"/>
                    </a:lnTo>
                    <a:lnTo>
                      <a:pt x="3833" y="13222"/>
                    </a:lnTo>
                    <a:lnTo>
                      <a:pt x="4503" y="13222"/>
                    </a:lnTo>
                    <a:lnTo>
                      <a:pt x="4503" y="13828"/>
                    </a:lnTo>
                    <a:lnTo>
                      <a:pt x="4868" y="13828"/>
                    </a:lnTo>
                    <a:lnTo>
                      <a:pt x="5233" y="13525"/>
                    </a:lnTo>
                    <a:lnTo>
                      <a:pt x="5598" y="13525"/>
                    </a:lnTo>
                    <a:lnTo>
                      <a:pt x="5598" y="12062"/>
                    </a:lnTo>
                    <a:lnTo>
                      <a:pt x="6267" y="12062"/>
                    </a:lnTo>
                    <a:lnTo>
                      <a:pt x="6267" y="11809"/>
                    </a:lnTo>
                    <a:lnTo>
                      <a:pt x="6632" y="11809"/>
                    </a:lnTo>
                    <a:lnTo>
                      <a:pt x="6632" y="12062"/>
                    </a:lnTo>
                    <a:lnTo>
                      <a:pt x="6936" y="12062"/>
                    </a:lnTo>
                    <a:lnTo>
                      <a:pt x="6936" y="11809"/>
                    </a:lnTo>
                    <a:lnTo>
                      <a:pt x="7301" y="12062"/>
                    </a:lnTo>
                    <a:lnTo>
                      <a:pt x="7301" y="11809"/>
                    </a:lnTo>
                    <a:lnTo>
                      <a:pt x="7666" y="11507"/>
                    </a:lnTo>
                    <a:lnTo>
                      <a:pt x="8032" y="11507"/>
                    </a:lnTo>
                    <a:lnTo>
                      <a:pt x="8032" y="10951"/>
                    </a:lnTo>
                    <a:lnTo>
                      <a:pt x="8336" y="10951"/>
                    </a:lnTo>
                    <a:lnTo>
                      <a:pt x="8032" y="10951"/>
                    </a:lnTo>
                    <a:lnTo>
                      <a:pt x="8032" y="10649"/>
                    </a:lnTo>
                    <a:lnTo>
                      <a:pt x="7666" y="10649"/>
                    </a:lnTo>
                    <a:lnTo>
                      <a:pt x="8032" y="10346"/>
                    </a:lnTo>
                    <a:lnTo>
                      <a:pt x="7666" y="10346"/>
                    </a:lnTo>
                    <a:lnTo>
                      <a:pt x="8032" y="9791"/>
                    </a:lnTo>
                    <a:lnTo>
                      <a:pt x="8032" y="10043"/>
                    </a:lnTo>
                    <a:lnTo>
                      <a:pt x="8336" y="9791"/>
                    </a:lnTo>
                    <a:lnTo>
                      <a:pt x="8032" y="9488"/>
                    </a:lnTo>
                    <a:lnTo>
                      <a:pt x="8701" y="9185"/>
                    </a:lnTo>
                    <a:lnTo>
                      <a:pt x="8336" y="8933"/>
                    </a:lnTo>
                    <a:lnTo>
                      <a:pt x="8336" y="8630"/>
                    </a:lnTo>
                    <a:lnTo>
                      <a:pt x="8032" y="8630"/>
                    </a:lnTo>
                    <a:lnTo>
                      <a:pt x="7666" y="8327"/>
                    </a:lnTo>
                    <a:lnTo>
                      <a:pt x="7666" y="7469"/>
                    </a:lnTo>
                    <a:lnTo>
                      <a:pt x="8701" y="6611"/>
                    </a:lnTo>
                    <a:lnTo>
                      <a:pt x="9066" y="6611"/>
                    </a:lnTo>
                    <a:lnTo>
                      <a:pt x="9431" y="6308"/>
                    </a:lnTo>
                    <a:lnTo>
                      <a:pt x="9735" y="6308"/>
                    </a:lnTo>
                    <a:lnTo>
                      <a:pt x="9735" y="6056"/>
                    </a:lnTo>
                    <a:lnTo>
                      <a:pt x="10100" y="6056"/>
                    </a:lnTo>
                    <a:lnTo>
                      <a:pt x="10100" y="5753"/>
                    </a:lnTo>
                    <a:lnTo>
                      <a:pt x="10465" y="5753"/>
                    </a:lnTo>
                    <a:lnTo>
                      <a:pt x="10465" y="5148"/>
                    </a:lnTo>
                    <a:lnTo>
                      <a:pt x="10770" y="5148"/>
                    </a:lnTo>
                    <a:lnTo>
                      <a:pt x="10770" y="4895"/>
                    </a:lnTo>
                    <a:lnTo>
                      <a:pt x="11135" y="4895"/>
                    </a:lnTo>
                    <a:lnTo>
                      <a:pt x="11500" y="4593"/>
                    </a:lnTo>
                    <a:lnTo>
                      <a:pt x="11500" y="4290"/>
                    </a:lnTo>
                    <a:lnTo>
                      <a:pt x="11865" y="4290"/>
                    </a:lnTo>
                    <a:lnTo>
                      <a:pt x="11865" y="4037"/>
                    </a:lnTo>
                    <a:lnTo>
                      <a:pt x="12169" y="3432"/>
                    </a:lnTo>
                    <a:lnTo>
                      <a:pt x="12169" y="2271"/>
                    </a:lnTo>
                    <a:lnTo>
                      <a:pt x="12534" y="2019"/>
                    </a:lnTo>
                    <a:lnTo>
                      <a:pt x="12899" y="1716"/>
                    </a:lnTo>
                    <a:lnTo>
                      <a:pt x="13203" y="1413"/>
                    </a:lnTo>
                    <a:lnTo>
                      <a:pt x="13203" y="858"/>
                    </a:lnTo>
                    <a:lnTo>
                      <a:pt x="13568" y="555"/>
                    </a:lnTo>
                    <a:lnTo>
                      <a:pt x="13203" y="555"/>
                    </a:lnTo>
                    <a:lnTo>
                      <a:pt x="13568" y="252"/>
                    </a:lnTo>
                    <a:lnTo>
                      <a:pt x="13934" y="0"/>
                    </a:lnTo>
                    <a:lnTo>
                      <a:pt x="13934" y="252"/>
                    </a:lnTo>
                    <a:lnTo>
                      <a:pt x="14603" y="252"/>
                    </a:lnTo>
                    <a:lnTo>
                      <a:pt x="14603" y="555"/>
                    </a:lnTo>
                    <a:lnTo>
                      <a:pt x="14968" y="555"/>
                    </a:lnTo>
                    <a:lnTo>
                      <a:pt x="14603" y="555"/>
                    </a:lnTo>
                    <a:lnTo>
                      <a:pt x="14603" y="1110"/>
                    </a:lnTo>
                    <a:lnTo>
                      <a:pt x="15637" y="1413"/>
                    </a:lnTo>
                    <a:lnTo>
                      <a:pt x="15637" y="1716"/>
                    </a:lnTo>
                    <a:lnTo>
                      <a:pt x="16002" y="1716"/>
                    </a:lnTo>
                    <a:lnTo>
                      <a:pt x="16367" y="2019"/>
                    </a:lnTo>
                    <a:lnTo>
                      <a:pt x="16732" y="2019"/>
                    </a:lnTo>
                    <a:lnTo>
                      <a:pt x="17767" y="3432"/>
                    </a:lnTo>
                    <a:lnTo>
                      <a:pt x="18801" y="4290"/>
                    </a:lnTo>
                    <a:lnTo>
                      <a:pt x="18801" y="5450"/>
                    </a:lnTo>
                    <a:lnTo>
                      <a:pt x="18436" y="5753"/>
                    </a:lnTo>
                    <a:lnTo>
                      <a:pt x="18436" y="8327"/>
                    </a:lnTo>
                    <a:lnTo>
                      <a:pt x="18801" y="8933"/>
                    </a:lnTo>
                    <a:lnTo>
                      <a:pt x="19166" y="8933"/>
                    </a:lnTo>
                    <a:lnTo>
                      <a:pt x="18801" y="10043"/>
                    </a:lnTo>
                    <a:lnTo>
                      <a:pt x="18801" y="10346"/>
                    </a:lnTo>
                    <a:lnTo>
                      <a:pt x="18436" y="11204"/>
                    </a:lnTo>
                    <a:lnTo>
                      <a:pt x="19166" y="11809"/>
                    </a:lnTo>
                    <a:lnTo>
                      <a:pt x="20870" y="12364"/>
                    </a:lnTo>
                    <a:lnTo>
                      <a:pt x="20870" y="14383"/>
                    </a:lnTo>
                    <a:lnTo>
                      <a:pt x="21235" y="15241"/>
                    </a:lnTo>
                    <a:lnTo>
                      <a:pt x="21600" y="15241"/>
                    </a:lnTo>
                    <a:lnTo>
                      <a:pt x="21235" y="16705"/>
                    </a:lnTo>
                    <a:lnTo>
                      <a:pt x="21235" y="17563"/>
                    </a:lnTo>
                    <a:lnTo>
                      <a:pt x="20505" y="17563"/>
                    </a:lnTo>
                    <a:lnTo>
                      <a:pt x="20505" y="17865"/>
                    </a:lnTo>
                    <a:lnTo>
                      <a:pt x="20201" y="17865"/>
                    </a:lnTo>
                    <a:lnTo>
                      <a:pt x="20201" y="17563"/>
                    </a:lnTo>
                    <a:lnTo>
                      <a:pt x="20201" y="17865"/>
                    </a:lnTo>
                    <a:lnTo>
                      <a:pt x="19835" y="17865"/>
                    </a:lnTo>
                    <a:lnTo>
                      <a:pt x="19470" y="18118"/>
                    </a:lnTo>
                    <a:lnTo>
                      <a:pt x="19470" y="17563"/>
                    </a:lnTo>
                    <a:lnTo>
                      <a:pt x="19166" y="17865"/>
                    </a:lnTo>
                    <a:lnTo>
                      <a:pt x="18071" y="17865"/>
                    </a:lnTo>
                    <a:lnTo>
                      <a:pt x="18071" y="18421"/>
                    </a:lnTo>
                    <a:lnTo>
                      <a:pt x="17767" y="18421"/>
                    </a:lnTo>
                    <a:lnTo>
                      <a:pt x="17767" y="18976"/>
                    </a:lnTo>
                    <a:lnTo>
                      <a:pt x="17402" y="18976"/>
                    </a:lnTo>
                    <a:lnTo>
                      <a:pt x="17402" y="19279"/>
                    </a:lnTo>
                    <a:lnTo>
                      <a:pt x="17767" y="19279"/>
                    </a:lnTo>
                    <a:lnTo>
                      <a:pt x="17767" y="19581"/>
                    </a:lnTo>
                    <a:lnTo>
                      <a:pt x="17402" y="19581"/>
                    </a:lnTo>
                    <a:lnTo>
                      <a:pt x="17402" y="19884"/>
                    </a:lnTo>
                    <a:lnTo>
                      <a:pt x="17767" y="19884"/>
                    </a:lnTo>
                    <a:lnTo>
                      <a:pt x="17402" y="19884"/>
                    </a:lnTo>
                    <a:lnTo>
                      <a:pt x="17402" y="20742"/>
                    </a:lnTo>
                    <a:lnTo>
                      <a:pt x="17767" y="20439"/>
                    </a:lnTo>
                    <a:lnTo>
                      <a:pt x="17767" y="20742"/>
                    </a:lnTo>
                    <a:lnTo>
                      <a:pt x="17402" y="20994"/>
                    </a:lnTo>
                    <a:lnTo>
                      <a:pt x="17037" y="20994"/>
                    </a:lnTo>
                    <a:lnTo>
                      <a:pt x="16732" y="20742"/>
                    </a:lnTo>
                    <a:lnTo>
                      <a:pt x="17037" y="20742"/>
                    </a:lnTo>
                    <a:lnTo>
                      <a:pt x="16732" y="20742"/>
                    </a:lnTo>
                    <a:lnTo>
                      <a:pt x="16002" y="20439"/>
                    </a:lnTo>
                    <a:lnTo>
                      <a:pt x="16002" y="20742"/>
                    </a:lnTo>
                    <a:lnTo>
                      <a:pt x="15637" y="20439"/>
                    </a:lnTo>
                    <a:lnTo>
                      <a:pt x="15333" y="20742"/>
                    </a:lnTo>
                    <a:lnTo>
                      <a:pt x="15637" y="20742"/>
                    </a:lnTo>
                    <a:lnTo>
                      <a:pt x="15333" y="20742"/>
                    </a:lnTo>
                    <a:lnTo>
                      <a:pt x="15637" y="20742"/>
                    </a:lnTo>
                    <a:lnTo>
                      <a:pt x="15333" y="20994"/>
                    </a:lnTo>
                    <a:lnTo>
                      <a:pt x="14968" y="20994"/>
                    </a:lnTo>
                    <a:lnTo>
                      <a:pt x="14968" y="21600"/>
                    </a:lnTo>
                    <a:lnTo>
                      <a:pt x="14603" y="21297"/>
                    </a:lnTo>
                    <a:lnTo>
                      <a:pt x="14299" y="21297"/>
                    </a:lnTo>
                    <a:lnTo>
                      <a:pt x="13934" y="20994"/>
                    </a:lnTo>
                    <a:lnTo>
                      <a:pt x="13568" y="20742"/>
                    </a:lnTo>
                    <a:lnTo>
                      <a:pt x="13568" y="20439"/>
                    </a:lnTo>
                    <a:lnTo>
                      <a:pt x="13203" y="20439"/>
                    </a:lnTo>
                    <a:lnTo>
                      <a:pt x="13203" y="20742"/>
                    </a:lnTo>
                    <a:lnTo>
                      <a:pt x="13203" y="20439"/>
                    </a:lnTo>
                    <a:lnTo>
                      <a:pt x="12899" y="20439"/>
                    </a:lnTo>
                    <a:lnTo>
                      <a:pt x="12534" y="20136"/>
                    </a:lnTo>
                    <a:lnTo>
                      <a:pt x="11500" y="20136"/>
                    </a:lnTo>
                    <a:lnTo>
                      <a:pt x="11500" y="20439"/>
                    </a:lnTo>
                    <a:lnTo>
                      <a:pt x="11500" y="19884"/>
                    </a:lnTo>
                    <a:lnTo>
                      <a:pt x="11135" y="20136"/>
                    </a:lnTo>
                    <a:lnTo>
                      <a:pt x="10770" y="20136"/>
                    </a:lnTo>
                    <a:lnTo>
                      <a:pt x="10465" y="20439"/>
                    </a:lnTo>
                    <a:lnTo>
                      <a:pt x="10100" y="20742"/>
                    </a:lnTo>
                    <a:lnTo>
                      <a:pt x="10100" y="20439"/>
                    </a:lnTo>
                    <a:lnTo>
                      <a:pt x="9735" y="20742"/>
                    </a:lnTo>
                    <a:lnTo>
                      <a:pt x="9735" y="2099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60" name="Shape 2986"/>
              <p:cNvSpPr/>
              <p:nvPr/>
            </p:nvSpPr>
            <p:spPr>
              <a:xfrm>
                <a:off x="7947427" y="4561271"/>
                <a:ext cx="478052" cy="51127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437" y="8359"/>
                    </a:moveTo>
                    <a:lnTo>
                      <a:pt x="4111" y="8359"/>
                    </a:lnTo>
                    <a:lnTo>
                      <a:pt x="4111" y="8725"/>
                    </a:lnTo>
                    <a:lnTo>
                      <a:pt x="3720" y="8725"/>
                    </a:lnTo>
                    <a:lnTo>
                      <a:pt x="3720" y="10129"/>
                    </a:lnTo>
                    <a:lnTo>
                      <a:pt x="3328" y="10129"/>
                    </a:lnTo>
                    <a:lnTo>
                      <a:pt x="3328" y="12203"/>
                    </a:lnTo>
                    <a:lnTo>
                      <a:pt x="3002" y="12203"/>
                    </a:lnTo>
                    <a:lnTo>
                      <a:pt x="3002" y="12569"/>
                    </a:lnTo>
                    <a:lnTo>
                      <a:pt x="2610" y="12569"/>
                    </a:lnTo>
                    <a:lnTo>
                      <a:pt x="2610" y="12875"/>
                    </a:lnTo>
                    <a:lnTo>
                      <a:pt x="2219" y="12875"/>
                    </a:lnTo>
                    <a:lnTo>
                      <a:pt x="2219" y="13241"/>
                    </a:lnTo>
                    <a:lnTo>
                      <a:pt x="2610" y="13241"/>
                    </a:lnTo>
                    <a:lnTo>
                      <a:pt x="2610" y="13973"/>
                    </a:lnTo>
                    <a:lnTo>
                      <a:pt x="2219" y="13973"/>
                    </a:lnTo>
                    <a:lnTo>
                      <a:pt x="2219" y="14278"/>
                    </a:lnTo>
                    <a:lnTo>
                      <a:pt x="2610" y="14278"/>
                    </a:lnTo>
                    <a:lnTo>
                      <a:pt x="2610" y="14644"/>
                    </a:lnTo>
                    <a:lnTo>
                      <a:pt x="2219" y="14644"/>
                    </a:lnTo>
                    <a:lnTo>
                      <a:pt x="2219" y="15010"/>
                    </a:lnTo>
                    <a:lnTo>
                      <a:pt x="1827" y="15010"/>
                    </a:lnTo>
                    <a:lnTo>
                      <a:pt x="1827" y="15315"/>
                    </a:lnTo>
                    <a:lnTo>
                      <a:pt x="2219" y="15315"/>
                    </a:lnTo>
                    <a:lnTo>
                      <a:pt x="2219" y="15681"/>
                    </a:lnTo>
                    <a:lnTo>
                      <a:pt x="1501" y="15681"/>
                    </a:lnTo>
                    <a:lnTo>
                      <a:pt x="1109" y="16047"/>
                    </a:lnTo>
                    <a:lnTo>
                      <a:pt x="392" y="16047"/>
                    </a:lnTo>
                    <a:lnTo>
                      <a:pt x="392" y="15681"/>
                    </a:lnTo>
                    <a:lnTo>
                      <a:pt x="392" y="16414"/>
                    </a:lnTo>
                    <a:lnTo>
                      <a:pt x="0" y="16414"/>
                    </a:lnTo>
                    <a:lnTo>
                      <a:pt x="0" y="16719"/>
                    </a:lnTo>
                    <a:lnTo>
                      <a:pt x="0" y="16414"/>
                    </a:lnTo>
                    <a:lnTo>
                      <a:pt x="392" y="16414"/>
                    </a:lnTo>
                    <a:lnTo>
                      <a:pt x="392" y="16719"/>
                    </a:lnTo>
                    <a:lnTo>
                      <a:pt x="392" y="16414"/>
                    </a:lnTo>
                    <a:lnTo>
                      <a:pt x="718" y="16414"/>
                    </a:lnTo>
                    <a:lnTo>
                      <a:pt x="718" y="16719"/>
                    </a:lnTo>
                    <a:lnTo>
                      <a:pt x="392" y="16719"/>
                    </a:lnTo>
                    <a:lnTo>
                      <a:pt x="392" y="17085"/>
                    </a:lnTo>
                    <a:lnTo>
                      <a:pt x="718" y="17085"/>
                    </a:lnTo>
                    <a:lnTo>
                      <a:pt x="718" y="18122"/>
                    </a:lnTo>
                    <a:lnTo>
                      <a:pt x="1109" y="18122"/>
                    </a:lnTo>
                    <a:lnTo>
                      <a:pt x="1109" y="17756"/>
                    </a:lnTo>
                    <a:lnTo>
                      <a:pt x="1501" y="17756"/>
                    </a:lnTo>
                    <a:lnTo>
                      <a:pt x="1501" y="17451"/>
                    </a:lnTo>
                    <a:lnTo>
                      <a:pt x="1501" y="18122"/>
                    </a:lnTo>
                    <a:lnTo>
                      <a:pt x="1827" y="18122"/>
                    </a:lnTo>
                    <a:lnTo>
                      <a:pt x="1827" y="18793"/>
                    </a:lnTo>
                    <a:lnTo>
                      <a:pt x="2219" y="18793"/>
                    </a:lnTo>
                    <a:lnTo>
                      <a:pt x="2219" y="19159"/>
                    </a:lnTo>
                    <a:lnTo>
                      <a:pt x="2610" y="19159"/>
                    </a:lnTo>
                    <a:lnTo>
                      <a:pt x="2610" y="18793"/>
                    </a:lnTo>
                    <a:lnTo>
                      <a:pt x="2610" y="19159"/>
                    </a:lnTo>
                    <a:lnTo>
                      <a:pt x="4437" y="19159"/>
                    </a:lnTo>
                    <a:lnTo>
                      <a:pt x="4111" y="19525"/>
                    </a:lnTo>
                    <a:lnTo>
                      <a:pt x="4437" y="19892"/>
                    </a:lnTo>
                    <a:lnTo>
                      <a:pt x="4437" y="20197"/>
                    </a:lnTo>
                    <a:lnTo>
                      <a:pt x="5221" y="20197"/>
                    </a:lnTo>
                    <a:lnTo>
                      <a:pt x="5221" y="19892"/>
                    </a:lnTo>
                    <a:lnTo>
                      <a:pt x="5221" y="20197"/>
                    </a:lnTo>
                    <a:lnTo>
                      <a:pt x="5612" y="20197"/>
                    </a:lnTo>
                    <a:lnTo>
                      <a:pt x="5612" y="21600"/>
                    </a:lnTo>
                    <a:lnTo>
                      <a:pt x="6721" y="21600"/>
                    </a:lnTo>
                    <a:lnTo>
                      <a:pt x="6721" y="21234"/>
                    </a:lnTo>
                    <a:lnTo>
                      <a:pt x="7439" y="21234"/>
                    </a:lnTo>
                    <a:lnTo>
                      <a:pt x="7439" y="20929"/>
                    </a:lnTo>
                    <a:lnTo>
                      <a:pt x="7831" y="20563"/>
                    </a:lnTo>
                    <a:lnTo>
                      <a:pt x="7831" y="19892"/>
                    </a:lnTo>
                    <a:lnTo>
                      <a:pt x="8222" y="20197"/>
                    </a:lnTo>
                    <a:lnTo>
                      <a:pt x="8222" y="18793"/>
                    </a:lnTo>
                    <a:lnTo>
                      <a:pt x="8549" y="18793"/>
                    </a:lnTo>
                    <a:lnTo>
                      <a:pt x="8549" y="19159"/>
                    </a:lnTo>
                    <a:lnTo>
                      <a:pt x="9332" y="19159"/>
                    </a:lnTo>
                    <a:lnTo>
                      <a:pt x="9658" y="18793"/>
                    </a:lnTo>
                    <a:lnTo>
                      <a:pt x="9658" y="19159"/>
                    </a:lnTo>
                    <a:lnTo>
                      <a:pt x="9658" y="18793"/>
                    </a:lnTo>
                    <a:lnTo>
                      <a:pt x="10050" y="18793"/>
                    </a:lnTo>
                    <a:lnTo>
                      <a:pt x="10050" y="19159"/>
                    </a:lnTo>
                    <a:lnTo>
                      <a:pt x="10050" y="18793"/>
                    </a:lnTo>
                    <a:lnTo>
                      <a:pt x="10050" y="19159"/>
                    </a:lnTo>
                    <a:lnTo>
                      <a:pt x="10441" y="18793"/>
                    </a:lnTo>
                    <a:lnTo>
                      <a:pt x="10441" y="19159"/>
                    </a:lnTo>
                    <a:lnTo>
                      <a:pt x="10441" y="18122"/>
                    </a:lnTo>
                    <a:lnTo>
                      <a:pt x="10833" y="18122"/>
                    </a:lnTo>
                    <a:lnTo>
                      <a:pt x="10441" y="17756"/>
                    </a:lnTo>
                    <a:lnTo>
                      <a:pt x="10833" y="17756"/>
                    </a:lnTo>
                    <a:lnTo>
                      <a:pt x="10441" y="17756"/>
                    </a:lnTo>
                    <a:lnTo>
                      <a:pt x="10833" y="17451"/>
                    </a:lnTo>
                    <a:lnTo>
                      <a:pt x="11159" y="17085"/>
                    </a:lnTo>
                    <a:lnTo>
                      <a:pt x="10833" y="17085"/>
                    </a:lnTo>
                    <a:lnTo>
                      <a:pt x="11159" y="16719"/>
                    </a:lnTo>
                    <a:lnTo>
                      <a:pt x="11159" y="17085"/>
                    </a:lnTo>
                    <a:lnTo>
                      <a:pt x="11550" y="17085"/>
                    </a:lnTo>
                    <a:lnTo>
                      <a:pt x="11550" y="16719"/>
                    </a:lnTo>
                    <a:lnTo>
                      <a:pt x="12268" y="16719"/>
                    </a:lnTo>
                    <a:lnTo>
                      <a:pt x="12268" y="17451"/>
                    </a:lnTo>
                    <a:lnTo>
                      <a:pt x="12660" y="17451"/>
                    </a:lnTo>
                    <a:lnTo>
                      <a:pt x="13051" y="17085"/>
                    </a:lnTo>
                    <a:lnTo>
                      <a:pt x="13443" y="17085"/>
                    </a:lnTo>
                    <a:lnTo>
                      <a:pt x="13443" y="15315"/>
                    </a:lnTo>
                    <a:lnTo>
                      <a:pt x="14161" y="15315"/>
                    </a:lnTo>
                    <a:lnTo>
                      <a:pt x="14161" y="15010"/>
                    </a:lnTo>
                    <a:lnTo>
                      <a:pt x="14552" y="15010"/>
                    </a:lnTo>
                    <a:lnTo>
                      <a:pt x="14552" y="15315"/>
                    </a:lnTo>
                    <a:lnTo>
                      <a:pt x="14879" y="15315"/>
                    </a:lnTo>
                    <a:lnTo>
                      <a:pt x="14879" y="15010"/>
                    </a:lnTo>
                    <a:lnTo>
                      <a:pt x="15270" y="15315"/>
                    </a:lnTo>
                    <a:lnTo>
                      <a:pt x="15270" y="15010"/>
                    </a:lnTo>
                    <a:lnTo>
                      <a:pt x="15662" y="14644"/>
                    </a:lnTo>
                    <a:lnTo>
                      <a:pt x="16053" y="14644"/>
                    </a:lnTo>
                    <a:lnTo>
                      <a:pt x="16053" y="13973"/>
                    </a:lnTo>
                    <a:lnTo>
                      <a:pt x="16379" y="13973"/>
                    </a:lnTo>
                    <a:lnTo>
                      <a:pt x="16053" y="13973"/>
                    </a:lnTo>
                    <a:lnTo>
                      <a:pt x="16053" y="13607"/>
                    </a:lnTo>
                    <a:lnTo>
                      <a:pt x="15662" y="13607"/>
                    </a:lnTo>
                    <a:lnTo>
                      <a:pt x="16053" y="13241"/>
                    </a:lnTo>
                    <a:lnTo>
                      <a:pt x="15662" y="13241"/>
                    </a:lnTo>
                    <a:lnTo>
                      <a:pt x="16053" y="12569"/>
                    </a:lnTo>
                    <a:lnTo>
                      <a:pt x="16053" y="12875"/>
                    </a:lnTo>
                    <a:lnTo>
                      <a:pt x="16379" y="12569"/>
                    </a:lnTo>
                    <a:lnTo>
                      <a:pt x="16053" y="12203"/>
                    </a:lnTo>
                    <a:lnTo>
                      <a:pt x="16771" y="11837"/>
                    </a:lnTo>
                    <a:lnTo>
                      <a:pt x="16379" y="11532"/>
                    </a:lnTo>
                    <a:lnTo>
                      <a:pt x="16379" y="11166"/>
                    </a:lnTo>
                    <a:lnTo>
                      <a:pt x="16053" y="11166"/>
                    </a:lnTo>
                    <a:lnTo>
                      <a:pt x="15662" y="10800"/>
                    </a:lnTo>
                    <a:lnTo>
                      <a:pt x="15662" y="9763"/>
                    </a:lnTo>
                    <a:lnTo>
                      <a:pt x="16771" y="8725"/>
                    </a:lnTo>
                    <a:lnTo>
                      <a:pt x="17163" y="8725"/>
                    </a:lnTo>
                    <a:lnTo>
                      <a:pt x="17554" y="8359"/>
                    </a:lnTo>
                    <a:lnTo>
                      <a:pt x="17880" y="8359"/>
                    </a:lnTo>
                    <a:lnTo>
                      <a:pt x="17880" y="8054"/>
                    </a:lnTo>
                    <a:lnTo>
                      <a:pt x="18272" y="8054"/>
                    </a:lnTo>
                    <a:lnTo>
                      <a:pt x="18272" y="7688"/>
                    </a:lnTo>
                    <a:lnTo>
                      <a:pt x="18663" y="7688"/>
                    </a:lnTo>
                    <a:lnTo>
                      <a:pt x="18663" y="6956"/>
                    </a:lnTo>
                    <a:lnTo>
                      <a:pt x="18990" y="6956"/>
                    </a:lnTo>
                    <a:lnTo>
                      <a:pt x="18990" y="6651"/>
                    </a:lnTo>
                    <a:lnTo>
                      <a:pt x="19381" y="6651"/>
                    </a:lnTo>
                    <a:lnTo>
                      <a:pt x="19773" y="6285"/>
                    </a:lnTo>
                    <a:lnTo>
                      <a:pt x="19773" y="5919"/>
                    </a:lnTo>
                    <a:lnTo>
                      <a:pt x="20164" y="5919"/>
                    </a:lnTo>
                    <a:lnTo>
                      <a:pt x="20164" y="5614"/>
                    </a:lnTo>
                    <a:lnTo>
                      <a:pt x="20491" y="4881"/>
                    </a:lnTo>
                    <a:lnTo>
                      <a:pt x="20491" y="3478"/>
                    </a:lnTo>
                    <a:lnTo>
                      <a:pt x="20882" y="3173"/>
                    </a:lnTo>
                    <a:lnTo>
                      <a:pt x="21274" y="2807"/>
                    </a:lnTo>
                    <a:lnTo>
                      <a:pt x="21600" y="2441"/>
                    </a:lnTo>
                    <a:lnTo>
                      <a:pt x="21600" y="1769"/>
                    </a:lnTo>
                    <a:lnTo>
                      <a:pt x="21274" y="1769"/>
                    </a:lnTo>
                    <a:lnTo>
                      <a:pt x="21274" y="2075"/>
                    </a:lnTo>
                    <a:lnTo>
                      <a:pt x="21274" y="1769"/>
                    </a:lnTo>
                    <a:lnTo>
                      <a:pt x="20882" y="1769"/>
                    </a:lnTo>
                    <a:lnTo>
                      <a:pt x="20882" y="2075"/>
                    </a:lnTo>
                    <a:lnTo>
                      <a:pt x="20164" y="2075"/>
                    </a:lnTo>
                    <a:lnTo>
                      <a:pt x="16771" y="732"/>
                    </a:lnTo>
                    <a:lnTo>
                      <a:pt x="16053" y="0"/>
                    </a:lnTo>
                    <a:lnTo>
                      <a:pt x="15662" y="366"/>
                    </a:lnTo>
                    <a:lnTo>
                      <a:pt x="15270" y="366"/>
                    </a:lnTo>
                    <a:lnTo>
                      <a:pt x="14552" y="1037"/>
                    </a:lnTo>
                    <a:lnTo>
                      <a:pt x="13769" y="366"/>
                    </a:lnTo>
                    <a:lnTo>
                      <a:pt x="13051" y="1037"/>
                    </a:lnTo>
                    <a:lnTo>
                      <a:pt x="12268" y="366"/>
                    </a:lnTo>
                    <a:lnTo>
                      <a:pt x="11942" y="1037"/>
                    </a:lnTo>
                    <a:lnTo>
                      <a:pt x="11550" y="732"/>
                    </a:lnTo>
                    <a:lnTo>
                      <a:pt x="11159" y="1403"/>
                    </a:lnTo>
                    <a:lnTo>
                      <a:pt x="11550" y="1403"/>
                    </a:lnTo>
                    <a:lnTo>
                      <a:pt x="11159" y="1769"/>
                    </a:lnTo>
                    <a:lnTo>
                      <a:pt x="10833" y="2441"/>
                    </a:lnTo>
                    <a:lnTo>
                      <a:pt x="10441" y="3173"/>
                    </a:lnTo>
                    <a:lnTo>
                      <a:pt x="10833" y="3478"/>
                    </a:lnTo>
                    <a:lnTo>
                      <a:pt x="10050" y="4210"/>
                    </a:lnTo>
                    <a:lnTo>
                      <a:pt x="10441" y="4210"/>
                    </a:lnTo>
                    <a:lnTo>
                      <a:pt x="10441" y="3844"/>
                    </a:lnTo>
                    <a:lnTo>
                      <a:pt x="10441" y="4210"/>
                    </a:lnTo>
                    <a:lnTo>
                      <a:pt x="10833" y="4210"/>
                    </a:lnTo>
                    <a:lnTo>
                      <a:pt x="10441" y="4515"/>
                    </a:lnTo>
                    <a:lnTo>
                      <a:pt x="10833" y="4881"/>
                    </a:lnTo>
                    <a:lnTo>
                      <a:pt x="10441" y="5247"/>
                    </a:lnTo>
                    <a:lnTo>
                      <a:pt x="10050" y="5247"/>
                    </a:lnTo>
                    <a:lnTo>
                      <a:pt x="10441" y="5247"/>
                    </a:lnTo>
                    <a:lnTo>
                      <a:pt x="10050" y="5247"/>
                    </a:lnTo>
                    <a:lnTo>
                      <a:pt x="9658" y="5614"/>
                    </a:lnTo>
                    <a:lnTo>
                      <a:pt x="9658" y="5919"/>
                    </a:lnTo>
                    <a:lnTo>
                      <a:pt x="9332" y="6285"/>
                    </a:lnTo>
                    <a:lnTo>
                      <a:pt x="9658" y="6651"/>
                    </a:lnTo>
                    <a:lnTo>
                      <a:pt x="9332" y="6956"/>
                    </a:lnTo>
                    <a:lnTo>
                      <a:pt x="9658" y="7322"/>
                    </a:lnTo>
                    <a:lnTo>
                      <a:pt x="9332" y="7688"/>
                    </a:lnTo>
                    <a:lnTo>
                      <a:pt x="9332" y="8359"/>
                    </a:lnTo>
                    <a:lnTo>
                      <a:pt x="10441" y="8359"/>
                    </a:lnTo>
                    <a:lnTo>
                      <a:pt x="10441" y="9092"/>
                    </a:lnTo>
                    <a:lnTo>
                      <a:pt x="10050" y="9092"/>
                    </a:lnTo>
                    <a:lnTo>
                      <a:pt x="10050" y="10129"/>
                    </a:lnTo>
                    <a:lnTo>
                      <a:pt x="9658" y="10129"/>
                    </a:lnTo>
                    <a:lnTo>
                      <a:pt x="9332" y="9397"/>
                    </a:lnTo>
                    <a:lnTo>
                      <a:pt x="8222" y="9397"/>
                    </a:lnTo>
                    <a:lnTo>
                      <a:pt x="8222" y="9763"/>
                    </a:lnTo>
                    <a:lnTo>
                      <a:pt x="7831" y="9763"/>
                    </a:lnTo>
                    <a:lnTo>
                      <a:pt x="7831" y="9397"/>
                    </a:lnTo>
                    <a:lnTo>
                      <a:pt x="7439" y="9397"/>
                    </a:lnTo>
                    <a:lnTo>
                      <a:pt x="7831" y="9397"/>
                    </a:lnTo>
                    <a:lnTo>
                      <a:pt x="7048" y="9397"/>
                    </a:lnTo>
                    <a:lnTo>
                      <a:pt x="7048" y="9092"/>
                    </a:lnTo>
                    <a:lnTo>
                      <a:pt x="6721" y="9092"/>
                    </a:lnTo>
                    <a:lnTo>
                      <a:pt x="6721" y="9397"/>
                    </a:lnTo>
                    <a:lnTo>
                      <a:pt x="6330" y="9397"/>
                    </a:lnTo>
                    <a:lnTo>
                      <a:pt x="6330" y="9763"/>
                    </a:lnTo>
                    <a:lnTo>
                      <a:pt x="5938" y="9763"/>
                    </a:lnTo>
                    <a:lnTo>
                      <a:pt x="5938" y="9397"/>
                    </a:lnTo>
                    <a:lnTo>
                      <a:pt x="5938" y="9763"/>
                    </a:lnTo>
                    <a:lnTo>
                      <a:pt x="5612" y="9397"/>
                    </a:lnTo>
                    <a:lnTo>
                      <a:pt x="5221" y="9092"/>
                    </a:lnTo>
                    <a:lnTo>
                      <a:pt x="4829" y="8359"/>
                    </a:lnTo>
                    <a:lnTo>
                      <a:pt x="4437" y="835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61" name="Shape 2987"/>
              <p:cNvSpPr/>
              <p:nvPr/>
            </p:nvSpPr>
            <p:spPr>
              <a:xfrm>
                <a:off x="8285384" y="5147642"/>
                <a:ext cx="379842" cy="2628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285" y="19582"/>
                    </a:moveTo>
                    <a:lnTo>
                      <a:pt x="3285" y="18870"/>
                    </a:lnTo>
                    <a:lnTo>
                      <a:pt x="2875" y="19582"/>
                    </a:lnTo>
                    <a:lnTo>
                      <a:pt x="2875" y="18277"/>
                    </a:lnTo>
                    <a:lnTo>
                      <a:pt x="3285" y="17565"/>
                    </a:lnTo>
                    <a:lnTo>
                      <a:pt x="2875" y="17565"/>
                    </a:lnTo>
                    <a:lnTo>
                      <a:pt x="3285" y="16853"/>
                    </a:lnTo>
                    <a:lnTo>
                      <a:pt x="3285" y="17565"/>
                    </a:lnTo>
                    <a:lnTo>
                      <a:pt x="3778" y="16853"/>
                    </a:lnTo>
                    <a:lnTo>
                      <a:pt x="3778" y="15547"/>
                    </a:lnTo>
                    <a:lnTo>
                      <a:pt x="1889" y="15547"/>
                    </a:lnTo>
                    <a:lnTo>
                      <a:pt x="1889" y="14835"/>
                    </a:lnTo>
                    <a:lnTo>
                      <a:pt x="1889" y="15547"/>
                    </a:lnTo>
                    <a:lnTo>
                      <a:pt x="1396" y="14835"/>
                    </a:lnTo>
                    <a:lnTo>
                      <a:pt x="1889" y="14835"/>
                    </a:lnTo>
                    <a:lnTo>
                      <a:pt x="1889" y="14123"/>
                    </a:lnTo>
                    <a:lnTo>
                      <a:pt x="493" y="14123"/>
                    </a:lnTo>
                    <a:lnTo>
                      <a:pt x="493" y="13530"/>
                    </a:lnTo>
                    <a:lnTo>
                      <a:pt x="0" y="13530"/>
                    </a:lnTo>
                    <a:lnTo>
                      <a:pt x="493" y="13530"/>
                    </a:lnTo>
                    <a:lnTo>
                      <a:pt x="493" y="10800"/>
                    </a:lnTo>
                    <a:lnTo>
                      <a:pt x="986" y="11512"/>
                    </a:lnTo>
                    <a:lnTo>
                      <a:pt x="1889" y="11512"/>
                    </a:lnTo>
                    <a:lnTo>
                      <a:pt x="1396" y="10800"/>
                    </a:lnTo>
                    <a:lnTo>
                      <a:pt x="1889" y="10088"/>
                    </a:lnTo>
                    <a:lnTo>
                      <a:pt x="1396" y="10088"/>
                    </a:lnTo>
                    <a:lnTo>
                      <a:pt x="1396" y="9376"/>
                    </a:lnTo>
                    <a:lnTo>
                      <a:pt x="1889" y="9376"/>
                    </a:lnTo>
                    <a:lnTo>
                      <a:pt x="1889" y="8782"/>
                    </a:lnTo>
                    <a:lnTo>
                      <a:pt x="2382" y="8070"/>
                    </a:lnTo>
                    <a:lnTo>
                      <a:pt x="2382" y="8782"/>
                    </a:lnTo>
                    <a:lnTo>
                      <a:pt x="3778" y="8782"/>
                    </a:lnTo>
                    <a:lnTo>
                      <a:pt x="3285" y="8070"/>
                    </a:lnTo>
                    <a:lnTo>
                      <a:pt x="3778" y="7358"/>
                    </a:lnTo>
                    <a:lnTo>
                      <a:pt x="3778" y="5341"/>
                    </a:lnTo>
                    <a:lnTo>
                      <a:pt x="3285" y="5341"/>
                    </a:lnTo>
                    <a:lnTo>
                      <a:pt x="3778" y="5341"/>
                    </a:lnTo>
                    <a:lnTo>
                      <a:pt x="3778" y="4747"/>
                    </a:lnTo>
                    <a:lnTo>
                      <a:pt x="3285" y="4747"/>
                    </a:lnTo>
                    <a:lnTo>
                      <a:pt x="3285" y="2018"/>
                    </a:lnTo>
                    <a:lnTo>
                      <a:pt x="3778" y="1305"/>
                    </a:lnTo>
                    <a:lnTo>
                      <a:pt x="3778" y="2018"/>
                    </a:lnTo>
                    <a:lnTo>
                      <a:pt x="4271" y="1305"/>
                    </a:lnTo>
                    <a:lnTo>
                      <a:pt x="4681" y="593"/>
                    </a:lnTo>
                    <a:lnTo>
                      <a:pt x="5174" y="593"/>
                    </a:lnTo>
                    <a:lnTo>
                      <a:pt x="5667" y="0"/>
                    </a:lnTo>
                    <a:lnTo>
                      <a:pt x="5667" y="593"/>
                    </a:lnTo>
                    <a:lnTo>
                      <a:pt x="7063" y="593"/>
                    </a:lnTo>
                    <a:lnTo>
                      <a:pt x="7556" y="1305"/>
                    </a:lnTo>
                    <a:lnTo>
                      <a:pt x="7967" y="1305"/>
                    </a:lnTo>
                    <a:lnTo>
                      <a:pt x="7967" y="2018"/>
                    </a:lnTo>
                    <a:lnTo>
                      <a:pt x="7967" y="1305"/>
                    </a:lnTo>
                    <a:lnTo>
                      <a:pt x="8459" y="1305"/>
                    </a:lnTo>
                    <a:lnTo>
                      <a:pt x="8459" y="2018"/>
                    </a:lnTo>
                    <a:lnTo>
                      <a:pt x="8952" y="2611"/>
                    </a:lnTo>
                    <a:lnTo>
                      <a:pt x="9445" y="3323"/>
                    </a:lnTo>
                    <a:lnTo>
                      <a:pt x="9856" y="3323"/>
                    </a:lnTo>
                    <a:lnTo>
                      <a:pt x="10348" y="4035"/>
                    </a:lnTo>
                    <a:lnTo>
                      <a:pt x="10348" y="2611"/>
                    </a:lnTo>
                    <a:lnTo>
                      <a:pt x="10841" y="2611"/>
                    </a:lnTo>
                    <a:lnTo>
                      <a:pt x="11252" y="2018"/>
                    </a:lnTo>
                    <a:lnTo>
                      <a:pt x="10841" y="2018"/>
                    </a:lnTo>
                    <a:lnTo>
                      <a:pt x="11252" y="2018"/>
                    </a:lnTo>
                    <a:lnTo>
                      <a:pt x="10841" y="2018"/>
                    </a:lnTo>
                    <a:lnTo>
                      <a:pt x="11252" y="1305"/>
                    </a:lnTo>
                    <a:lnTo>
                      <a:pt x="11744" y="2018"/>
                    </a:lnTo>
                    <a:lnTo>
                      <a:pt x="11744" y="1305"/>
                    </a:lnTo>
                    <a:lnTo>
                      <a:pt x="12730" y="2018"/>
                    </a:lnTo>
                    <a:lnTo>
                      <a:pt x="13141" y="2018"/>
                    </a:lnTo>
                    <a:lnTo>
                      <a:pt x="12730" y="2018"/>
                    </a:lnTo>
                    <a:lnTo>
                      <a:pt x="13141" y="2611"/>
                    </a:lnTo>
                    <a:lnTo>
                      <a:pt x="13141" y="3323"/>
                    </a:lnTo>
                    <a:lnTo>
                      <a:pt x="12730" y="3323"/>
                    </a:lnTo>
                    <a:lnTo>
                      <a:pt x="13141" y="3323"/>
                    </a:lnTo>
                    <a:lnTo>
                      <a:pt x="13141" y="4035"/>
                    </a:lnTo>
                    <a:lnTo>
                      <a:pt x="13141" y="3323"/>
                    </a:lnTo>
                    <a:lnTo>
                      <a:pt x="12730" y="4035"/>
                    </a:lnTo>
                    <a:lnTo>
                      <a:pt x="12730" y="5341"/>
                    </a:lnTo>
                    <a:lnTo>
                      <a:pt x="13141" y="6053"/>
                    </a:lnTo>
                    <a:lnTo>
                      <a:pt x="12730" y="6053"/>
                    </a:lnTo>
                    <a:lnTo>
                      <a:pt x="12730" y="6765"/>
                    </a:lnTo>
                    <a:lnTo>
                      <a:pt x="13633" y="6765"/>
                    </a:lnTo>
                    <a:lnTo>
                      <a:pt x="14126" y="7358"/>
                    </a:lnTo>
                    <a:lnTo>
                      <a:pt x="14126" y="8782"/>
                    </a:lnTo>
                    <a:lnTo>
                      <a:pt x="14537" y="10088"/>
                    </a:lnTo>
                    <a:lnTo>
                      <a:pt x="15522" y="9376"/>
                    </a:lnTo>
                    <a:lnTo>
                      <a:pt x="15522" y="10088"/>
                    </a:lnTo>
                    <a:lnTo>
                      <a:pt x="16015" y="10800"/>
                    </a:lnTo>
                    <a:lnTo>
                      <a:pt x="16919" y="10800"/>
                    </a:lnTo>
                    <a:lnTo>
                      <a:pt x="16919" y="11512"/>
                    </a:lnTo>
                    <a:lnTo>
                      <a:pt x="17411" y="11512"/>
                    </a:lnTo>
                    <a:lnTo>
                      <a:pt x="17822" y="12105"/>
                    </a:lnTo>
                    <a:lnTo>
                      <a:pt x="18315" y="12105"/>
                    </a:lnTo>
                    <a:lnTo>
                      <a:pt x="18315" y="14123"/>
                    </a:lnTo>
                    <a:lnTo>
                      <a:pt x="18808" y="14123"/>
                    </a:lnTo>
                    <a:lnTo>
                      <a:pt x="18808" y="14835"/>
                    </a:lnTo>
                    <a:lnTo>
                      <a:pt x="19711" y="14835"/>
                    </a:lnTo>
                    <a:lnTo>
                      <a:pt x="19711" y="15547"/>
                    </a:lnTo>
                    <a:lnTo>
                      <a:pt x="20697" y="15547"/>
                    </a:lnTo>
                    <a:lnTo>
                      <a:pt x="20697" y="17565"/>
                    </a:lnTo>
                    <a:lnTo>
                      <a:pt x="21107" y="17565"/>
                    </a:lnTo>
                    <a:lnTo>
                      <a:pt x="21107" y="18277"/>
                    </a:lnTo>
                    <a:lnTo>
                      <a:pt x="21600" y="18277"/>
                    </a:lnTo>
                    <a:lnTo>
                      <a:pt x="21600" y="19582"/>
                    </a:lnTo>
                    <a:lnTo>
                      <a:pt x="21107" y="19582"/>
                    </a:lnTo>
                    <a:lnTo>
                      <a:pt x="21107" y="20295"/>
                    </a:lnTo>
                    <a:lnTo>
                      <a:pt x="21107" y="19582"/>
                    </a:lnTo>
                    <a:lnTo>
                      <a:pt x="19711" y="19582"/>
                    </a:lnTo>
                    <a:lnTo>
                      <a:pt x="19711" y="20295"/>
                    </a:lnTo>
                    <a:lnTo>
                      <a:pt x="20204" y="20295"/>
                    </a:lnTo>
                    <a:lnTo>
                      <a:pt x="20204" y="21007"/>
                    </a:lnTo>
                    <a:lnTo>
                      <a:pt x="12237" y="21007"/>
                    </a:lnTo>
                    <a:lnTo>
                      <a:pt x="12237" y="19582"/>
                    </a:lnTo>
                    <a:lnTo>
                      <a:pt x="11744" y="19582"/>
                    </a:lnTo>
                    <a:lnTo>
                      <a:pt x="11744" y="20295"/>
                    </a:lnTo>
                    <a:lnTo>
                      <a:pt x="10841" y="20295"/>
                    </a:lnTo>
                    <a:lnTo>
                      <a:pt x="10841" y="19582"/>
                    </a:lnTo>
                    <a:lnTo>
                      <a:pt x="10348" y="19582"/>
                    </a:lnTo>
                    <a:lnTo>
                      <a:pt x="10348" y="20295"/>
                    </a:lnTo>
                    <a:lnTo>
                      <a:pt x="10841" y="20295"/>
                    </a:lnTo>
                    <a:lnTo>
                      <a:pt x="9445" y="20295"/>
                    </a:lnTo>
                    <a:lnTo>
                      <a:pt x="9445" y="21600"/>
                    </a:lnTo>
                    <a:lnTo>
                      <a:pt x="8952" y="21600"/>
                    </a:lnTo>
                    <a:lnTo>
                      <a:pt x="8459" y="21007"/>
                    </a:lnTo>
                    <a:lnTo>
                      <a:pt x="7556" y="21007"/>
                    </a:lnTo>
                    <a:lnTo>
                      <a:pt x="7556" y="20295"/>
                    </a:lnTo>
                    <a:lnTo>
                      <a:pt x="5174" y="20295"/>
                    </a:lnTo>
                    <a:lnTo>
                      <a:pt x="5174" y="21007"/>
                    </a:lnTo>
                    <a:lnTo>
                      <a:pt x="4681" y="21007"/>
                    </a:lnTo>
                    <a:lnTo>
                      <a:pt x="4681" y="19582"/>
                    </a:lnTo>
                    <a:lnTo>
                      <a:pt x="4271" y="19582"/>
                    </a:lnTo>
                    <a:lnTo>
                      <a:pt x="4271" y="20295"/>
                    </a:lnTo>
                    <a:lnTo>
                      <a:pt x="3778" y="20295"/>
                    </a:lnTo>
                    <a:lnTo>
                      <a:pt x="3778" y="19582"/>
                    </a:lnTo>
                    <a:lnTo>
                      <a:pt x="3285" y="20295"/>
                    </a:lnTo>
                    <a:lnTo>
                      <a:pt x="3285" y="1958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62" name="Shape 2988"/>
              <p:cNvSpPr/>
              <p:nvPr/>
            </p:nvSpPr>
            <p:spPr>
              <a:xfrm>
                <a:off x="8509245" y="4941111"/>
                <a:ext cx="584928" cy="4867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9166"/>
                    </a:moveTo>
                    <a:lnTo>
                      <a:pt x="21333" y="8781"/>
                    </a:lnTo>
                    <a:lnTo>
                      <a:pt x="21013" y="8781"/>
                    </a:lnTo>
                    <a:lnTo>
                      <a:pt x="20693" y="8396"/>
                    </a:lnTo>
                    <a:lnTo>
                      <a:pt x="19787" y="8396"/>
                    </a:lnTo>
                    <a:lnTo>
                      <a:pt x="19467" y="8012"/>
                    </a:lnTo>
                    <a:lnTo>
                      <a:pt x="19467" y="7691"/>
                    </a:lnTo>
                    <a:lnTo>
                      <a:pt x="19200" y="7691"/>
                    </a:lnTo>
                    <a:lnTo>
                      <a:pt x="18880" y="7307"/>
                    </a:lnTo>
                    <a:lnTo>
                      <a:pt x="18560" y="7691"/>
                    </a:lnTo>
                    <a:lnTo>
                      <a:pt x="17973" y="7307"/>
                    </a:lnTo>
                    <a:lnTo>
                      <a:pt x="17653" y="6922"/>
                    </a:lnTo>
                    <a:lnTo>
                      <a:pt x="17973" y="6922"/>
                    </a:lnTo>
                    <a:lnTo>
                      <a:pt x="17973" y="6602"/>
                    </a:lnTo>
                    <a:lnTo>
                      <a:pt x="17653" y="6217"/>
                    </a:lnTo>
                    <a:lnTo>
                      <a:pt x="17973" y="5833"/>
                    </a:lnTo>
                    <a:lnTo>
                      <a:pt x="17653" y="5448"/>
                    </a:lnTo>
                    <a:lnTo>
                      <a:pt x="17333" y="5833"/>
                    </a:lnTo>
                    <a:lnTo>
                      <a:pt x="17067" y="5448"/>
                    </a:lnTo>
                    <a:lnTo>
                      <a:pt x="17067" y="4743"/>
                    </a:lnTo>
                    <a:lnTo>
                      <a:pt x="16747" y="4038"/>
                    </a:lnTo>
                    <a:lnTo>
                      <a:pt x="16747" y="3653"/>
                    </a:lnTo>
                    <a:lnTo>
                      <a:pt x="16427" y="3653"/>
                    </a:lnTo>
                    <a:lnTo>
                      <a:pt x="16427" y="3269"/>
                    </a:lnTo>
                    <a:lnTo>
                      <a:pt x="16160" y="3269"/>
                    </a:lnTo>
                    <a:lnTo>
                      <a:pt x="16160" y="2884"/>
                    </a:lnTo>
                    <a:lnTo>
                      <a:pt x="15840" y="2884"/>
                    </a:lnTo>
                    <a:lnTo>
                      <a:pt x="15840" y="2179"/>
                    </a:lnTo>
                    <a:lnTo>
                      <a:pt x="15520" y="2179"/>
                    </a:lnTo>
                    <a:lnTo>
                      <a:pt x="15200" y="1474"/>
                    </a:lnTo>
                    <a:lnTo>
                      <a:pt x="14933" y="1795"/>
                    </a:lnTo>
                    <a:lnTo>
                      <a:pt x="14933" y="1474"/>
                    </a:lnTo>
                    <a:lnTo>
                      <a:pt x="13973" y="1474"/>
                    </a:lnTo>
                    <a:lnTo>
                      <a:pt x="12800" y="705"/>
                    </a:lnTo>
                    <a:lnTo>
                      <a:pt x="12480" y="385"/>
                    </a:lnTo>
                    <a:lnTo>
                      <a:pt x="12480" y="0"/>
                    </a:lnTo>
                    <a:lnTo>
                      <a:pt x="11573" y="0"/>
                    </a:lnTo>
                    <a:lnTo>
                      <a:pt x="11840" y="705"/>
                    </a:lnTo>
                    <a:lnTo>
                      <a:pt x="10667" y="1474"/>
                    </a:lnTo>
                    <a:lnTo>
                      <a:pt x="10347" y="1090"/>
                    </a:lnTo>
                    <a:lnTo>
                      <a:pt x="10027" y="1795"/>
                    </a:lnTo>
                    <a:lnTo>
                      <a:pt x="9707" y="2179"/>
                    </a:lnTo>
                    <a:lnTo>
                      <a:pt x="9440" y="2179"/>
                    </a:lnTo>
                    <a:lnTo>
                      <a:pt x="9120" y="2564"/>
                    </a:lnTo>
                    <a:lnTo>
                      <a:pt x="8800" y="2564"/>
                    </a:lnTo>
                    <a:lnTo>
                      <a:pt x="8800" y="2179"/>
                    </a:lnTo>
                    <a:lnTo>
                      <a:pt x="8213" y="2179"/>
                    </a:lnTo>
                    <a:lnTo>
                      <a:pt x="7893" y="2564"/>
                    </a:lnTo>
                    <a:lnTo>
                      <a:pt x="7307" y="2564"/>
                    </a:lnTo>
                    <a:lnTo>
                      <a:pt x="6667" y="2884"/>
                    </a:lnTo>
                    <a:lnTo>
                      <a:pt x="6667" y="2564"/>
                    </a:lnTo>
                    <a:lnTo>
                      <a:pt x="6080" y="2564"/>
                    </a:lnTo>
                    <a:lnTo>
                      <a:pt x="6080" y="4038"/>
                    </a:lnTo>
                    <a:lnTo>
                      <a:pt x="5173" y="4038"/>
                    </a:lnTo>
                    <a:lnTo>
                      <a:pt x="4853" y="3653"/>
                    </a:lnTo>
                    <a:lnTo>
                      <a:pt x="4267" y="3269"/>
                    </a:lnTo>
                    <a:lnTo>
                      <a:pt x="3947" y="5128"/>
                    </a:lnTo>
                    <a:lnTo>
                      <a:pt x="3947" y="6217"/>
                    </a:lnTo>
                    <a:lnTo>
                      <a:pt x="3307" y="6217"/>
                    </a:lnTo>
                    <a:lnTo>
                      <a:pt x="3307" y="6602"/>
                    </a:lnTo>
                    <a:lnTo>
                      <a:pt x="3040" y="6602"/>
                    </a:lnTo>
                    <a:lnTo>
                      <a:pt x="3040" y="6217"/>
                    </a:lnTo>
                    <a:lnTo>
                      <a:pt x="3040" y="6602"/>
                    </a:lnTo>
                    <a:lnTo>
                      <a:pt x="2720" y="6602"/>
                    </a:lnTo>
                    <a:lnTo>
                      <a:pt x="2400" y="6922"/>
                    </a:lnTo>
                    <a:lnTo>
                      <a:pt x="2400" y="6217"/>
                    </a:lnTo>
                    <a:lnTo>
                      <a:pt x="2133" y="6602"/>
                    </a:lnTo>
                    <a:lnTo>
                      <a:pt x="1173" y="6602"/>
                    </a:lnTo>
                    <a:lnTo>
                      <a:pt x="1173" y="7307"/>
                    </a:lnTo>
                    <a:lnTo>
                      <a:pt x="907" y="7307"/>
                    </a:lnTo>
                    <a:lnTo>
                      <a:pt x="907" y="8012"/>
                    </a:lnTo>
                    <a:lnTo>
                      <a:pt x="587" y="8012"/>
                    </a:lnTo>
                    <a:lnTo>
                      <a:pt x="587" y="8396"/>
                    </a:lnTo>
                    <a:lnTo>
                      <a:pt x="907" y="8396"/>
                    </a:lnTo>
                    <a:lnTo>
                      <a:pt x="907" y="8781"/>
                    </a:lnTo>
                    <a:lnTo>
                      <a:pt x="587" y="8781"/>
                    </a:lnTo>
                    <a:lnTo>
                      <a:pt x="587" y="9166"/>
                    </a:lnTo>
                    <a:lnTo>
                      <a:pt x="907" y="9166"/>
                    </a:lnTo>
                    <a:lnTo>
                      <a:pt x="587" y="9166"/>
                    </a:lnTo>
                    <a:lnTo>
                      <a:pt x="587" y="10255"/>
                    </a:lnTo>
                    <a:lnTo>
                      <a:pt x="907" y="9871"/>
                    </a:lnTo>
                    <a:lnTo>
                      <a:pt x="907" y="10255"/>
                    </a:lnTo>
                    <a:lnTo>
                      <a:pt x="587" y="10576"/>
                    </a:lnTo>
                    <a:lnTo>
                      <a:pt x="267" y="10576"/>
                    </a:lnTo>
                    <a:lnTo>
                      <a:pt x="267" y="10960"/>
                    </a:lnTo>
                    <a:lnTo>
                      <a:pt x="0" y="10960"/>
                    </a:lnTo>
                    <a:lnTo>
                      <a:pt x="267" y="10960"/>
                    </a:lnTo>
                    <a:lnTo>
                      <a:pt x="267" y="11345"/>
                    </a:lnTo>
                    <a:lnTo>
                      <a:pt x="267" y="10960"/>
                    </a:lnTo>
                    <a:lnTo>
                      <a:pt x="0" y="11345"/>
                    </a:lnTo>
                    <a:lnTo>
                      <a:pt x="0" y="12050"/>
                    </a:lnTo>
                    <a:lnTo>
                      <a:pt x="267" y="12434"/>
                    </a:lnTo>
                    <a:lnTo>
                      <a:pt x="0" y="12434"/>
                    </a:lnTo>
                    <a:lnTo>
                      <a:pt x="0" y="12819"/>
                    </a:lnTo>
                    <a:lnTo>
                      <a:pt x="587" y="12819"/>
                    </a:lnTo>
                    <a:lnTo>
                      <a:pt x="907" y="13139"/>
                    </a:lnTo>
                    <a:lnTo>
                      <a:pt x="907" y="13909"/>
                    </a:lnTo>
                    <a:lnTo>
                      <a:pt x="1173" y="14614"/>
                    </a:lnTo>
                    <a:lnTo>
                      <a:pt x="1813" y="14229"/>
                    </a:lnTo>
                    <a:lnTo>
                      <a:pt x="1813" y="14614"/>
                    </a:lnTo>
                    <a:lnTo>
                      <a:pt x="2133" y="14998"/>
                    </a:lnTo>
                    <a:lnTo>
                      <a:pt x="2720" y="14998"/>
                    </a:lnTo>
                    <a:lnTo>
                      <a:pt x="2720" y="15383"/>
                    </a:lnTo>
                    <a:lnTo>
                      <a:pt x="3040" y="15383"/>
                    </a:lnTo>
                    <a:lnTo>
                      <a:pt x="3307" y="15703"/>
                    </a:lnTo>
                    <a:lnTo>
                      <a:pt x="3627" y="15703"/>
                    </a:lnTo>
                    <a:lnTo>
                      <a:pt x="3627" y="16793"/>
                    </a:lnTo>
                    <a:lnTo>
                      <a:pt x="3947" y="16793"/>
                    </a:lnTo>
                    <a:lnTo>
                      <a:pt x="3947" y="17177"/>
                    </a:lnTo>
                    <a:lnTo>
                      <a:pt x="4533" y="17177"/>
                    </a:lnTo>
                    <a:lnTo>
                      <a:pt x="4533" y="17562"/>
                    </a:lnTo>
                    <a:lnTo>
                      <a:pt x="5173" y="17562"/>
                    </a:lnTo>
                    <a:lnTo>
                      <a:pt x="5173" y="18652"/>
                    </a:lnTo>
                    <a:lnTo>
                      <a:pt x="5440" y="18652"/>
                    </a:lnTo>
                    <a:lnTo>
                      <a:pt x="5440" y="19036"/>
                    </a:lnTo>
                    <a:lnTo>
                      <a:pt x="5760" y="19036"/>
                    </a:lnTo>
                    <a:lnTo>
                      <a:pt x="5760" y="19357"/>
                    </a:lnTo>
                    <a:lnTo>
                      <a:pt x="6080" y="19357"/>
                    </a:lnTo>
                    <a:lnTo>
                      <a:pt x="6080" y="19741"/>
                    </a:lnTo>
                    <a:lnTo>
                      <a:pt x="6400" y="19741"/>
                    </a:lnTo>
                    <a:lnTo>
                      <a:pt x="6400" y="20126"/>
                    </a:lnTo>
                    <a:lnTo>
                      <a:pt x="6400" y="19357"/>
                    </a:lnTo>
                    <a:lnTo>
                      <a:pt x="6667" y="19357"/>
                    </a:lnTo>
                    <a:lnTo>
                      <a:pt x="6667" y="19741"/>
                    </a:lnTo>
                    <a:lnTo>
                      <a:pt x="7307" y="19741"/>
                    </a:lnTo>
                    <a:lnTo>
                      <a:pt x="7573" y="20126"/>
                    </a:lnTo>
                    <a:lnTo>
                      <a:pt x="7893" y="20126"/>
                    </a:lnTo>
                    <a:lnTo>
                      <a:pt x="7893" y="20510"/>
                    </a:lnTo>
                    <a:lnTo>
                      <a:pt x="8213" y="20510"/>
                    </a:lnTo>
                    <a:lnTo>
                      <a:pt x="8213" y="20831"/>
                    </a:lnTo>
                    <a:lnTo>
                      <a:pt x="8533" y="20831"/>
                    </a:lnTo>
                    <a:lnTo>
                      <a:pt x="8533" y="21215"/>
                    </a:lnTo>
                    <a:lnTo>
                      <a:pt x="8800" y="21600"/>
                    </a:lnTo>
                    <a:lnTo>
                      <a:pt x="8800" y="21215"/>
                    </a:lnTo>
                    <a:lnTo>
                      <a:pt x="9120" y="21215"/>
                    </a:lnTo>
                    <a:lnTo>
                      <a:pt x="9120" y="20831"/>
                    </a:lnTo>
                    <a:lnTo>
                      <a:pt x="9440" y="20831"/>
                    </a:lnTo>
                    <a:lnTo>
                      <a:pt x="9440" y="20510"/>
                    </a:lnTo>
                    <a:lnTo>
                      <a:pt x="9707" y="20126"/>
                    </a:lnTo>
                    <a:lnTo>
                      <a:pt x="10027" y="20126"/>
                    </a:lnTo>
                    <a:lnTo>
                      <a:pt x="10027" y="19357"/>
                    </a:lnTo>
                    <a:lnTo>
                      <a:pt x="9707" y="19357"/>
                    </a:lnTo>
                    <a:lnTo>
                      <a:pt x="9707" y="19036"/>
                    </a:lnTo>
                    <a:lnTo>
                      <a:pt x="10027" y="19036"/>
                    </a:lnTo>
                    <a:lnTo>
                      <a:pt x="10347" y="18652"/>
                    </a:lnTo>
                    <a:lnTo>
                      <a:pt x="10027" y="19036"/>
                    </a:lnTo>
                    <a:lnTo>
                      <a:pt x="10667" y="19036"/>
                    </a:lnTo>
                    <a:lnTo>
                      <a:pt x="10667" y="18652"/>
                    </a:lnTo>
                    <a:lnTo>
                      <a:pt x="10027" y="18652"/>
                    </a:lnTo>
                    <a:lnTo>
                      <a:pt x="10027" y="18267"/>
                    </a:lnTo>
                    <a:lnTo>
                      <a:pt x="10347" y="18267"/>
                    </a:lnTo>
                    <a:lnTo>
                      <a:pt x="10667" y="18652"/>
                    </a:lnTo>
                    <a:lnTo>
                      <a:pt x="10933" y="17947"/>
                    </a:lnTo>
                    <a:lnTo>
                      <a:pt x="10933" y="16793"/>
                    </a:lnTo>
                    <a:lnTo>
                      <a:pt x="11253" y="16793"/>
                    </a:lnTo>
                    <a:lnTo>
                      <a:pt x="11253" y="16088"/>
                    </a:lnTo>
                    <a:lnTo>
                      <a:pt x="10933" y="16472"/>
                    </a:lnTo>
                    <a:lnTo>
                      <a:pt x="10933" y="16088"/>
                    </a:lnTo>
                    <a:lnTo>
                      <a:pt x="11573" y="16088"/>
                    </a:lnTo>
                    <a:lnTo>
                      <a:pt x="11840" y="15703"/>
                    </a:lnTo>
                    <a:lnTo>
                      <a:pt x="11840" y="15383"/>
                    </a:lnTo>
                    <a:lnTo>
                      <a:pt x="12160" y="15703"/>
                    </a:lnTo>
                    <a:lnTo>
                      <a:pt x="12480" y="15703"/>
                    </a:lnTo>
                    <a:lnTo>
                      <a:pt x="12480" y="15383"/>
                    </a:lnTo>
                    <a:lnTo>
                      <a:pt x="12800" y="15703"/>
                    </a:lnTo>
                    <a:lnTo>
                      <a:pt x="12800" y="15383"/>
                    </a:lnTo>
                    <a:lnTo>
                      <a:pt x="13067" y="15383"/>
                    </a:lnTo>
                    <a:lnTo>
                      <a:pt x="13067" y="14614"/>
                    </a:lnTo>
                    <a:lnTo>
                      <a:pt x="12800" y="13909"/>
                    </a:lnTo>
                    <a:lnTo>
                      <a:pt x="12800" y="13139"/>
                    </a:lnTo>
                    <a:lnTo>
                      <a:pt x="12480" y="13139"/>
                    </a:lnTo>
                    <a:lnTo>
                      <a:pt x="12480" y="12434"/>
                    </a:lnTo>
                    <a:lnTo>
                      <a:pt x="12160" y="12434"/>
                    </a:lnTo>
                    <a:lnTo>
                      <a:pt x="12160" y="12050"/>
                    </a:lnTo>
                    <a:lnTo>
                      <a:pt x="11840" y="12819"/>
                    </a:lnTo>
                    <a:lnTo>
                      <a:pt x="11573" y="12819"/>
                    </a:lnTo>
                    <a:lnTo>
                      <a:pt x="11573" y="12434"/>
                    </a:lnTo>
                    <a:lnTo>
                      <a:pt x="11253" y="12434"/>
                    </a:lnTo>
                    <a:lnTo>
                      <a:pt x="11253" y="11729"/>
                    </a:lnTo>
                    <a:lnTo>
                      <a:pt x="11573" y="11729"/>
                    </a:lnTo>
                    <a:lnTo>
                      <a:pt x="11840" y="11345"/>
                    </a:lnTo>
                    <a:lnTo>
                      <a:pt x="11840" y="11729"/>
                    </a:lnTo>
                    <a:lnTo>
                      <a:pt x="12160" y="11345"/>
                    </a:lnTo>
                    <a:lnTo>
                      <a:pt x="12160" y="10960"/>
                    </a:lnTo>
                    <a:lnTo>
                      <a:pt x="11840" y="10960"/>
                    </a:lnTo>
                    <a:lnTo>
                      <a:pt x="11840" y="10255"/>
                    </a:lnTo>
                    <a:lnTo>
                      <a:pt x="11573" y="10255"/>
                    </a:lnTo>
                    <a:lnTo>
                      <a:pt x="11840" y="9871"/>
                    </a:lnTo>
                    <a:lnTo>
                      <a:pt x="11840" y="9486"/>
                    </a:lnTo>
                    <a:lnTo>
                      <a:pt x="13387" y="7307"/>
                    </a:lnTo>
                    <a:lnTo>
                      <a:pt x="13973" y="8012"/>
                    </a:lnTo>
                    <a:lnTo>
                      <a:pt x="13973" y="8396"/>
                    </a:lnTo>
                    <a:lnTo>
                      <a:pt x="13707" y="8396"/>
                    </a:lnTo>
                    <a:lnTo>
                      <a:pt x="13707" y="9486"/>
                    </a:lnTo>
                    <a:lnTo>
                      <a:pt x="14293" y="9486"/>
                    </a:lnTo>
                    <a:lnTo>
                      <a:pt x="14933" y="9871"/>
                    </a:lnTo>
                    <a:lnTo>
                      <a:pt x="15200" y="9871"/>
                    </a:lnTo>
                    <a:lnTo>
                      <a:pt x="15200" y="10255"/>
                    </a:lnTo>
                    <a:lnTo>
                      <a:pt x="15840" y="10255"/>
                    </a:lnTo>
                    <a:lnTo>
                      <a:pt x="16160" y="10576"/>
                    </a:lnTo>
                    <a:lnTo>
                      <a:pt x="16427" y="10576"/>
                    </a:lnTo>
                    <a:lnTo>
                      <a:pt x="16427" y="10960"/>
                    </a:lnTo>
                    <a:lnTo>
                      <a:pt x="16747" y="10576"/>
                    </a:lnTo>
                    <a:lnTo>
                      <a:pt x="17333" y="10255"/>
                    </a:lnTo>
                    <a:lnTo>
                      <a:pt x="19467" y="10960"/>
                    </a:lnTo>
                    <a:lnTo>
                      <a:pt x="19787" y="10576"/>
                    </a:lnTo>
                    <a:lnTo>
                      <a:pt x="20427" y="10576"/>
                    </a:lnTo>
                    <a:lnTo>
                      <a:pt x="20427" y="10255"/>
                    </a:lnTo>
                    <a:lnTo>
                      <a:pt x="20693" y="9871"/>
                    </a:lnTo>
                    <a:lnTo>
                      <a:pt x="21013" y="10255"/>
                    </a:lnTo>
                    <a:lnTo>
                      <a:pt x="21013" y="9871"/>
                    </a:lnTo>
                    <a:lnTo>
                      <a:pt x="21600" y="9486"/>
                    </a:lnTo>
                    <a:lnTo>
                      <a:pt x="21600" y="916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63" name="Shape 2989"/>
              <p:cNvSpPr/>
              <p:nvPr/>
            </p:nvSpPr>
            <p:spPr>
              <a:xfrm>
                <a:off x="8764879" y="5105758"/>
                <a:ext cx="346624" cy="53582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520" y="1980"/>
                    </a:moveTo>
                    <a:lnTo>
                      <a:pt x="21060" y="2678"/>
                    </a:lnTo>
                    <a:lnTo>
                      <a:pt x="19530" y="2969"/>
                    </a:lnTo>
                    <a:lnTo>
                      <a:pt x="20070" y="3668"/>
                    </a:lnTo>
                    <a:lnTo>
                      <a:pt x="19530" y="3668"/>
                    </a:lnTo>
                    <a:lnTo>
                      <a:pt x="21060" y="4658"/>
                    </a:lnTo>
                    <a:lnTo>
                      <a:pt x="20520" y="5007"/>
                    </a:lnTo>
                    <a:lnTo>
                      <a:pt x="20520" y="5997"/>
                    </a:lnTo>
                    <a:lnTo>
                      <a:pt x="21060" y="5997"/>
                    </a:lnTo>
                    <a:lnTo>
                      <a:pt x="21060" y="6987"/>
                    </a:lnTo>
                    <a:lnTo>
                      <a:pt x="21600" y="6987"/>
                    </a:lnTo>
                    <a:lnTo>
                      <a:pt x="21600" y="9956"/>
                    </a:lnTo>
                    <a:lnTo>
                      <a:pt x="21060" y="9956"/>
                    </a:lnTo>
                    <a:lnTo>
                      <a:pt x="21060" y="10305"/>
                    </a:lnTo>
                    <a:lnTo>
                      <a:pt x="20520" y="10305"/>
                    </a:lnTo>
                    <a:lnTo>
                      <a:pt x="20520" y="10654"/>
                    </a:lnTo>
                    <a:lnTo>
                      <a:pt x="19530" y="10654"/>
                    </a:lnTo>
                    <a:lnTo>
                      <a:pt x="19530" y="10946"/>
                    </a:lnTo>
                    <a:lnTo>
                      <a:pt x="20520" y="10946"/>
                    </a:lnTo>
                    <a:lnTo>
                      <a:pt x="20520" y="11644"/>
                    </a:lnTo>
                    <a:lnTo>
                      <a:pt x="21060" y="11994"/>
                    </a:lnTo>
                    <a:lnTo>
                      <a:pt x="20520" y="11994"/>
                    </a:lnTo>
                    <a:lnTo>
                      <a:pt x="20520" y="12285"/>
                    </a:lnTo>
                    <a:lnTo>
                      <a:pt x="20070" y="12285"/>
                    </a:lnTo>
                    <a:lnTo>
                      <a:pt x="20070" y="11994"/>
                    </a:lnTo>
                    <a:lnTo>
                      <a:pt x="19530" y="11994"/>
                    </a:lnTo>
                    <a:lnTo>
                      <a:pt x="19530" y="12285"/>
                    </a:lnTo>
                    <a:lnTo>
                      <a:pt x="18990" y="11994"/>
                    </a:lnTo>
                    <a:lnTo>
                      <a:pt x="18540" y="11994"/>
                    </a:lnTo>
                    <a:lnTo>
                      <a:pt x="18540" y="12285"/>
                    </a:lnTo>
                    <a:lnTo>
                      <a:pt x="18000" y="12285"/>
                    </a:lnTo>
                    <a:lnTo>
                      <a:pt x="18000" y="12634"/>
                    </a:lnTo>
                    <a:lnTo>
                      <a:pt x="16920" y="12634"/>
                    </a:lnTo>
                    <a:lnTo>
                      <a:pt x="16920" y="13274"/>
                    </a:lnTo>
                    <a:lnTo>
                      <a:pt x="16470" y="13274"/>
                    </a:lnTo>
                    <a:lnTo>
                      <a:pt x="16470" y="13624"/>
                    </a:lnTo>
                    <a:lnTo>
                      <a:pt x="15930" y="13973"/>
                    </a:lnTo>
                    <a:lnTo>
                      <a:pt x="16470" y="13973"/>
                    </a:lnTo>
                    <a:lnTo>
                      <a:pt x="16470" y="14322"/>
                    </a:lnTo>
                    <a:lnTo>
                      <a:pt x="15930" y="14322"/>
                    </a:lnTo>
                    <a:lnTo>
                      <a:pt x="15930" y="15953"/>
                    </a:lnTo>
                    <a:lnTo>
                      <a:pt x="16470" y="15953"/>
                    </a:lnTo>
                    <a:lnTo>
                      <a:pt x="16470" y="16302"/>
                    </a:lnTo>
                    <a:lnTo>
                      <a:pt x="15930" y="16302"/>
                    </a:lnTo>
                    <a:lnTo>
                      <a:pt x="15930" y="16593"/>
                    </a:lnTo>
                    <a:lnTo>
                      <a:pt x="16470" y="16593"/>
                    </a:lnTo>
                    <a:lnTo>
                      <a:pt x="16470" y="16942"/>
                    </a:lnTo>
                    <a:lnTo>
                      <a:pt x="16920" y="16942"/>
                    </a:lnTo>
                    <a:lnTo>
                      <a:pt x="16920" y="17641"/>
                    </a:lnTo>
                    <a:lnTo>
                      <a:pt x="17460" y="17641"/>
                    </a:lnTo>
                    <a:lnTo>
                      <a:pt x="16920" y="17641"/>
                    </a:lnTo>
                    <a:lnTo>
                      <a:pt x="17460" y="17932"/>
                    </a:lnTo>
                    <a:lnTo>
                      <a:pt x="16920" y="17932"/>
                    </a:lnTo>
                    <a:lnTo>
                      <a:pt x="16920" y="18281"/>
                    </a:lnTo>
                    <a:lnTo>
                      <a:pt x="16470" y="18281"/>
                    </a:lnTo>
                    <a:lnTo>
                      <a:pt x="16470" y="18922"/>
                    </a:lnTo>
                    <a:lnTo>
                      <a:pt x="15930" y="19970"/>
                    </a:lnTo>
                    <a:lnTo>
                      <a:pt x="15390" y="19970"/>
                    </a:lnTo>
                    <a:lnTo>
                      <a:pt x="15390" y="19620"/>
                    </a:lnTo>
                    <a:lnTo>
                      <a:pt x="15390" y="19970"/>
                    </a:lnTo>
                    <a:lnTo>
                      <a:pt x="14940" y="19970"/>
                    </a:lnTo>
                    <a:lnTo>
                      <a:pt x="14940" y="20261"/>
                    </a:lnTo>
                    <a:lnTo>
                      <a:pt x="14400" y="20261"/>
                    </a:lnTo>
                    <a:lnTo>
                      <a:pt x="14400" y="20610"/>
                    </a:lnTo>
                    <a:lnTo>
                      <a:pt x="12330" y="20610"/>
                    </a:lnTo>
                    <a:lnTo>
                      <a:pt x="12330" y="20960"/>
                    </a:lnTo>
                    <a:lnTo>
                      <a:pt x="11790" y="20610"/>
                    </a:lnTo>
                    <a:lnTo>
                      <a:pt x="11790" y="20960"/>
                    </a:lnTo>
                    <a:lnTo>
                      <a:pt x="11340" y="20960"/>
                    </a:lnTo>
                    <a:lnTo>
                      <a:pt x="10800" y="21251"/>
                    </a:lnTo>
                    <a:lnTo>
                      <a:pt x="10260" y="21600"/>
                    </a:lnTo>
                    <a:lnTo>
                      <a:pt x="10260" y="21251"/>
                    </a:lnTo>
                    <a:lnTo>
                      <a:pt x="9720" y="20960"/>
                    </a:lnTo>
                    <a:lnTo>
                      <a:pt x="9720" y="21251"/>
                    </a:lnTo>
                    <a:lnTo>
                      <a:pt x="9270" y="21251"/>
                    </a:lnTo>
                    <a:lnTo>
                      <a:pt x="9720" y="20960"/>
                    </a:lnTo>
                    <a:lnTo>
                      <a:pt x="9270" y="20610"/>
                    </a:lnTo>
                    <a:lnTo>
                      <a:pt x="8730" y="20960"/>
                    </a:lnTo>
                    <a:lnTo>
                      <a:pt x="8190" y="20960"/>
                    </a:lnTo>
                    <a:lnTo>
                      <a:pt x="8190" y="20610"/>
                    </a:lnTo>
                    <a:lnTo>
                      <a:pt x="8190" y="20960"/>
                    </a:lnTo>
                    <a:lnTo>
                      <a:pt x="7650" y="20960"/>
                    </a:lnTo>
                    <a:lnTo>
                      <a:pt x="7200" y="21251"/>
                    </a:lnTo>
                    <a:lnTo>
                      <a:pt x="6660" y="21251"/>
                    </a:lnTo>
                    <a:lnTo>
                      <a:pt x="7200" y="20960"/>
                    </a:lnTo>
                    <a:lnTo>
                      <a:pt x="6660" y="20610"/>
                    </a:lnTo>
                    <a:lnTo>
                      <a:pt x="6660" y="20261"/>
                    </a:lnTo>
                    <a:lnTo>
                      <a:pt x="7200" y="20261"/>
                    </a:lnTo>
                    <a:lnTo>
                      <a:pt x="7200" y="19970"/>
                    </a:lnTo>
                    <a:lnTo>
                      <a:pt x="7650" y="19970"/>
                    </a:lnTo>
                    <a:lnTo>
                      <a:pt x="7650" y="19620"/>
                    </a:lnTo>
                    <a:lnTo>
                      <a:pt x="8730" y="19970"/>
                    </a:lnTo>
                    <a:lnTo>
                      <a:pt x="9270" y="18922"/>
                    </a:lnTo>
                    <a:lnTo>
                      <a:pt x="8730" y="18922"/>
                    </a:lnTo>
                    <a:lnTo>
                      <a:pt x="8730" y="19271"/>
                    </a:lnTo>
                    <a:lnTo>
                      <a:pt x="8190" y="18922"/>
                    </a:lnTo>
                    <a:lnTo>
                      <a:pt x="8190" y="19271"/>
                    </a:lnTo>
                    <a:lnTo>
                      <a:pt x="7200" y="19271"/>
                    </a:lnTo>
                    <a:lnTo>
                      <a:pt x="7200" y="18922"/>
                    </a:lnTo>
                    <a:lnTo>
                      <a:pt x="6660" y="18922"/>
                    </a:lnTo>
                    <a:lnTo>
                      <a:pt x="6660" y="18631"/>
                    </a:lnTo>
                    <a:lnTo>
                      <a:pt x="6120" y="18281"/>
                    </a:lnTo>
                    <a:lnTo>
                      <a:pt x="5130" y="18281"/>
                    </a:lnTo>
                    <a:lnTo>
                      <a:pt x="5130" y="17932"/>
                    </a:lnTo>
                    <a:lnTo>
                      <a:pt x="5130" y="18281"/>
                    </a:lnTo>
                    <a:lnTo>
                      <a:pt x="4590" y="18281"/>
                    </a:lnTo>
                    <a:lnTo>
                      <a:pt x="5130" y="18281"/>
                    </a:lnTo>
                    <a:lnTo>
                      <a:pt x="5130" y="18631"/>
                    </a:lnTo>
                    <a:lnTo>
                      <a:pt x="4590" y="18631"/>
                    </a:lnTo>
                    <a:lnTo>
                      <a:pt x="4590" y="18922"/>
                    </a:lnTo>
                    <a:lnTo>
                      <a:pt x="4050" y="18922"/>
                    </a:lnTo>
                    <a:lnTo>
                      <a:pt x="4050" y="18631"/>
                    </a:lnTo>
                    <a:lnTo>
                      <a:pt x="4590" y="18281"/>
                    </a:lnTo>
                    <a:lnTo>
                      <a:pt x="4050" y="18281"/>
                    </a:lnTo>
                    <a:lnTo>
                      <a:pt x="4590" y="17932"/>
                    </a:lnTo>
                    <a:lnTo>
                      <a:pt x="4590" y="18281"/>
                    </a:lnTo>
                    <a:lnTo>
                      <a:pt x="5130" y="17932"/>
                    </a:lnTo>
                    <a:lnTo>
                      <a:pt x="4590" y="17932"/>
                    </a:lnTo>
                    <a:lnTo>
                      <a:pt x="4050" y="17641"/>
                    </a:lnTo>
                    <a:lnTo>
                      <a:pt x="4590" y="17641"/>
                    </a:lnTo>
                    <a:lnTo>
                      <a:pt x="4050" y="17292"/>
                    </a:lnTo>
                    <a:lnTo>
                      <a:pt x="4590" y="17292"/>
                    </a:lnTo>
                    <a:lnTo>
                      <a:pt x="4050" y="17292"/>
                    </a:lnTo>
                    <a:lnTo>
                      <a:pt x="4050" y="16942"/>
                    </a:lnTo>
                    <a:lnTo>
                      <a:pt x="3600" y="16942"/>
                    </a:lnTo>
                    <a:lnTo>
                      <a:pt x="3600" y="17292"/>
                    </a:lnTo>
                    <a:lnTo>
                      <a:pt x="4050" y="17292"/>
                    </a:lnTo>
                    <a:lnTo>
                      <a:pt x="3600" y="17292"/>
                    </a:lnTo>
                    <a:lnTo>
                      <a:pt x="3600" y="17641"/>
                    </a:lnTo>
                    <a:lnTo>
                      <a:pt x="4050" y="17641"/>
                    </a:lnTo>
                    <a:lnTo>
                      <a:pt x="4050" y="17932"/>
                    </a:lnTo>
                    <a:lnTo>
                      <a:pt x="3600" y="17932"/>
                    </a:lnTo>
                    <a:lnTo>
                      <a:pt x="3600" y="17641"/>
                    </a:lnTo>
                    <a:lnTo>
                      <a:pt x="3060" y="17292"/>
                    </a:lnTo>
                    <a:lnTo>
                      <a:pt x="2520" y="17292"/>
                    </a:lnTo>
                    <a:lnTo>
                      <a:pt x="2520" y="17641"/>
                    </a:lnTo>
                    <a:lnTo>
                      <a:pt x="1530" y="17641"/>
                    </a:lnTo>
                    <a:lnTo>
                      <a:pt x="1530" y="17292"/>
                    </a:lnTo>
                    <a:lnTo>
                      <a:pt x="0" y="17292"/>
                    </a:lnTo>
                    <a:lnTo>
                      <a:pt x="0" y="16302"/>
                    </a:lnTo>
                    <a:lnTo>
                      <a:pt x="450" y="16302"/>
                    </a:lnTo>
                    <a:lnTo>
                      <a:pt x="450" y="16593"/>
                    </a:lnTo>
                    <a:lnTo>
                      <a:pt x="990" y="16302"/>
                    </a:lnTo>
                    <a:lnTo>
                      <a:pt x="990" y="15312"/>
                    </a:lnTo>
                    <a:lnTo>
                      <a:pt x="1530" y="15312"/>
                    </a:lnTo>
                    <a:lnTo>
                      <a:pt x="990" y="14963"/>
                    </a:lnTo>
                    <a:lnTo>
                      <a:pt x="990" y="12634"/>
                    </a:lnTo>
                    <a:lnTo>
                      <a:pt x="0" y="12634"/>
                    </a:lnTo>
                    <a:lnTo>
                      <a:pt x="0" y="11994"/>
                    </a:lnTo>
                    <a:lnTo>
                      <a:pt x="450" y="11644"/>
                    </a:lnTo>
                    <a:lnTo>
                      <a:pt x="990" y="11644"/>
                    </a:lnTo>
                    <a:lnTo>
                      <a:pt x="990" y="10946"/>
                    </a:lnTo>
                    <a:lnTo>
                      <a:pt x="450" y="10946"/>
                    </a:lnTo>
                    <a:lnTo>
                      <a:pt x="450" y="10654"/>
                    </a:lnTo>
                    <a:lnTo>
                      <a:pt x="990" y="10654"/>
                    </a:lnTo>
                    <a:lnTo>
                      <a:pt x="1530" y="10305"/>
                    </a:lnTo>
                    <a:lnTo>
                      <a:pt x="990" y="10654"/>
                    </a:lnTo>
                    <a:lnTo>
                      <a:pt x="2070" y="10654"/>
                    </a:lnTo>
                    <a:lnTo>
                      <a:pt x="2070" y="10305"/>
                    </a:lnTo>
                    <a:lnTo>
                      <a:pt x="990" y="10305"/>
                    </a:lnTo>
                    <a:lnTo>
                      <a:pt x="990" y="9956"/>
                    </a:lnTo>
                    <a:lnTo>
                      <a:pt x="1530" y="9956"/>
                    </a:lnTo>
                    <a:lnTo>
                      <a:pt x="2070" y="10305"/>
                    </a:lnTo>
                    <a:lnTo>
                      <a:pt x="2520" y="9665"/>
                    </a:lnTo>
                    <a:lnTo>
                      <a:pt x="2520" y="8617"/>
                    </a:lnTo>
                    <a:lnTo>
                      <a:pt x="3060" y="8617"/>
                    </a:lnTo>
                    <a:lnTo>
                      <a:pt x="3060" y="7976"/>
                    </a:lnTo>
                    <a:lnTo>
                      <a:pt x="2520" y="8326"/>
                    </a:lnTo>
                    <a:lnTo>
                      <a:pt x="2520" y="7976"/>
                    </a:lnTo>
                    <a:lnTo>
                      <a:pt x="3600" y="7976"/>
                    </a:lnTo>
                    <a:lnTo>
                      <a:pt x="4050" y="7627"/>
                    </a:lnTo>
                    <a:lnTo>
                      <a:pt x="4050" y="7336"/>
                    </a:lnTo>
                    <a:lnTo>
                      <a:pt x="4590" y="7627"/>
                    </a:lnTo>
                    <a:lnTo>
                      <a:pt x="5130" y="7627"/>
                    </a:lnTo>
                    <a:lnTo>
                      <a:pt x="5130" y="7336"/>
                    </a:lnTo>
                    <a:lnTo>
                      <a:pt x="5670" y="7627"/>
                    </a:lnTo>
                    <a:lnTo>
                      <a:pt x="5670" y="7336"/>
                    </a:lnTo>
                    <a:lnTo>
                      <a:pt x="6120" y="7336"/>
                    </a:lnTo>
                    <a:lnTo>
                      <a:pt x="6120" y="6637"/>
                    </a:lnTo>
                    <a:lnTo>
                      <a:pt x="5670" y="5997"/>
                    </a:lnTo>
                    <a:lnTo>
                      <a:pt x="5670" y="5298"/>
                    </a:lnTo>
                    <a:lnTo>
                      <a:pt x="5130" y="5298"/>
                    </a:lnTo>
                    <a:lnTo>
                      <a:pt x="5130" y="4658"/>
                    </a:lnTo>
                    <a:lnTo>
                      <a:pt x="4590" y="4658"/>
                    </a:lnTo>
                    <a:lnTo>
                      <a:pt x="4590" y="4308"/>
                    </a:lnTo>
                    <a:lnTo>
                      <a:pt x="4050" y="5007"/>
                    </a:lnTo>
                    <a:lnTo>
                      <a:pt x="3600" y="5007"/>
                    </a:lnTo>
                    <a:lnTo>
                      <a:pt x="3600" y="4658"/>
                    </a:lnTo>
                    <a:lnTo>
                      <a:pt x="3060" y="4658"/>
                    </a:lnTo>
                    <a:lnTo>
                      <a:pt x="3060" y="4017"/>
                    </a:lnTo>
                    <a:lnTo>
                      <a:pt x="3600" y="4017"/>
                    </a:lnTo>
                    <a:lnTo>
                      <a:pt x="4050" y="3668"/>
                    </a:lnTo>
                    <a:lnTo>
                      <a:pt x="4050" y="4017"/>
                    </a:lnTo>
                    <a:lnTo>
                      <a:pt x="4590" y="3668"/>
                    </a:lnTo>
                    <a:lnTo>
                      <a:pt x="4590" y="3319"/>
                    </a:lnTo>
                    <a:lnTo>
                      <a:pt x="4050" y="3319"/>
                    </a:lnTo>
                    <a:lnTo>
                      <a:pt x="4050" y="2678"/>
                    </a:lnTo>
                    <a:lnTo>
                      <a:pt x="3600" y="2678"/>
                    </a:lnTo>
                    <a:lnTo>
                      <a:pt x="4050" y="2329"/>
                    </a:lnTo>
                    <a:lnTo>
                      <a:pt x="4050" y="1980"/>
                    </a:lnTo>
                    <a:lnTo>
                      <a:pt x="6660" y="0"/>
                    </a:lnTo>
                    <a:lnTo>
                      <a:pt x="7650" y="640"/>
                    </a:lnTo>
                    <a:lnTo>
                      <a:pt x="7650" y="990"/>
                    </a:lnTo>
                    <a:lnTo>
                      <a:pt x="7200" y="990"/>
                    </a:lnTo>
                    <a:lnTo>
                      <a:pt x="7200" y="1980"/>
                    </a:lnTo>
                    <a:lnTo>
                      <a:pt x="8190" y="1980"/>
                    </a:lnTo>
                    <a:lnTo>
                      <a:pt x="9270" y="2329"/>
                    </a:lnTo>
                    <a:lnTo>
                      <a:pt x="9720" y="2329"/>
                    </a:lnTo>
                    <a:lnTo>
                      <a:pt x="9720" y="2678"/>
                    </a:lnTo>
                    <a:lnTo>
                      <a:pt x="10800" y="2678"/>
                    </a:lnTo>
                    <a:lnTo>
                      <a:pt x="11340" y="2969"/>
                    </a:lnTo>
                    <a:lnTo>
                      <a:pt x="11790" y="2969"/>
                    </a:lnTo>
                    <a:lnTo>
                      <a:pt x="11790" y="3319"/>
                    </a:lnTo>
                    <a:lnTo>
                      <a:pt x="12330" y="2969"/>
                    </a:lnTo>
                    <a:lnTo>
                      <a:pt x="13320" y="2678"/>
                    </a:lnTo>
                    <a:lnTo>
                      <a:pt x="16920" y="3319"/>
                    </a:lnTo>
                    <a:lnTo>
                      <a:pt x="17460" y="2969"/>
                    </a:lnTo>
                    <a:lnTo>
                      <a:pt x="18540" y="2969"/>
                    </a:lnTo>
                    <a:lnTo>
                      <a:pt x="18540" y="2678"/>
                    </a:lnTo>
                    <a:lnTo>
                      <a:pt x="18990" y="2329"/>
                    </a:lnTo>
                    <a:lnTo>
                      <a:pt x="19530" y="2678"/>
                    </a:lnTo>
                    <a:lnTo>
                      <a:pt x="19530" y="2329"/>
                    </a:lnTo>
                    <a:lnTo>
                      <a:pt x="20520" y="198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/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64" name="Shape 2990"/>
              <p:cNvSpPr/>
              <p:nvPr/>
            </p:nvSpPr>
            <p:spPr>
              <a:xfrm>
                <a:off x="6914779" y="5056652"/>
                <a:ext cx="404394" cy="37117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4876"/>
                    </a:moveTo>
                    <a:lnTo>
                      <a:pt x="21214" y="14372"/>
                    </a:lnTo>
                    <a:lnTo>
                      <a:pt x="21214" y="13868"/>
                    </a:lnTo>
                    <a:lnTo>
                      <a:pt x="21600" y="13868"/>
                    </a:lnTo>
                    <a:lnTo>
                      <a:pt x="21214" y="13447"/>
                    </a:lnTo>
                    <a:lnTo>
                      <a:pt x="20751" y="13447"/>
                    </a:lnTo>
                    <a:lnTo>
                      <a:pt x="20751" y="12943"/>
                    </a:lnTo>
                    <a:lnTo>
                      <a:pt x="20289" y="12439"/>
                    </a:lnTo>
                    <a:lnTo>
                      <a:pt x="20751" y="12439"/>
                    </a:lnTo>
                    <a:lnTo>
                      <a:pt x="20751" y="11935"/>
                    </a:lnTo>
                    <a:lnTo>
                      <a:pt x="20289" y="11935"/>
                    </a:lnTo>
                    <a:lnTo>
                      <a:pt x="20289" y="11514"/>
                    </a:lnTo>
                    <a:lnTo>
                      <a:pt x="20289" y="11935"/>
                    </a:lnTo>
                    <a:lnTo>
                      <a:pt x="18977" y="11935"/>
                    </a:lnTo>
                    <a:lnTo>
                      <a:pt x="18977" y="11514"/>
                    </a:lnTo>
                    <a:lnTo>
                      <a:pt x="18977" y="11935"/>
                    </a:lnTo>
                    <a:lnTo>
                      <a:pt x="18129" y="11514"/>
                    </a:lnTo>
                    <a:lnTo>
                      <a:pt x="18514" y="11010"/>
                    </a:lnTo>
                    <a:lnTo>
                      <a:pt x="18514" y="10086"/>
                    </a:lnTo>
                    <a:lnTo>
                      <a:pt x="18129" y="10086"/>
                    </a:lnTo>
                    <a:lnTo>
                      <a:pt x="18129" y="9581"/>
                    </a:lnTo>
                    <a:lnTo>
                      <a:pt x="17666" y="10086"/>
                    </a:lnTo>
                    <a:lnTo>
                      <a:pt x="17666" y="10506"/>
                    </a:lnTo>
                    <a:lnTo>
                      <a:pt x="17203" y="10506"/>
                    </a:lnTo>
                    <a:lnTo>
                      <a:pt x="17203" y="10086"/>
                    </a:lnTo>
                    <a:lnTo>
                      <a:pt x="16354" y="10086"/>
                    </a:lnTo>
                    <a:lnTo>
                      <a:pt x="16354" y="9581"/>
                    </a:lnTo>
                    <a:lnTo>
                      <a:pt x="15891" y="9581"/>
                    </a:lnTo>
                    <a:lnTo>
                      <a:pt x="16354" y="9581"/>
                    </a:lnTo>
                    <a:lnTo>
                      <a:pt x="16354" y="9077"/>
                    </a:lnTo>
                    <a:lnTo>
                      <a:pt x="16817" y="9077"/>
                    </a:lnTo>
                    <a:lnTo>
                      <a:pt x="16817" y="8657"/>
                    </a:lnTo>
                    <a:lnTo>
                      <a:pt x="17203" y="8657"/>
                    </a:lnTo>
                    <a:lnTo>
                      <a:pt x="17203" y="8153"/>
                    </a:lnTo>
                    <a:lnTo>
                      <a:pt x="16817" y="8153"/>
                    </a:lnTo>
                    <a:lnTo>
                      <a:pt x="16817" y="7648"/>
                    </a:lnTo>
                    <a:lnTo>
                      <a:pt x="17203" y="7648"/>
                    </a:lnTo>
                    <a:lnTo>
                      <a:pt x="16817" y="7648"/>
                    </a:lnTo>
                    <a:lnTo>
                      <a:pt x="17203" y="7648"/>
                    </a:lnTo>
                    <a:lnTo>
                      <a:pt x="17203" y="6724"/>
                    </a:lnTo>
                    <a:lnTo>
                      <a:pt x="16817" y="6724"/>
                    </a:lnTo>
                    <a:lnTo>
                      <a:pt x="16817" y="6219"/>
                    </a:lnTo>
                    <a:lnTo>
                      <a:pt x="16354" y="6219"/>
                    </a:lnTo>
                    <a:lnTo>
                      <a:pt x="16354" y="5715"/>
                    </a:lnTo>
                    <a:lnTo>
                      <a:pt x="15891" y="5715"/>
                    </a:lnTo>
                    <a:lnTo>
                      <a:pt x="15891" y="5295"/>
                    </a:lnTo>
                    <a:lnTo>
                      <a:pt x="15043" y="5295"/>
                    </a:lnTo>
                    <a:lnTo>
                      <a:pt x="15043" y="4791"/>
                    </a:lnTo>
                    <a:lnTo>
                      <a:pt x="14580" y="5295"/>
                    </a:lnTo>
                    <a:lnTo>
                      <a:pt x="14580" y="4791"/>
                    </a:lnTo>
                    <a:lnTo>
                      <a:pt x="14117" y="4791"/>
                    </a:lnTo>
                    <a:lnTo>
                      <a:pt x="14580" y="4286"/>
                    </a:lnTo>
                    <a:lnTo>
                      <a:pt x="13269" y="4286"/>
                    </a:lnTo>
                    <a:lnTo>
                      <a:pt x="13269" y="3782"/>
                    </a:lnTo>
                    <a:lnTo>
                      <a:pt x="13269" y="4286"/>
                    </a:lnTo>
                    <a:lnTo>
                      <a:pt x="12806" y="4286"/>
                    </a:lnTo>
                    <a:lnTo>
                      <a:pt x="12806" y="3782"/>
                    </a:lnTo>
                    <a:lnTo>
                      <a:pt x="11957" y="3782"/>
                    </a:lnTo>
                    <a:lnTo>
                      <a:pt x="11957" y="3362"/>
                    </a:lnTo>
                    <a:lnTo>
                      <a:pt x="11494" y="2858"/>
                    </a:lnTo>
                    <a:lnTo>
                      <a:pt x="11494" y="1933"/>
                    </a:lnTo>
                    <a:lnTo>
                      <a:pt x="11031" y="1429"/>
                    </a:lnTo>
                    <a:lnTo>
                      <a:pt x="10646" y="1429"/>
                    </a:lnTo>
                    <a:lnTo>
                      <a:pt x="10646" y="1933"/>
                    </a:lnTo>
                    <a:lnTo>
                      <a:pt x="10183" y="1429"/>
                    </a:lnTo>
                    <a:lnTo>
                      <a:pt x="9720" y="1429"/>
                    </a:lnTo>
                    <a:lnTo>
                      <a:pt x="9257" y="925"/>
                    </a:lnTo>
                    <a:lnTo>
                      <a:pt x="9257" y="420"/>
                    </a:lnTo>
                    <a:lnTo>
                      <a:pt x="8871" y="420"/>
                    </a:lnTo>
                    <a:lnTo>
                      <a:pt x="8871" y="0"/>
                    </a:lnTo>
                    <a:lnTo>
                      <a:pt x="8409" y="0"/>
                    </a:lnTo>
                    <a:lnTo>
                      <a:pt x="8409" y="420"/>
                    </a:lnTo>
                    <a:lnTo>
                      <a:pt x="7946" y="420"/>
                    </a:lnTo>
                    <a:lnTo>
                      <a:pt x="7946" y="925"/>
                    </a:lnTo>
                    <a:lnTo>
                      <a:pt x="7560" y="925"/>
                    </a:lnTo>
                    <a:lnTo>
                      <a:pt x="7560" y="420"/>
                    </a:lnTo>
                    <a:lnTo>
                      <a:pt x="6634" y="420"/>
                    </a:lnTo>
                    <a:lnTo>
                      <a:pt x="6171" y="925"/>
                    </a:lnTo>
                    <a:lnTo>
                      <a:pt x="5786" y="925"/>
                    </a:lnTo>
                    <a:lnTo>
                      <a:pt x="5786" y="420"/>
                    </a:lnTo>
                    <a:lnTo>
                      <a:pt x="5323" y="420"/>
                    </a:lnTo>
                    <a:lnTo>
                      <a:pt x="5786" y="925"/>
                    </a:lnTo>
                    <a:lnTo>
                      <a:pt x="5786" y="2353"/>
                    </a:lnTo>
                    <a:lnTo>
                      <a:pt x="5323" y="2353"/>
                    </a:lnTo>
                    <a:lnTo>
                      <a:pt x="5323" y="3362"/>
                    </a:lnTo>
                    <a:lnTo>
                      <a:pt x="4397" y="3362"/>
                    </a:lnTo>
                    <a:lnTo>
                      <a:pt x="4397" y="5715"/>
                    </a:lnTo>
                    <a:lnTo>
                      <a:pt x="4860" y="5715"/>
                    </a:lnTo>
                    <a:lnTo>
                      <a:pt x="4860" y="8153"/>
                    </a:lnTo>
                    <a:lnTo>
                      <a:pt x="4397" y="8153"/>
                    </a:lnTo>
                    <a:lnTo>
                      <a:pt x="4397" y="8657"/>
                    </a:lnTo>
                    <a:lnTo>
                      <a:pt x="4011" y="8153"/>
                    </a:lnTo>
                    <a:lnTo>
                      <a:pt x="4011" y="9077"/>
                    </a:lnTo>
                    <a:lnTo>
                      <a:pt x="3549" y="9077"/>
                    </a:lnTo>
                    <a:lnTo>
                      <a:pt x="3549" y="9581"/>
                    </a:lnTo>
                    <a:lnTo>
                      <a:pt x="3086" y="9581"/>
                    </a:lnTo>
                    <a:lnTo>
                      <a:pt x="3549" y="10086"/>
                    </a:lnTo>
                    <a:lnTo>
                      <a:pt x="3086" y="10086"/>
                    </a:lnTo>
                    <a:lnTo>
                      <a:pt x="3549" y="10086"/>
                    </a:lnTo>
                    <a:lnTo>
                      <a:pt x="3549" y="10506"/>
                    </a:lnTo>
                    <a:lnTo>
                      <a:pt x="4011" y="10506"/>
                    </a:lnTo>
                    <a:lnTo>
                      <a:pt x="4011" y="11010"/>
                    </a:lnTo>
                    <a:lnTo>
                      <a:pt x="3549" y="11010"/>
                    </a:lnTo>
                    <a:lnTo>
                      <a:pt x="4011" y="11514"/>
                    </a:lnTo>
                    <a:lnTo>
                      <a:pt x="4011" y="11935"/>
                    </a:lnTo>
                    <a:lnTo>
                      <a:pt x="4397" y="11935"/>
                    </a:lnTo>
                    <a:lnTo>
                      <a:pt x="4397" y="12439"/>
                    </a:lnTo>
                    <a:lnTo>
                      <a:pt x="4011" y="12439"/>
                    </a:lnTo>
                    <a:lnTo>
                      <a:pt x="4397" y="12943"/>
                    </a:lnTo>
                    <a:lnTo>
                      <a:pt x="4011" y="12943"/>
                    </a:lnTo>
                    <a:lnTo>
                      <a:pt x="4011" y="13447"/>
                    </a:lnTo>
                    <a:lnTo>
                      <a:pt x="3549" y="13447"/>
                    </a:lnTo>
                    <a:lnTo>
                      <a:pt x="3549" y="13868"/>
                    </a:lnTo>
                    <a:lnTo>
                      <a:pt x="2237" y="13868"/>
                    </a:lnTo>
                    <a:lnTo>
                      <a:pt x="2237" y="13447"/>
                    </a:lnTo>
                    <a:lnTo>
                      <a:pt x="926" y="13447"/>
                    </a:lnTo>
                    <a:lnTo>
                      <a:pt x="926" y="14372"/>
                    </a:lnTo>
                    <a:lnTo>
                      <a:pt x="463" y="13868"/>
                    </a:lnTo>
                    <a:lnTo>
                      <a:pt x="463" y="14876"/>
                    </a:lnTo>
                    <a:lnTo>
                      <a:pt x="0" y="14372"/>
                    </a:lnTo>
                    <a:lnTo>
                      <a:pt x="0" y="15296"/>
                    </a:lnTo>
                    <a:lnTo>
                      <a:pt x="463" y="15296"/>
                    </a:lnTo>
                    <a:lnTo>
                      <a:pt x="463" y="15801"/>
                    </a:lnTo>
                    <a:lnTo>
                      <a:pt x="926" y="15801"/>
                    </a:lnTo>
                    <a:lnTo>
                      <a:pt x="1311" y="16305"/>
                    </a:lnTo>
                    <a:lnTo>
                      <a:pt x="1311" y="18238"/>
                    </a:lnTo>
                    <a:lnTo>
                      <a:pt x="926" y="18658"/>
                    </a:lnTo>
                    <a:lnTo>
                      <a:pt x="926" y="19667"/>
                    </a:lnTo>
                    <a:lnTo>
                      <a:pt x="1311" y="19667"/>
                    </a:lnTo>
                    <a:lnTo>
                      <a:pt x="1311" y="19163"/>
                    </a:lnTo>
                    <a:lnTo>
                      <a:pt x="1774" y="19667"/>
                    </a:lnTo>
                    <a:lnTo>
                      <a:pt x="1774" y="20171"/>
                    </a:lnTo>
                    <a:lnTo>
                      <a:pt x="1311" y="20171"/>
                    </a:lnTo>
                    <a:lnTo>
                      <a:pt x="1774" y="20171"/>
                    </a:lnTo>
                    <a:lnTo>
                      <a:pt x="1774" y="20591"/>
                    </a:lnTo>
                    <a:lnTo>
                      <a:pt x="2700" y="20591"/>
                    </a:lnTo>
                    <a:lnTo>
                      <a:pt x="2700" y="21096"/>
                    </a:lnTo>
                    <a:lnTo>
                      <a:pt x="3086" y="21096"/>
                    </a:lnTo>
                    <a:lnTo>
                      <a:pt x="3086" y="20591"/>
                    </a:lnTo>
                    <a:lnTo>
                      <a:pt x="3549" y="20591"/>
                    </a:lnTo>
                    <a:lnTo>
                      <a:pt x="3549" y="20171"/>
                    </a:lnTo>
                    <a:lnTo>
                      <a:pt x="4397" y="20171"/>
                    </a:lnTo>
                    <a:lnTo>
                      <a:pt x="4397" y="20591"/>
                    </a:lnTo>
                    <a:lnTo>
                      <a:pt x="4860" y="20171"/>
                    </a:lnTo>
                    <a:lnTo>
                      <a:pt x="5786" y="20171"/>
                    </a:lnTo>
                    <a:lnTo>
                      <a:pt x="5786" y="20591"/>
                    </a:lnTo>
                    <a:lnTo>
                      <a:pt x="6634" y="20591"/>
                    </a:lnTo>
                    <a:lnTo>
                      <a:pt x="6634" y="20171"/>
                    </a:lnTo>
                    <a:lnTo>
                      <a:pt x="7097" y="20171"/>
                    </a:lnTo>
                    <a:lnTo>
                      <a:pt x="6634" y="19667"/>
                    </a:lnTo>
                    <a:lnTo>
                      <a:pt x="7097" y="19163"/>
                    </a:lnTo>
                    <a:lnTo>
                      <a:pt x="7560" y="19163"/>
                    </a:lnTo>
                    <a:lnTo>
                      <a:pt x="7560" y="19667"/>
                    </a:lnTo>
                    <a:lnTo>
                      <a:pt x="7097" y="20171"/>
                    </a:lnTo>
                    <a:lnTo>
                      <a:pt x="7560" y="20171"/>
                    </a:lnTo>
                    <a:lnTo>
                      <a:pt x="7946" y="20591"/>
                    </a:lnTo>
                    <a:lnTo>
                      <a:pt x="8409" y="20591"/>
                    </a:lnTo>
                    <a:lnTo>
                      <a:pt x="8871" y="20171"/>
                    </a:lnTo>
                    <a:lnTo>
                      <a:pt x="8871" y="21096"/>
                    </a:lnTo>
                    <a:lnTo>
                      <a:pt x="9257" y="21600"/>
                    </a:lnTo>
                    <a:lnTo>
                      <a:pt x="9720" y="21096"/>
                    </a:lnTo>
                    <a:lnTo>
                      <a:pt x="9257" y="21096"/>
                    </a:lnTo>
                    <a:lnTo>
                      <a:pt x="9257" y="20591"/>
                    </a:lnTo>
                    <a:lnTo>
                      <a:pt x="8871" y="20171"/>
                    </a:lnTo>
                    <a:lnTo>
                      <a:pt x="9257" y="20171"/>
                    </a:lnTo>
                    <a:lnTo>
                      <a:pt x="9257" y="19667"/>
                    </a:lnTo>
                    <a:lnTo>
                      <a:pt x="10183" y="19667"/>
                    </a:lnTo>
                    <a:lnTo>
                      <a:pt x="10183" y="20171"/>
                    </a:lnTo>
                    <a:lnTo>
                      <a:pt x="10646" y="20171"/>
                    </a:lnTo>
                    <a:lnTo>
                      <a:pt x="10646" y="19667"/>
                    </a:lnTo>
                    <a:lnTo>
                      <a:pt x="10183" y="19667"/>
                    </a:lnTo>
                    <a:lnTo>
                      <a:pt x="10183" y="19163"/>
                    </a:lnTo>
                    <a:lnTo>
                      <a:pt x="10646" y="19163"/>
                    </a:lnTo>
                    <a:lnTo>
                      <a:pt x="10646" y="19667"/>
                    </a:lnTo>
                    <a:lnTo>
                      <a:pt x="13269" y="19667"/>
                    </a:lnTo>
                    <a:lnTo>
                      <a:pt x="13269" y="19163"/>
                    </a:lnTo>
                    <a:lnTo>
                      <a:pt x="13731" y="19163"/>
                    </a:lnTo>
                    <a:lnTo>
                      <a:pt x="14580" y="20171"/>
                    </a:lnTo>
                    <a:lnTo>
                      <a:pt x="14580" y="21096"/>
                    </a:lnTo>
                    <a:lnTo>
                      <a:pt x="15043" y="21600"/>
                    </a:lnTo>
                    <a:lnTo>
                      <a:pt x="15891" y="20591"/>
                    </a:lnTo>
                    <a:lnTo>
                      <a:pt x="16817" y="20591"/>
                    </a:lnTo>
                    <a:lnTo>
                      <a:pt x="17666" y="19667"/>
                    </a:lnTo>
                    <a:lnTo>
                      <a:pt x="17203" y="19163"/>
                    </a:lnTo>
                    <a:lnTo>
                      <a:pt x="17203" y="18658"/>
                    </a:lnTo>
                    <a:lnTo>
                      <a:pt x="17666" y="17734"/>
                    </a:lnTo>
                    <a:lnTo>
                      <a:pt x="18977" y="16305"/>
                    </a:lnTo>
                    <a:lnTo>
                      <a:pt x="19903" y="16305"/>
                    </a:lnTo>
                    <a:lnTo>
                      <a:pt x="20751" y="15801"/>
                    </a:lnTo>
                    <a:lnTo>
                      <a:pt x="20751" y="15296"/>
                    </a:lnTo>
                    <a:lnTo>
                      <a:pt x="21214" y="15296"/>
                    </a:lnTo>
                    <a:lnTo>
                      <a:pt x="21214" y="14876"/>
                    </a:lnTo>
                    <a:lnTo>
                      <a:pt x="21600" y="1487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65" name="Shape 2991"/>
              <p:cNvSpPr/>
              <p:nvPr/>
            </p:nvSpPr>
            <p:spPr>
              <a:xfrm>
                <a:off x="6865674" y="4874675"/>
                <a:ext cx="272967" cy="27296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629" y="19543"/>
                    </a:moveTo>
                    <a:lnTo>
                      <a:pt x="3314" y="19543"/>
                    </a:lnTo>
                    <a:lnTo>
                      <a:pt x="3314" y="20229"/>
                    </a:lnTo>
                    <a:lnTo>
                      <a:pt x="3886" y="20914"/>
                    </a:lnTo>
                    <a:lnTo>
                      <a:pt x="5829" y="20914"/>
                    </a:lnTo>
                    <a:lnTo>
                      <a:pt x="6514" y="21600"/>
                    </a:lnTo>
                    <a:lnTo>
                      <a:pt x="6514" y="20914"/>
                    </a:lnTo>
                    <a:lnTo>
                      <a:pt x="7200" y="20914"/>
                    </a:lnTo>
                    <a:lnTo>
                      <a:pt x="7886" y="20229"/>
                    </a:lnTo>
                    <a:lnTo>
                      <a:pt x="9829" y="20229"/>
                    </a:lnTo>
                    <a:lnTo>
                      <a:pt x="9829" y="19543"/>
                    </a:lnTo>
                    <a:lnTo>
                      <a:pt x="10400" y="18971"/>
                    </a:lnTo>
                    <a:lnTo>
                      <a:pt x="10400" y="19543"/>
                    </a:lnTo>
                    <a:lnTo>
                      <a:pt x="10400" y="18971"/>
                    </a:lnTo>
                    <a:lnTo>
                      <a:pt x="11771" y="18971"/>
                    </a:lnTo>
                    <a:lnTo>
                      <a:pt x="11771" y="17600"/>
                    </a:lnTo>
                    <a:lnTo>
                      <a:pt x="12457" y="17600"/>
                    </a:lnTo>
                    <a:lnTo>
                      <a:pt x="12457" y="15657"/>
                    </a:lnTo>
                    <a:lnTo>
                      <a:pt x="11771" y="14971"/>
                    </a:lnTo>
                    <a:lnTo>
                      <a:pt x="12457" y="14971"/>
                    </a:lnTo>
                    <a:lnTo>
                      <a:pt x="12457" y="15657"/>
                    </a:lnTo>
                    <a:lnTo>
                      <a:pt x="13029" y="15657"/>
                    </a:lnTo>
                    <a:lnTo>
                      <a:pt x="13714" y="14971"/>
                    </a:lnTo>
                    <a:lnTo>
                      <a:pt x="15086" y="14971"/>
                    </a:lnTo>
                    <a:lnTo>
                      <a:pt x="15086" y="15657"/>
                    </a:lnTo>
                    <a:lnTo>
                      <a:pt x="15657" y="15657"/>
                    </a:lnTo>
                    <a:lnTo>
                      <a:pt x="15657" y="14971"/>
                    </a:lnTo>
                    <a:lnTo>
                      <a:pt x="16343" y="14971"/>
                    </a:lnTo>
                    <a:lnTo>
                      <a:pt x="16343" y="14400"/>
                    </a:lnTo>
                    <a:lnTo>
                      <a:pt x="17029" y="14400"/>
                    </a:lnTo>
                    <a:lnTo>
                      <a:pt x="17029" y="14971"/>
                    </a:lnTo>
                    <a:lnTo>
                      <a:pt x="17600" y="14971"/>
                    </a:lnTo>
                    <a:lnTo>
                      <a:pt x="17600" y="15657"/>
                    </a:lnTo>
                    <a:lnTo>
                      <a:pt x="18286" y="16343"/>
                    </a:lnTo>
                    <a:lnTo>
                      <a:pt x="18971" y="16343"/>
                    </a:lnTo>
                    <a:lnTo>
                      <a:pt x="19657" y="17029"/>
                    </a:lnTo>
                    <a:lnTo>
                      <a:pt x="19657" y="16343"/>
                    </a:lnTo>
                    <a:lnTo>
                      <a:pt x="20229" y="16343"/>
                    </a:lnTo>
                    <a:lnTo>
                      <a:pt x="20914" y="17029"/>
                    </a:lnTo>
                    <a:lnTo>
                      <a:pt x="21600" y="17029"/>
                    </a:lnTo>
                    <a:lnTo>
                      <a:pt x="20914" y="16343"/>
                    </a:lnTo>
                    <a:lnTo>
                      <a:pt x="21600" y="16343"/>
                    </a:lnTo>
                    <a:lnTo>
                      <a:pt x="21600" y="14971"/>
                    </a:lnTo>
                    <a:lnTo>
                      <a:pt x="20914" y="14400"/>
                    </a:lnTo>
                    <a:lnTo>
                      <a:pt x="20914" y="13029"/>
                    </a:lnTo>
                    <a:lnTo>
                      <a:pt x="20229" y="13714"/>
                    </a:lnTo>
                    <a:lnTo>
                      <a:pt x="20229" y="11771"/>
                    </a:lnTo>
                    <a:lnTo>
                      <a:pt x="19657" y="11771"/>
                    </a:lnTo>
                    <a:lnTo>
                      <a:pt x="19657" y="12457"/>
                    </a:lnTo>
                    <a:lnTo>
                      <a:pt x="19657" y="11771"/>
                    </a:lnTo>
                    <a:lnTo>
                      <a:pt x="18971" y="11771"/>
                    </a:lnTo>
                    <a:lnTo>
                      <a:pt x="18971" y="11086"/>
                    </a:lnTo>
                    <a:lnTo>
                      <a:pt x="18971" y="11771"/>
                    </a:lnTo>
                    <a:lnTo>
                      <a:pt x="18971" y="11086"/>
                    </a:lnTo>
                    <a:lnTo>
                      <a:pt x="18286" y="11086"/>
                    </a:lnTo>
                    <a:lnTo>
                      <a:pt x="18286" y="10400"/>
                    </a:lnTo>
                    <a:lnTo>
                      <a:pt x="17600" y="10400"/>
                    </a:lnTo>
                    <a:lnTo>
                      <a:pt x="17600" y="9829"/>
                    </a:lnTo>
                    <a:lnTo>
                      <a:pt x="17029" y="9143"/>
                    </a:lnTo>
                    <a:lnTo>
                      <a:pt x="17029" y="9829"/>
                    </a:lnTo>
                    <a:lnTo>
                      <a:pt x="16343" y="9143"/>
                    </a:lnTo>
                    <a:lnTo>
                      <a:pt x="15657" y="9143"/>
                    </a:lnTo>
                    <a:lnTo>
                      <a:pt x="15657" y="8457"/>
                    </a:lnTo>
                    <a:lnTo>
                      <a:pt x="15086" y="8457"/>
                    </a:lnTo>
                    <a:lnTo>
                      <a:pt x="15657" y="8457"/>
                    </a:lnTo>
                    <a:lnTo>
                      <a:pt x="15657" y="7886"/>
                    </a:lnTo>
                    <a:lnTo>
                      <a:pt x="16343" y="7886"/>
                    </a:lnTo>
                    <a:lnTo>
                      <a:pt x="15657" y="7200"/>
                    </a:lnTo>
                    <a:lnTo>
                      <a:pt x="15086" y="6514"/>
                    </a:lnTo>
                    <a:lnTo>
                      <a:pt x="15086" y="5943"/>
                    </a:lnTo>
                    <a:lnTo>
                      <a:pt x="14400" y="5943"/>
                    </a:lnTo>
                    <a:lnTo>
                      <a:pt x="14400" y="5257"/>
                    </a:lnTo>
                    <a:lnTo>
                      <a:pt x="13714" y="5943"/>
                    </a:lnTo>
                    <a:lnTo>
                      <a:pt x="13714" y="5257"/>
                    </a:lnTo>
                    <a:lnTo>
                      <a:pt x="13029" y="4571"/>
                    </a:lnTo>
                    <a:lnTo>
                      <a:pt x="13714" y="4571"/>
                    </a:lnTo>
                    <a:lnTo>
                      <a:pt x="12457" y="4571"/>
                    </a:lnTo>
                    <a:lnTo>
                      <a:pt x="12457" y="3886"/>
                    </a:lnTo>
                    <a:lnTo>
                      <a:pt x="12457" y="4571"/>
                    </a:lnTo>
                    <a:lnTo>
                      <a:pt x="11771" y="4571"/>
                    </a:lnTo>
                    <a:lnTo>
                      <a:pt x="11771" y="3886"/>
                    </a:lnTo>
                    <a:lnTo>
                      <a:pt x="11086" y="3886"/>
                    </a:lnTo>
                    <a:lnTo>
                      <a:pt x="11086" y="1943"/>
                    </a:lnTo>
                    <a:lnTo>
                      <a:pt x="10400" y="1371"/>
                    </a:lnTo>
                    <a:lnTo>
                      <a:pt x="10400" y="1943"/>
                    </a:lnTo>
                    <a:lnTo>
                      <a:pt x="10400" y="1371"/>
                    </a:lnTo>
                    <a:lnTo>
                      <a:pt x="9829" y="1943"/>
                    </a:lnTo>
                    <a:lnTo>
                      <a:pt x="9829" y="1371"/>
                    </a:lnTo>
                    <a:lnTo>
                      <a:pt x="9829" y="1943"/>
                    </a:lnTo>
                    <a:lnTo>
                      <a:pt x="9143" y="1943"/>
                    </a:lnTo>
                    <a:lnTo>
                      <a:pt x="9143" y="0"/>
                    </a:lnTo>
                    <a:lnTo>
                      <a:pt x="8457" y="0"/>
                    </a:lnTo>
                    <a:lnTo>
                      <a:pt x="8457" y="686"/>
                    </a:lnTo>
                    <a:lnTo>
                      <a:pt x="8457" y="0"/>
                    </a:lnTo>
                    <a:lnTo>
                      <a:pt x="6514" y="0"/>
                    </a:lnTo>
                    <a:lnTo>
                      <a:pt x="6514" y="686"/>
                    </a:lnTo>
                    <a:lnTo>
                      <a:pt x="5829" y="686"/>
                    </a:lnTo>
                    <a:lnTo>
                      <a:pt x="6514" y="1371"/>
                    </a:lnTo>
                    <a:lnTo>
                      <a:pt x="5829" y="1371"/>
                    </a:lnTo>
                    <a:lnTo>
                      <a:pt x="5829" y="1943"/>
                    </a:lnTo>
                    <a:lnTo>
                      <a:pt x="6514" y="1943"/>
                    </a:lnTo>
                    <a:lnTo>
                      <a:pt x="5829" y="1943"/>
                    </a:lnTo>
                    <a:lnTo>
                      <a:pt x="5257" y="1371"/>
                    </a:lnTo>
                    <a:lnTo>
                      <a:pt x="3886" y="1371"/>
                    </a:lnTo>
                    <a:lnTo>
                      <a:pt x="3886" y="3314"/>
                    </a:lnTo>
                    <a:lnTo>
                      <a:pt x="3314" y="3314"/>
                    </a:lnTo>
                    <a:lnTo>
                      <a:pt x="3886" y="3886"/>
                    </a:lnTo>
                    <a:lnTo>
                      <a:pt x="3314" y="3886"/>
                    </a:lnTo>
                    <a:lnTo>
                      <a:pt x="3314" y="4571"/>
                    </a:lnTo>
                    <a:lnTo>
                      <a:pt x="2629" y="4571"/>
                    </a:lnTo>
                    <a:lnTo>
                      <a:pt x="2629" y="5943"/>
                    </a:lnTo>
                    <a:lnTo>
                      <a:pt x="3314" y="6514"/>
                    </a:lnTo>
                    <a:lnTo>
                      <a:pt x="3314" y="5943"/>
                    </a:lnTo>
                    <a:lnTo>
                      <a:pt x="3886" y="5943"/>
                    </a:lnTo>
                    <a:lnTo>
                      <a:pt x="3886" y="7200"/>
                    </a:lnTo>
                    <a:lnTo>
                      <a:pt x="3314" y="7200"/>
                    </a:lnTo>
                    <a:lnTo>
                      <a:pt x="3314" y="7886"/>
                    </a:lnTo>
                    <a:lnTo>
                      <a:pt x="3886" y="7886"/>
                    </a:lnTo>
                    <a:lnTo>
                      <a:pt x="3314" y="7886"/>
                    </a:lnTo>
                    <a:lnTo>
                      <a:pt x="3314" y="7200"/>
                    </a:lnTo>
                    <a:lnTo>
                      <a:pt x="3314" y="7886"/>
                    </a:lnTo>
                    <a:lnTo>
                      <a:pt x="2629" y="7886"/>
                    </a:lnTo>
                    <a:lnTo>
                      <a:pt x="2629" y="9829"/>
                    </a:lnTo>
                    <a:lnTo>
                      <a:pt x="3314" y="9829"/>
                    </a:lnTo>
                    <a:lnTo>
                      <a:pt x="2629" y="9829"/>
                    </a:lnTo>
                    <a:lnTo>
                      <a:pt x="3314" y="9829"/>
                    </a:lnTo>
                    <a:lnTo>
                      <a:pt x="3314" y="10400"/>
                    </a:lnTo>
                    <a:lnTo>
                      <a:pt x="2629" y="10400"/>
                    </a:lnTo>
                    <a:lnTo>
                      <a:pt x="2629" y="11086"/>
                    </a:lnTo>
                    <a:lnTo>
                      <a:pt x="1943" y="11086"/>
                    </a:lnTo>
                    <a:lnTo>
                      <a:pt x="1943" y="12457"/>
                    </a:lnTo>
                    <a:lnTo>
                      <a:pt x="1257" y="12457"/>
                    </a:lnTo>
                    <a:lnTo>
                      <a:pt x="1257" y="14400"/>
                    </a:lnTo>
                    <a:lnTo>
                      <a:pt x="686" y="14400"/>
                    </a:lnTo>
                    <a:lnTo>
                      <a:pt x="686" y="14971"/>
                    </a:lnTo>
                    <a:lnTo>
                      <a:pt x="686" y="14400"/>
                    </a:lnTo>
                    <a:lnTo>
                      <a:pt x="686" y="14971"/>
                    </a:lnTo>
                    <a:lnTo>
                      <a:pt x="0" y="14971"/>
                    </a:lnTo>
                    <a:lnTo>
                      <a:pt x="0" y="16343"/>
                    </a:lnTo>
                    <a:lnTo>
                      <a:pt x="686" y="16343"/>
                    </a:lnTo>
                    <a:lnTo>
                      <a:pt x="686" y="17029"/>
                    </a:lnTo>
                    <a:lnTo>
                      <a:pt x="1257" y="17029"/>
                    </a:lnTo>
                    <a:lnTo>
                      <a:pt x="1257" y="17600"/>
                    </a:lnTo>
                    <a:lnTo>
                      <a:pt x="686" y="17600"/>
                    </a:lnTo>
                    <a:lnTo>
                      <a:pt x="686" y="18286"/>
                    </a:lnTo>
                    <a:lnTo>
                      <a:pt x="1257" y="18286"/>
                    </a:lnTo>
                    <a:lnTo>
                      <a:pt x="1257" y="18971"/>
                    </a:lnTo>
                    <a:lnTo>
                      <a:pt x="2629" y="18971"/>
                    </a:lnTo>
                    <a:lnTo>
                      <a:pt x="2629" y="1954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67" name="Shape 2993"/>
              <p:cNvSpPr/>
              <p:nvPr/>
            </p:nvSpPr>
            <p:spPr>
              <a:xfrm>
                <a:off x="6783350" y="5385945"/>
                <a:ext cx="362511" cy="37984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158" y="18725"/>
                    </a:moveTo>
                    <a:lnTo>
                      <a:pt x="18158" y="19218"/>
                    </a:lnTo>
                    <a:lnTo>
                      <a:pt x="18158" y="18725"/>
                    </a:lnTo>
                    <a:lnTo>
                      <a:pt x="17727" y="18725"/>
                    </a:lnTo>
                    <a:lnTo>
                      <a:pt x="17727" y="19711"/>
                    </a:lnTo>
                    <a:lnTo>
                      <a:pt x="17211" y="19711"/>
                    </a:lnTo>
                    <a:lnTo>
                      <a:pt x="17211" y="20204"/>
                    </a:lnTo>
                    <a:lnTo>
                      <a:pt x="16695" y="20204"/>
                    </a:lnTo>
                    <a:lnTo>
                      <a:pt x="17211" y="20204"/>
                    </a:lnTo>
                    <a:lnTo>
                      <a:pt x="17211" y="19711"/>
                    </a:lnTo>
                    <a:lnTo>
                      <a:pt x="16695" y="19711"/>
                    </a:lnTo>
                    <a:lnTo>
                      <a:pt x="16695" y="20204"/>
                    </a:lnTo>
                    <a:lnTo>
                      <a:pt x="16695" y="19711"/>
                    </a:lnTo>
                    <a:lnTo>
                      <a:pt x="16695" y="20204"/>
                    </a:lnTo>
                    <a:lnTo>
                      <a:pt x="16265" y="20204"/>
                    </a:lnTo>
                    <a:lnTo>
                      <a:pt x="16265" y="20614"/>
                    </a:lnTo>
                    <a:lnTo>
                      <a:pt x="15748" y="20614"/>
                    </a:lnTo>
                    <a:lnTo>
                      <a:pt x="15232" y="21107"/>
                    </a:lnTo>
                    <a:lnTo>
                      <a:pt x="14716" y="21107"/>
                    </a:lnTo>
                    <a:lnTo>
                      <a:pt x="14716" y="21600"/>
                    </a:lnTo>
                    <a:lnTo>
                      <a:pt x="14716" y="21107"/>
                    </a:lnTo>
                    <a:lnTo>
                      <a:pt x="14716" y="21600"/>
                    </a:lnTo>
                    <a:lnTo>
                      <a:pt x="14716" y="20614"/>
                    </a:lnTo>
                    <a:lnTo>
                      <a:pt x="14285" y="20614"/>
                    </a:lnTo>
                    <a:lnTo>
                      <a:pt x="14285" y="21107"/>
                    </a:lnTo>
                    <a:lnTo>
                      <a:pt x="13769" y="21107"/>
                    </a:lnTo>
                    <a:lnTo>
                      <a:pt x="14285" y="20614"/>
                    </a:lnTo>
                    <a:lnTo>
                      <a:pt x="13769" y="20614"/>
                    </a:lnTo>
                    <a:lnTo>
                      <a:pt x="13769" y="20204"/>
                    </a:lnTo>
                    <a:lnTo>
                      <a:pt x="13769" y="20614"/>
                    </a:lnTo>
                    <a:lnTo>
                      <a:pt x="13769" y="20204"/>
                    </a:lnTo>
                    <a:lnTo>
                      <a:pt x="13253" y="20204"/>
                    </a:lnTo>
                    <a:lnTo>
                      <a:pt x="13253" y="19218"/>
                    </a:lnTo>
                    <a:lnTo>
                      <a:pt x="12736" y="19218"/>
                    </a:lnTo>
                    <a:lnTo>
                      <a:pt x="12736" y="18725"/>
                    </a:lnTo>
                    <a:lnTo>
                      <a:pt x="12306" y="18725"/>
                    </a:lnTo>
                    <a:lnTo>
                      <a:pt x="11790" y="18315"/>
                    </a:lnTo>
                    <a:lnTo>
                      <a:pt x="11273" y="18315"/>
                    </a:lnTo>
                    <a:lnTo>
                      <a:pt x="11273" y="17822"/>
                    </a:lnTo>
                    <a:lnTo>
                      <a:pt x="10843" y="17822"/>
                    </a:lnTo>
                    <a:lnTo>
                      <a:pt x="10843" y="17329"/>
                    </a:lnTo>
                    <a:lnTo>
                      <a:pt x="10327" y="17329"/>
                    </a:lnTo>
                    <a:lnTo>
                      <a:pt x="10327" y="15933"/>
                    </a:lnTo>
                    <a:lnTo>
                      <a:pt x="9810" y="15933"/>
                    </a:lnTo>
                    <a:lnTo>
                      <a:pt x="9810" y="15030"/>
                    </a:lnTo>
                    <a:lnTo>
                      <a:pt x="9294" y="15030"/>
                    </a:lnTo>
                    <a:lnTo>
                      <a:pt x="9294" y="14537"/>
                    </a:lnTo>
                    <a:lnTo>
                      <a:pt x="8864" y="14044"/>
                    </a:lnTo>
                    <a:lnTo>
                      <a:pt x="8864" y="13633"/>
                    </a:lnTo>
                    <a:lnTo>
                      <a:pt x="8347" y="13633"/>
                    </a:lnTo>
                    <a:lnTo>
                      <a:pt x="8347" y="13141"/>
                    </a:lnTo>
                    <a:lnTo>
                      <a:pt x="7831" y="12648"/>
                    </a:lnTo>
                    <a:lnTo>
                      <a:pt x="7831" y="12237"/>
                    </a:lnTo>
                    <a:lnTo>
                      <a:pt x="7401" y="12237"/>
                    </a:lnTo>
                    <a:lnTo>
                      <a:pt x="7401" y="9363"/>
                    </a:lnTo>
                    <a:lnTo>
                      <a:pt x="6884" y="9363"/>
                    </a:lnTo>
                    <a:lnTo>
                      <a:pt x="6884" y="8952"/>
                    </a:lnTo>
                    <a:lnTo>
                      <a:pt x="6368" y="8952"/>
                    </a:lnTo>
                    <a:lnTo>
                      <a:pt x="6368" y="8459"/>
                    </a:lnTo>
                    <a:lnTo>
                      <a:pt x="5852" y="8459"/>
                    </a:lnTo>
                    <a:lnTo>
                      <a:pt x="5852" y="7967"/>
                    </a:lnTo>
                    <a:lnTo>
                      <a:pt x="5422" y="7967"/>
                    </a:lnTo>
                    <a:lnTo>
                      <a:pt x="5852" y="7474"/>
                    </a:lnTo>
                    <a:lnTo>
                      <a:pt x="5422" y="7474"/>
                    </a:lnTo>
                    <a:lnTo>
                      <a:pt x="5422" y="7063"/>
                    </a:lnTo>
                    <a:lnTo>
                      <a:pt x="4905" y="7063"/>
                    </a:lnTo>
                    <a:lnTo>
                      <a:pt x="4905" y="6078"/>
                    </a:lnTo>
                    <a:lnTo>
                      <a:pt x="1979" y="6078"/>
                    </a:lnTo>
                    <a:lnTo>
                      <a:pt x="1979" y="5667"/>
                    </a:lnTo>
                    <a:lnTo>
                      <a:pt x="2410" y="5667"/>
                    </a:lnTo>
                    <a:lnTo>
                      <a:pt x="2410" y="5174"/>
                    </a:lnTo>
                    <a:lnTo>
                      <a:pt x="1463" y="5174"/>
                    </a:lnTo>
                    <a:lnTo>
                      <a:pt x="1463" y="5667"/>
                    </a:lnTo>
                    <a:lnTo>
                      <a:pt x="947" y="5667"/>
                    </a:lnTo>
                    <a:lnTo>
                      <a:pt x="947" y="5174"/>
                    </a:lnTo>
                    <a:lnTo>
                      <a:pt x="516" y="5174"/>
                    </a:lnTo>
                    <a:lnTo>
                      <a:pt x="516" y="4681"/>
                    </a:lnTo>
                    <a:lnTo>
                      <a:pt x="0" y="4681"/>
                    </a:lnTo>
                    <a:lnTo>
                      <a:pt x="0" y="4271"/>
                    </a:lnTo>
                    <a:lnTo>
                      <a:pt x="516" y="4271"/>
                    </a:lnTo>
                    <a:lnTo>
                      <a:pt x="516" y="3285"/>
                    </a:lnTo>
                    <a:lnTo>
                      <a:pt x="947" y="3285"/>
                    </a:lnTo>
                    <a:lnTo>
                      <a:pt x="947" y="4271"/>
                    </a:lnTo>
                    <a:lnTo>
                      <a:pt x="1463" y="4271"/>
                    </a:lnTo>
                    <a:lnTo>
                      <a:pt x="1463" y="3778"/>
                    </a:lnTo>
                    <a:lnTo>
                      <a:pt x="1979" y="3778"/>
                    </a:lnTo>
                    <a:lnTo>
                      <a:pt x="2926" y="4271"/>
                    </a:lnTo>
                    <a:lnTo>
                      <a:pt x="2926" y="2792"/>
                    </a:lnTo>
                    <a:lnTo>
                      <a:pt x="3442" y="2792"/>
                    </a:lnTo>
                    <a:lnTo>
                      <a:pt x="3442" y="3285"/>
                    </a:lnTo>
                    <a:lnTo>
                      <a:pt x="3959" y="3285"/>
                    </a:lnTo>
                    <a:lnTo>
                      <a:pt x="3959" y="4271"/>
                    </a:lnTo>
                    <a:lnTo>
                      <a:pt x="4389" y="4271"/>
                    </a:lnTo>
                    <a:lnTo>
                      <a:pt x="3959" y="4681"/>
                    </a:lnTo>
                    <a:lnTo>
                      <a:pt x="4389" y="4681"/>
                    </a:lnTo>
                    <a:lnTo>
                      <a:pt x="4389" y="5174"/>
                    </a:lnTo>
                    <a:lnTo>
                      <a:pt x="5422" y="5174"/>
                    </a:lnTo>
                    <a:lnTo>
                      <a:pt x="5852" y="7063"/>
                    </a:lnTo>
                    <a:lnTo>
                      <a:pt x="6368" y="7474"/>
                    </a:lnTo>
                    <a:lnTo>
                      <a:pt x="7831" y="7474"/>
                    </a:lnTo>
                    <a:lnTo>
                      <a:pt x="7831" y="7063"/>
                    </a:lnTo>
                    <a:lnTo>
                      <a:pt x="8347" y="7063"/>
                    </a:lnTo>
                    <a:lnTo>
                      <a:pt x="8347" y="7474"/>
                    </a:lnTo>
                    <a:lnTo>
                      <a:pt x="7831" y="7474"/>
                    </a:lnTo>
                    <a:lnTo>
                      <a:pt x="7831" y="7967"/>
                    </a:lnTo>
                    <a:lnTo>
                      <a:pt x="8347" y="7967"/>
                    </a:lnTo>
                    <a:lnTo>
                      <a:pt x="8864" y="7474"/>
                    </a:lnTo>
                    <a:lnTo>
                      <a:pt x="8864" y="7063"/>
                    </a:lnTo>
                    <a:lnTo>
                      <a:pt x="9294" y="7063"/>
                    </a:lnTo>
                    <a:lnTo>
                      <a:pt x="9294" y="6570"/>
                    </a:lnTo>
                    <a:lnTo>
                      <a:pt x="8864" y="6570"/>
                    </a:lnTo>
                    <a:lnTo>
                      <a:pt x="8864" y="6078"/>
                    </a:lnTo>
                    <a:lnTo>
                      <a:pt x="10327" y="6078"/>
                    </a:lnTo>
                    <a:lnTo>
                      <a:pt x="10327" y="5667"/>
                    </a:lnTo>
                    <a:lnTo>
                      <a:pt x="11790" y="5667"/>
                    </a:lnTo>
                    <a:lnTo>
                      <a:pt x="11790" y="5174"/>
                    </a:lnTo>
                    <a:lnTo>
                      <a:pt x="12306" y="4681"/>
                    </a:lnTo>
                    <a:lnTo>
                      <a:pt x="12306" y="4271"/>
                    </a:lnTo>
                    <a:lnTo>
                      <a:pt x="12736" y="4271"/>
                    </a:lnTo>
                    <a:lnTo>
                      <a:pt x="12736" y="3778"/>
                    </a:lnTo>
                    <a:lnTo>
                      <a:pt x="13253" y="3285"/>
                    </a:lnTo>
                    <a:lnTo>
                      <a:pt x="12736" y="2792"/>
                    </a:lnTo>
                    <a:lnTo>
                      <a:pt x="13253" y="2792"/>
                    </a:lnTo>
                    <a:lnTo>
                      <a:pt x="12736" y="2382"/>
                    </a:lnTo>
                    <a:lnTo>
                      <a:pt x="12306" y="3285"/>
                    </a:lnTo>
                    <a:lnTo>
                      <a:pt x="11790" y="2792"/>
                    </a:lnTo>
                    <a:lnTo>
                      <a:pt x="11790" y="3285"/>
                    </a:lnTo>
                    <a:lnTo>
                      <a:pt x="10843" y="3285"/>
                    </a:lnTo>
                    <a:lnTo>
                      <a:pt x="10843" y="2792"/>
                    </a:lnTo>
                    <a:lnTo>
                      <a:pt x="11273" y="2792"/>
                    </a:lnTo>
                    <a:lnTo>
                      <a:pt x="11273" y="1396"/>
                    </a:lnTo>
                    <a:lnTo>
                      <a:pt x="11790" y="1396"/>
                    </a:lnTo>
                    <a:lnTo>
                      <a:pt x="11790" y="986"/>
                    </a:lnTo>
                    <a:lnTo>
                      <a:pt x="12736" y="986"/>
                    </a:lnTo>
                    <a:lnTo>
                      <a:pt x="12736" y="1396"/>
                    </a:lnTo>
                    <a:lnTo>
                      <a:pt x="13253" y="986"/>
                    </a:lnTo>
                    <a:lnTo>
                      <a:pt x="14285" y="986"/>
                    </a:lnTo>
                    <a:lnTo>
                      <a:pt x="14285" y="1396"/>
                    </a:lnTo>
                    <a:lnTo>
                      <a:pt x="15232" y="1396"/>
                    </a:lnTo>
                    <a:lnTo>
                      <a:pt x="15232" y="986"/>
                    </a:lnTo>
                    <a:lnTo>
                      <a:pt x="15748" y="986"/>
                    </a:lnTo>
                    <a:lnTo>
                      <a:pt x="15232" y="493"/>
                    </a:lnTo>
                    <a:lnTo>
                      <a:pt x="15748" y="0"/>
                    </a:lnTo>
                    <a:lnTo>
                      <a:pt x="16265" y="0"/>
                    </a:lnTo>
                    <a:lnTo>
                      <a:pt x="16265" y="493"/>
                    </a:lnTo>
                    <a:lnTo>
                      <a:pt x="15748" y="986"/>
                    </a:lnTo>
                    <a:lnTo>
                      <a:pt x="16265" y="986"/>
                    </a:lnTo>
                    <a:lnTo>
                      <a:pt x="16695" y="1396"/>
                    </a:lnTo>
                    <a:lnTo>
                      <a:pt x="17211" y="1396"/>
                    </a:lnTo>
                    <a:lnTo>
                      <a:pt x="17727" y="986"/>
                    </a:lnTo>
                    <a:lnTo>
                      <a:pt x="17727" y="1889"/>
                    </a:lnTo>
                    <a:lnTo>
                      <a:pt x="18158" y="2382"/>
                    </a:lnTo>
                    <a:lnTo>
                      <a:pt x="18674" y="2382"/>
                    </a:lnTo>
                    <a:lnTo>
                      <a:pt x="18674" y="3285"/>
                    </a:lnTo>
                    <a:lnTo>
                      <a:pt x="19707" y="3285"/>
                    </a:lnTo>
                    <a:lnTo>
                      <a:pt x="19707" y="3778"/>
                    </a:lnTo>
                    <a:lnTo>
                      <a:pt x="19190" y="3778"/>
                    </a:lnTo>
                    <a:lnTo>
                      <a:pt x="19190" y="7063"/>
                    </a:lnTo>
                    <a:lnTo>
                      <a:pt x="19707" y="7063"/>
                    </a:lnTo>
                    <a:lnTo>
                      <a:pt x="19707" y="7474"/>
                    </a:lnTo>
                    <a:lnTo>
                      <a:pt x="21170" y="7474"/>
                    </a:lnTo>
                    <a:lnTo>
                      <a:pt x="21170" y="7063"/>
                    </a:lnTo>
                    <a:lnTo>
                      <a:pt x="21600" y="7063"/>
                    </a:lnTo>
                    <a:lnTo>
                      <a:pt x="21600" y="7967"/>
                    </a:lnTo>
                    <a:lnTo>
                      <a:pt x="21170" y="7474"/>
                    </a:lnTo>
                    <a:lnTo>
                      <a:pt x="20653" y="7967"/>
                    </a:lnTo>
                    <a:lnTo>
                      <a:pt x="20137" y="7967"/>
                    </a:lnTo>
                    <a:lnTo>
                      <a:pt x="20137" y="10348"/>
                    </a:lnTo>
                    <a:lnTo>
                      <a:pt x="20653" y="10759"/>
                    </a:lnTo>
                    <a:lnTo>
                      <a:pt x="20137" y="11252"/>
                    </a:lnTo>
                    <a:lnTo>
                      <a:pt x="20653" y="11252"/>
                    </a:lnTo>
                    <a:lnTo>
                      <a:pt x="20653" y="12237"/>
                    </a:lnTo>
                    <a:lnTo>
                      <a:pt x="20137" y="12648"/>
                    </a:lnTo>
                    <a:lnTo>
                      <a:pt x="19707" y="12237"/>
                    </a:lnTo>
                    <a:lnTo>
                      <a:pt x="19707" y="12648"/>
                    </a:lnTo>
                    <a:lnTo>
                      <a:pt x="19190" y="12648"/>
                    </a:lnTo>
                    <a:lnTo>
                      <a:pt x="19190" y="13141"/>
                    </a:lnTo>
                    <a:lnTo>
                      <a:pt x="18674" y="13141"/>
                    </a:lnTo>
                    <a:lnTo>
                      <a:pt x="18158" y="12648"/>
                    </a:lnTo>
                    <a:lnTo>
                      <a:pt x="17211" y="12648"/>
                    </a:lnTo>
                    <a:lnTo>
                      <a:pt x="17211" y="13141"/>
                    </a:lnTo>
                    <a:lnTo>
                      <a:pt x="17727" y="13141"/>
                    </a:lnTo>
                    <a:lnTo>
                      <a:pt x="17727" y="13633"/>
                    </a:lnTo>
                    <a:lnTo>
                      <a:pt x="18158" y="13633"/>
                    </a:lnTo>
                    <a:lnTo>
                      <a:pt x="17727" y="14537"/>
                    </a:lnTo>
                    <a:lnTo>
                      <a:pt x="18158" y="14537"/>
                    </a:lnTo>
                    <a:lnTo>
                      <a:pt x="18674" y="15030"/>
                    </a:lnTo>
                    <a:lnTo>
                      <a:pt x="18158" y="15522"/>
                    </a:lnTo>
                    <a:lnTo>
                      <a:pt x="17727" y="15522"/>
                    </a:lnTo>
                    <a:lnTo>
                      <a:pt x="17727" y="15933"/>
                    </a:lnTo>
                    <a:lnTo>
                      <a:pt x="17211" y="15933"/>
                    </a:lnTo>
                    <a:lnTo>
                      <a:pt x="17211" y="16426"/>
                    </a:lnTo>
                    <a:lnTo>
                      <a:pt x="16695" y="16426"/>
                    </a:lnTo>
                    <a:lnTo>
                      <a:pt x="16695" y="16919"/>
                    </a:lnTo>
                    <a:lnTo>
                      <a:pt x="16265" y="16919"/>
                    </a:lnTo>
                    <a:lnTo>
                      <a:pt x="16695" y="16919"/>
                    </a:lnTo>
                    <a:lnTo>
                      <a:pt x="16695" y="17329"/>
                    </a:lnTo>
                    <a:lnTo>
                      <a:pt x="18158" y="17329"/>
                    </a:lnTo>
                    <a:lnTo>
                      <a:pt x="18158" y="1872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68" name="Shape 2994"/>
              <p:cNvSpPr/>
              <p:nvPr/>
            </p:nvSpPr>
            <p:spPr>
              <a:xfrm>
                <a:off x="7056316" y="5385945"/>
                <a:ext cx="180534" cy="3379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802" y="21046"/>
                    </a:moveTo>
                    <a:lnTo>
                      <a:pt x="3802" y="21600"/>
                    </a:lnTo>
                    <a:lnTo>
                      <a:pt x="3802" y="21046"/>
                    </a:lnTo>
                    <a:lnTo>
                      <a:pt x="4838" y="21046"/>
                    </a:lnTo>
                    <a:lnTo>
                      <a:pt x="3802" y="20585"/>
                    </a:lnTo>
                    <a:lnTo>
                      <a:pt x="4838" y="20585"/>
                    </a:lnTo>
                    <a:lnTo>
                      <a:pt x="4838" y="21046"/>
                    </a:lnTo>
                    <a:lnTo>
                      <a:pt x="4838" y="20031"/>
                    </a:lnTo>
                    <a:lnTo>
                      <a:pt x="5875" y="20031"/>
                    </a:lnTo>
                    <a:lnTo>
                      <a:pt x="4838" y="20031"/>
                    </a:lnTo>
                    <a:lnTo>
                      <a:pt x="4838" y="19477"/>
                    </a:lnTo>
                    <a:lnTo>
                      <a:pt x="5875" y="19477"/>
                    </a:lnTo>
                    <a:lnTo>
                      <a:pt x="5875" y="21046"/>
                    </a:lnTo>
                    <a:lnTo>
                      <a:pt x="6912" y="21046"/>
                    </a:lnTo>
                    <a:lnTo>
                      <a:pt x="6912" y="20585"/>
                    </a:lnTo>
                    <a:lnTo>
                      <a:pt x="7776" y="20585"/>
                    </a:lnTo>
                    <a:lnTo>
                      <a:pt x="7776" y="21046"/>
                    </a:lnTo>
                    <a:lnTo>
                      <a:pt x="11750" y="21046"/>
                    </a:lnTo>
                    <a:lnTo>
                      <a:pt x="11750" y="20585"/>
                    </a:lnTo>
                    <a:lnTo>
                      <a:pt x="11750" y="21046"/>
                    </a:lnTo>
                    <a:lnTo>
                      <a:pt x="12787" y="21046"/>
                    </a:lnTo>
                    <a:lnTo>
                      <a:pt x="12787" y="20585"/>
                    </a:lnTo>
                    <a:lnTo>
                      <a:pt x="13824" y="20585"/>
                    </a:lnTo>
                    <a:lnTo>
                      <a:pt x="13824" y="21600"/>
                    </a:lnTo>
                    <a:lnTo>
                      <a:pt x="14688" y="21600"/>
                    </a:lnTo>
                    <a:lnTo>
                      <a:pt x="14688" y="20031"/>
                    </a:lnTo>
                    <a:lnTo>
                      <a:pt x="15725" y="20031"/>
                    </a:lnTo>
                    <a:lnTo>
                      <a:pt x="15725" y="21046"/>
                    </a:lnTo>
                    <a:lnTo>
                      <a:pt x="14688" y="21046"/>
                    </a:lnTo>
                    <a:lnTo>
                      <a:pt x="14688" y="21600"/>
                    </a:lnTo>
                    <a:lnTo>
                      <a:pt x="15725" y="21600"/>
                    </a:lnTo>
                    <a:lnTo>
                      <a:pt x="15725" y="20585"/>
                    </a:lnTo>
                    <a:lnTo>
                      <a:pt x="16762" y="20585"/>
                    </a:lnTo>
                    <a:lnTo>
                      <a:pt x="16762" y="21046"/>
                    </a:lnTo>
                    <a:lnTo>
                      <a:pt x="16762" y="20585"/>
                    </a:lnTo>
                    <a:lnTo>
                      <a:pt x="18662" y="20585"/>
                    </a:lnTo>
                    <a:lnTo>
                      <a:pt x="18662" y="20031"/>
                    </a:lnTo>
                    <a:lnTo>
                      <a:pt x="19699" y="20031"/>
                    </a:lnTo>
                    <a:lnTo>
                      <a:pt x="18662" y="20031"/>
                    </a:lnTo>
                    <a:lnTo>
                      <a:pt x="18662" y="19477"/>
                    </a:lnTo>
                    <a:lnTo>
                      <a:pt x="19699" y="20031"/>
                    </a:lnTo>
                    <a:lnTo>
                      <a:pt x="19699" y="19477"/>
                    </a:lnTo>
                    <a:lnTo>
                      <a:pt x="18662" y="19477"/>
                    </a:lnTo>
                    <a:lnTo>
                      <a:pt x="18662" y="17908"/>
                    </a:lnTo>
                    <a:lnTo>
                      <a:pt x="16762" y="17908"/>
                    </a:lnTo>
                    <a:lnTo>
                      <a:pt x="16762" y="17446"/>
                    </a:lnTo>
                    <a:lnTo>
                      <a:pt x="17626" y="17446"/>
                    </a:lnTo>
                    <a:lnTo>
                      <a:pt x="17626" y="16892"/>
                    </a:lnTo>
                    <a:lnTo>
                      <a:pt x="16762" y="16892"/>
                    </a:lnTo>
                    <a:lnTo>
                      <a:pt x="18662" y="16892"/>
                    </a:lnTo>
                    <a:lnTo>
                      <a:pt x="18662" y="17446"/>
                    </a:lnTo>
                    <a:lnTo>
                      <a:pt x="19699" y="17446"/>
                    </a:lnTo>
                    <a:lnTo>
                      <a:pt x="19699" y="17908"/>
                    </a:lnTo>
                    <a:lnTo>
                      <a:pt x="20736" y="17908"/>
                    </a:lnTo>
                    <a:lnTo>
                      <a:pt x="21600" y="17446"/>
                    </a:lnTo>
                    <a:lnTo>
                      <a:pt x="20736" y="15323"/>
                    </a:lnTo>
                    <a:lnTo>
                      <a:pt x="21600" y="13200"/>
                    </a:lnTo>
                    <a:lnTo>
                      <a:pt x="20736" y="12646"/>
                    </a:lnTo>
                    <a:lnTo>
                      <a:pt x="20736" y="10062"/>
                    </a:lnTo>
                    <a:lnTo>
                      <a:pt x="19699" y="10062"/>
                    </a:lnTo>
                    <a:lnTo>
                      <a:pt x="18662" y="9508"/>
                    </a:lnTo>
                    <a:lnTo>
                      <a:pt x="17626" y="9508"/>
                    </a:lnTo>
                    <a:lnTo>
                      <a:pt x="16762" y="8400"/>
                    </a:lnTo>
                    <a:lnTo>
                      <a:pt x="15725" y="9508"/>
                    </a:lnTo>
                    <a:lnTo>
                      <a:pt x="14688" y="8954"/>
                    </a:lnTo>
                    <a:lnTo>
                      <a:pt x="14688" y="6831"/>
                    </a:lnTo>
                    <a:lnTo>
                      <a:pt x="16762" y="6831"/>
                    </a:lnTo>
                    <a:lnTo>
                      <a:pt x="15725" y="6369"/>
                    </a:lnTo>
                    <a:lnTo>
                      <a:pt x="16762" y="6369"/>
                    </a:lnTo>
                    <a:lnTo>
                      <a:pt x="16762" y="5815"/>
                    </a:lnTo>
                    <a:lnTo>
                      <a:pt x="14688" y="4246"/>
                    </a:lnTo>
                    <a:lnTo>
                      <a:pt x="13824" y="3692"/>
                    </a:lnTo>
                    <a:lnTo>
                      <a:pt x="16762" y="2677"/>
                    </a:lnTo>
                    <a:lnTo>
                      <a:pt x="15725" y="2123"/>
                    </a:lnTo>
                    <a:lnTo>
                      <a:pt x="15725" y="1108"/>
                    </a:lnTo>
                    <a:lnTo>
                      <a:pt x="13824" y="0"/>
                    </a:lnTo>
                    <a:lnTo>
                      <a:pt x="12787" y="0"/>
                    </a:lnTo>
                    <a:lnTo>
                      <a:pt x="12787" y="554"/>
                    </a:lnTo>
                    <a:lnTo>
                      <a:pt x="6912" y="554"/>
                    </a:lnTo>
                    <a:lnTo>
                      <a:pt x="6912" y="0"/>
                    </a:lnTo>
                    <a:lnTo>
                      <a:pt x="5875" y="0"/>
                    </a:lnTo>
                    <a:lnTo>
                      <a:pt x="5875" y="554"/>
                    </a:lnTo>
                    <a:lnTo>
                      <a:pt x="6912" y="554"/>
                    </a:lnTo>
                    <a:lnTo>
                      <a:pt x="6912" y="1108"/>
                    </a:lnTo>
                    <a:lnTo>
                      <a:pt x="5875" y="1108"/>
                    </a:lnTo>
                    <a:lnTo>
                      <a:pt x="5875" y="554"/>
                    </a:lnTo>
                    <a:lnTo>
                      <a:pt x="3802" y="554"/>
                    </a:lnTo>
                    <a:lnTo>
                      <a:pt x="3802" y="1108"/>
                    </a:lnTo>
                    <a:lnTo>
                      <a:pt x="2938" y="1108"/>
                    </a:lnTo>
                    <a:lnTo>
                      <a:pt x="3802" y="1569"/>
                    </a:lnTo>
                    <a:lnTo>
                      <a:pt x="3802" y="2123"/>
                    </a:lnTo>
                    <a:lnTo>
                      <a:pt x="4838" y="2123"/>
                    </a:lnTo>
                    <a:lnTo>
                      <a:pt x="3802" y="2677"/>
                    </a:lnTo>
                    <a:lnTo>
                      <a:pt x="4838" y="2677"/>
                    </a:lnTo>
                    <a:lnTo>
                      <a:pt x="4838" y="3692"/>
                    </a:lnTo>
                    <a:lnTo>
                      <a:pt x="6912" y="3692"/>
                    </a:lnTo>
                    <a:lnTo>
                      <a:pt x="6912" y="4246"/>
                    </a:lnTo>
                    <a:lnTo>
                      <a:pt x="5875" y="4246"/>
                    </a:lnTo>
                    <a:lnTo>
                      <a:pt x="5875" y="7938"/>
                    </a:lnTo>
                    <a:lnTo>
                      <a:pt x="6912" y="7938"/>
                    </a:lnTo>
                    <a:lnTo>
                      <a:pt x="6912" y="8400"/>
                    </a:lnTo>
                    <a:lnTo>
                      <a:pt x="9850" y="8400"/>
                    </a:lnTo>
                    <a:lnTo>
                      <a:pt x="9850" y="7938"/>
                    </a:lnTo>
                    <a:lnTo>
                      <a:pt x="10714" y="7938"/>
                    </a:lnTo>
                    <a:lnTo>
                      <a:pt x="10714" y="8954"/>
                    </a:lnTo>
                    <a:lnTo>
                      <a:pt x="9850" y="8400"/>
                    </a:lnTo>
                    <a:lnTo>
                      <a:pt x="8813" y="8954"/>
                    </a:lnTo>
                    <a:lnTo>
                      <a:pt x="7776" y="8954"/>
                    </a:lnTo>
                    <a:lnTo>
                      <a:pt x="7776" y="11631"/>
                    </a:lnTo>
                    <a:lnTo>
                      <a:pt x="8813" y="12092"/>
                    </a:lnTo>
                    <a:lnTo>
                      <a:pt x="7776" y="12646"/>
                    </a:lnTo>
                    <a:lnTo>
                      <a:pt x="8813" y="12646"/>
                    </a:lnTo>
                    <a:lnTo>
                      <a:pt x="8813" y="13754"/>
                    </a:lnTo>
                    <a:lnTo>
                      <a:pt x="7776" y="14215"/>
                    </a:lnTo>
                    <a:lnTo>
                      <a:pt x="6912" y="13754"/>
                    </a:lnTo>
                    <a:lnTo>
                      <a:pt x="6912" y="14215"/>
                    </a:lnTo>
                    <a:lnTo>
                      <a:pt x="5875" y="14215"/>
                    </a:lnTo>
                    <a:lnTo>
                      <a:pt x="5875" y="14769"/>
                    </a:lnTo>
                    <a:lnTo>
                      <a:pt x="4838" y="14769"/>
                    </a:lnTo>
                    <a:lnTo>
                      <a:pt x="3802" y="14215"/>
                    </a:lnTo>
                    <a:lnTo>
                      <a:pt x="1901" y="14215"/>
                    </a:lnTo>
                    <a:lnTo>
                      <a:pt x="1901" y="14769"/>
                    </a:lnTo>
                    <a:lnTo>
                      <a:pt x="2938" y="14769"/>
                    </a:lnTo>
                    <a:lnTo>
                      <a:pt x="2938" y="15323"/>
                    </a:lnTo>
                    <a:lnTo>
                      <a:pt x="3802" y="15323"/>
                    </a:lnTo>
                    <a:lnTo>
                      <a:pt x="2938" y="16338"/>
                    </a:lnTo>
                    <a:lnTo>
                      <a:pt x="3802" y="16338"/>
                    </a:lnTo>
                    <a:lnTo>
                      <a:pt x="4838" y="16892"/>
                    </a:lnTo>
                    <a:lnTo>
                      <a:pt x="3802" y="17446"/>
                    </a:lnTo>
                    <a:lnTo>
                      <a:pt x="2938" y="17446"/>
                    </a:lnTo>
                    <a:lnTo>
                      <a:pt x="2938" y="17908"/>
                    </a:lnTo>
                    <a:lnTo>
                      <a:pt x="1901" y="17908"/>
                    </a:lnTo>
                    <a:lnTo>
                      <a:pt x="1901" y="18462"/>
                    </a:lnTo>
                    <a:lnTo>
                      <a:pt x="864" y="18462"/>
                    </a:lnTo>
                    <a:lnTo>
                      <a:pt x="864" y="19015"/>
                    </a:lnTo>
                    <a:lnTo>
                      <a:pt x="0" y="19015"/>
                    </a:lnTo>
                    <a:lnTo>
                      <a:pt x="864" y="19015"/>
                    </a:lnTo>
                    <a:lnTo>
                      <a:pt x="864" y="19477"/>
                    </a:lnTo>
                    <a:lnTo>
                      <a:pt x="3802" y="19477"/>
                    </a:lnTo>
                    <a:lnTo>
                      <a:pt x="3802" y="2104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69" name="Shape 2995"/>
              <p:cNvSpPr/>
              <p:nvPr/>
            </p:nvSpPr>
            <p:spPr>
              <a:xfrm>
                <a:off x="6676475" y="5674798"/>
                <a:ext cx="147315" cy="982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200" y="0"/>
                    </a:moveTo>
                    <a:lnTo>
                      <a:pt x="10800" y="0"/>
                    </a:lnTo>
                    <a:lnTo>
                      <a:pt x="10800" y="1906"/>
                    </a:lnTo>
                    <a:lnTo>
                      <a:pt x="12071" y="1906"/>
                    </a:lnTo>
                    <a:lnTo>
                      <a:pt x="12071" y="5400"/>
                    </a:lnTo>
                    <a:lnTo>
                      <a:pt x="14400" y="5400"/>
                    </a:lnTo>
                    <a:lnTo>
                      <a:pt x="14400" y="7306"/>
                    </a:lnTo>
                    <a:lnTo>
                      <a:pt x="16941" y="7306"/>
                    </a:lnTo>
                    <a:lnTo>
                      <a:pt x="16941" y="5400"/>
                    </a:lnTo>
                    <a:lnTo>
                      <a:pt x="18000" y="7306"/>
                    </a:lnTo>
                    <a:lnTo>
                      <a:pt x="18000" y="5400"/>
                    </a:lnTo>
                    <a:lnTo>
                      <a:pt x="19271" y="5400"/>
                    </a:lnTo>
                    <a:lnTo>
                      <a:pt x="19271" y="7306"/>
                    </a:lnTo>
                    <a:lnTo>
                      <a:pt x="20541" y="8894"/>
                    </a:lnTo>
                    <a:lnTo>
                      <a:pt x="20541" y="10800"/>
                    </a:lnTo>
                    <a:lnTo>
                      <a:pt x="21600" y="10800"/>
                    </a:lnTo>
                    <a:lnTo>
                      <a:pt x="20541" y="10800"/>
                    </a:lnTo>
                    <a:lnTo>
                      <a:pt x="20541" y="12706"/>
                    </a:lnTo>
                    <a:lnTo>
                      <a:pt x="19271" y="14612"/>
                    </a:lnTo>
                    <a:lnTo>
                      <a:pt x="19271" y="16200"/>
                    </a:lnTo>
                    <a:lnTo>
                      <a:pt x="20541" y="16200"/>
                    </a:lnTo>
                    <a:lnTo>
                      <a:pt x="20541" y="18106"/>
                    </a:lnTo>
                    <a:lnTo>
                      <a:pt x="19271" y="18106"/>
                    </a:lnTo>
                    <a:lnTo>
                      <a:pt x="19271" y="20012"/>
                    </a:lnTo>
                    <a:lnTo>
                      <a:pt x="16941" y="20012"/>
                    </a:lnTo>
                    <a:lnTo>
                      <a:pt x="16941" y="18106"/>
                    </a:lnTo>
                    <a:lnTo>
                      <a:pt x="14400" y="18106"/>
                    </a:lnTo>
                    <a:lnTo>
                      <a:pt x="14400" y="20012"/>
                    </a:lnTo>
                    <a:lnTo>
                      <a:pt x="13129" y="20012"/>
                    </a:lnTo>
                    <a:lnTo>
                      <a:pt x="14400" y="20012"/>
                    </a:lnTo>
                    <a:lnTo>
                      <a:pt x="13129" y="20012"/>
                    </a:lnTo>
                    <a:lnTo>
                      <a:pt x="13129" y="18106"/>
                    </a:lnTo>
                    <a:lnTo>
                      <a:pt x="10800" y="18106"/>
                    </a:lnTo>
                    <a:lnTo>
                      <a:pt x="10800" y="20012"/>
                    </a:lnTo>
                    <a:lnTo>
                      <a:pt x="8471" y="20012"/>
                    </a:lnTo>
                    <a:lnTo>
                      <a:pt x="8471" y="21600"/>
                    </a:lnTo>
                    <a:lnTo>
                      <a:pt x="7200" y="21600"/>
                    </a:lnTo>
                    <a:lnTo>
                      <a:pt x="7200" y="20012"/>
                    </a:lnTo>
                    <a:lnTo>
                      <a:pt x="4659" y="20012"/>
                    </a:lnTo>
                    <a:lnTo>
                      <a:pt x="4659" y="16200"/>
                    </a:lnTo>
                    <a:lnTo>
                      <a:pt x="3600" y="14612"/>
                    </a:lnTo>
                    <a:lnTo>
                      <a:pt x="4659" y="14612"/>
                    </a:lnTo>
                    <a:lnTo>
                      <a:pt x="3600" y="12706"/>
                    </a:lnTo>
                    <a:lnTo>
                      <a:pt x="3600" y="10800"/>
                    </a:lnTo>
                    <a:lnTo>
                      <a:pt x="1059" y="10800"/>
                    </a:lnTo>
                    <a:lnTo>
                      <a:pt x="1059" y="7306"/>
                    </a:lnTo>
                    <a:lnTo>
                      <a:pt x="0" y="7306"/>
                    </a:lnTo>
                    <a:lnTo>
                      <a:pt x="0" y="5400"/>
                    </a:lnTo>
                    <a:lnTo>
                      <a:pt x="1059" y="5400"/>
                    </a:lnTo>
                    <a:lnTo>
                      <a:pt x="1059" y="3494"/>
                    </a:lnTo>
                    <a:lnTo>
                      <a:pt x="2329" y="3494"/>
                    </a:lnTo>
                    <a:lnTo>
                      <a:pt x="2329" y="1906"/>
                    </a:lnTo>
                    <a:lnTo>
                      <a:pt x="3600" y="1906"/>
                    </a:lnTo>
                    <a:lnTo>
                      <a:pt x="3600" y="0"/>
                    </a:lnTo>
                    <a:lnTo>
                      <a:pt x="4659" y="1906"/>
                    </a:lnTo>
                    <a:lnTo>
                      <a:pt x="5929" y="1906"/>
                    </a:lnTo>
                    <a:lnTo>
                      <a:pt x="5929" y="0"/>
                    </a:lnTo>
                    <a:lnTo>
                      <a:pt x="72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70" name="Shape 2996"/>
              <p:cNvSpPr/>
              <p:nvPr/>
            </p:nvSpPr>
            <p:spPr>
              <a:xfrm>
                <a:off x="6701028" y="5443715"/>
                <a:ext cx="255635" cy="32929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837" y="21126"/>
                    </a:moveTo>
                    <a:lnTo>
                      <a:pt x="11837" y="20558"/>
                    </a:lnTo>
                    <a:lnTo>
                      <a:pt x="12569" y="19989"/>
                    </a:lnTo>
                    <a:lnTo>
                      <a:pt x="11837" y="19989"/>
                    </a:lnTo>
                    <a:lnTo>
                      <a:pt x="11105" y="19516"/>
                    </a:lnTo>
                    <a:lnTo>
                      <a:pt x="10373" y="19516"/>
                    </a:lnTo>
                    <a:lnTo>
                      <a:pt x="10373" y="18947"/>
                    </a:lnTo>
                    <a:lnTo>
                      <a:pt x="9763" y="18947"/>
                    </a:lnTo>
                    <a:lnTo>
                      <a:pt x="9763" y="18379"/>
                    </a:lnTo>
                    <a:lnTo>
                      <a:pt x="10373" y="18379"/>
                    </a:lnTo>
                    <a:lnTo>
                      <a:pt x="9763" y="18379"/>
                    </a:lnTo>
                    <a:lnTo>
                      <a:pt x="9763" y="17811"/>
                    </a:lnTo>
                    <a:lnTo>
                      <a:pt x="9031" y="17337"/>
                    </a:lnTo>
                    <a:lnTo>
                      <a:pt x="9031" y="16768"/>
                    </a:lnTo>
                    <a:lnTo>
                      <a:pt x="8298" y="16768"/>
                    </a:lnTo>
                    <a:lnTo>
                      <a:pt x="8298" y="17337"/>
                    </a:lnTo>
                    <a:lnTo>
                      <a:pt x="7688" y="16768"/>
                    </a:lnTo>
                    <a:lnTo>
                      <a:pt x="7688" y="17337"/>
                    </a:lnTo>
                    <a:lnTo>
                      <a:pt x="6224" y="17337"/>
                    </a:lnTo>
                    <a:lnTo>
                      <a:pt x="6224" y="16768"/>
                    </a:lnTo>
                    <a:lnTo>
                      <a:pt x="4881" y="16768"/>
                    </a:lnTo>
                    <a:lnTo>
                      <a:pt x="4881" y="15726"/>
                    </a:lnTo>
                    <a:lnTo>
                      <a:pt x="5492" y="15726"/>
                    </a:lnTo>
                    <a:lnTo>
                      <a:pt x="4149" y="15726"/>
                    </a:lnTo>
                    <a:lnTo>
                      <a:pt x="4149" y="15158"/>
                    </a:lnTo>
                    <a:lnTo>
                      <a:pt x="2075" y="15158"/>
                    </a:lnTo>
                    <a:lnTo>
                      <a:pt x="2075" y="13547"/>
                    </a:lnTo>
                    <a:lnTo>
                      <a:pt x="1342" y="13547"/>
                    </a:lnTo>
                    <a:lnTo>
                      <a:pt x="1342" y="12411"/>
                    </a:lnTo>
                    <a:lnTo>
                      <a:pt x="4149" y="12411"/>
                    </a:lnTo>
                    <a:lnTo>
                      <a:pt x="3417" y="11937"/>
                    </a:lnTo>
                    <a:lnTo>
                      <a:pt x="4149" y="11937"/>
                    </a:lnTo>
                    <a:lnTo>
                      <a:pt x="4149" y="11368"/>
                    </a:lnTo>
                    <a:lnTo>
                      <a:pt x="3417" y="11368"/>
                    </a:lnTo>
                    <a:lnTo>
                      <a:pt x="3417" y="11937"/>
                    </a:lnTo>
                    <a:lnTo>
                      <a:pt x="2807" y="11368"/>
                    </a:lnTo>
                    <a:lnTo>
                      <a:pt x="2807" y="11937"/>
                    </a:lnTo>
                    <a:lnTo>
                      <a:pt x="2807" y="11368"/>
                    </a:lnTo>
                    <a:lnTo>
                      <a:pt x="2075" y="11368"/>
                    </a:lnTo>
                    <a:lnTo>
                      <a:pt x="2075" y="10800"/>
                    </a:lnTo>
                    <a:lnTo>
                      <a:pt x="1342" y="10800"/>
                    </a:lnTo>
                    <a:lnTo>
                      <a:pt x="1342" y="10326"/>
                    </a:lnTo>
                    <a:lnTo>
                      <a:pt x="610" y="10326"/>
                    </a:lnTo>
                    <a:lnTo>
                      <a:pt x="610" y="9758"/>
                    </a:lnTo>
                    <a:lnTo>
                      <a:pt x="1342" y="9758"/>
                    </a:lnTo>
                    <a:lnTo>
                      <a:pt x="1342" y="9189"/>
                    </a:lnTo>
                    <a:lnTo>
                      <a:pt x="0" y="9189"/>
                    </a:lnTo>
                    <a:lnTo>
                      <a:pt x="0" y="7011"/>
                    </a:lnTo>
                    <a:lnTo>
                      <a:pt x="1342" y="7011"/>
                    </a:lnTo>
                    <a:lnTo>
                      <a:pt x="1342" y="6537"/>
                    </a:lnTo>
                    <a:lnTo>
                      <a:pt x="2075" y="6537"/>
                    </a:lnTo>
                    <a:lnTo>
                      <a:pt x="2075" y="5968"/>
                    </a:lnTo>
                    <a:lnTo>
                      <a:pt x="1342" y="5968"/>
                    </a:lnTo>
                    <a:lnTo>
                      <a:pt x="1342" y="4832"/>
                    </a:lnTo>
                    <a:lnTo>
                      <a:pt x="2075" y="4358"/>
                    </a:lnTo>
                    <a:lnTo>
                      <a:pt x="1342" y="4358"/>
                    </a:lnTo>
                    <a:lnTo>
                      <a:pt x="2075" y="4358"/>
                    </a:lnTo>
                    <a:lnTo>
                      <a:pt x="1342" y="3789"/>
                    </a:lnTo>
                    <a:lnTo>
                      <a:pt x="1342" y="4358"/>
                    </a:lnTo>
                    <a:lnTo>
                      <a:pt x="610" y="3789"/>
                    </a:lnTo>
                    <a:lnTo>
                      <a:pt x="610" y="2747"/>
                    </a:lnTo>
                    <a:lnTo>
                      <a:pt x="1342" y="2747"/>
                    </a:lnTo>
                    <a:lnTo>
                      <a:pt x="1342" y="2179"/>
                    </a:lnTo>
                    <a:lnTo>
                      <a:pt x="610" y="2179"/>
                    </a:lnTo>
                    <a:lnTo>
                      <a:pt x="1342" y="1611"/>
                    </a:lnTo>
                    <a:lnTo>
                      <a:pt x="610" y="1611"/>
                    </a:lnTo>
                    <a:lnTo>
                      <a:pt x="1342" y="1137"/>
                    </a:lnTo>
                    <a:lnTo>
                      <a:pt x="1342" y="568"/>
                    </a:lnTo>
                    <a:lnTo>
                      <a:pt x="2075" y="568"/>
                    </a:lnTo>
                    <a:lnTo>
                      <a:pt x="2075" y="1137"/>
                    </a:lnTo>
                    <a:lnTo>
                      <a:pt x="2807" y="1137"/>
                    </a:lnTo>
                    <a:lnTo>
                      <a:pt x="2807" y="1611"/>
                    </a:lnTo>
                    <a:lnTo>
                      <a:pt x="3417" y="1611"/>
                    </a:lnTo>
                    <a:lnTo>
                      <a:pt x="3417" y="1137"/>
                    </a:lnTo>
                    <a:lnTo>
                      <a:pt x="4149" y="1137"/>
                    </a:lnTo>
                    <a:lnTo>
                      <a:pt x="4149" y="1611"/>
                    </a:lnTo>
                    <a:lnTo>
                      <a:pt x="4149" y="0"/>
                    </a:lnTo>
                    <a:lnTo>
                      <a:pt x="4881" y="568"/>
                    </a:lnTo>
                    <a:lnTo>
                      <a:pt x="6224" y="568"/>
                    </a:lnTo>
                    <a:lnTo>
                      <a:pt x="6224" y="1137"/>
                    </a:lnTo>
                    <a:lnTo>
                      <a:pt x="6956" y="1137"/>
                    </a:lnTo>
                    <a:lnTo>
                      <a:pt x="6956" y="1611"/>
                    </a:lnTo>
                    <a:lnTo>
                      <a:pt x="7688" y="1611"/>
                    </a:lnTo>
                    <a:lnTo>
                      <a:pt x="7688" y="2179"/>
                    </a:lnTo>
                    <a:lnTo>
                      <a:pt x="8298" y="2179"/>
                    </a:lnTo>
                    <a:lnTo>
                      <a:pt x="8298" y="2747"/>
                    </a:lnTo>
                    <a:lnTo>
                      <a:pt x="9031" y="2747"/>
                    </a:lnTo>
                    <a:lnTo>
                      <a:pt x="9031" y="2179"/>
                    </a:lnTo>
                    <a:lnTo>
                      <a:pt x="10373" y="2179"/>
                    </a:lnTo>
                    <a:lnTo>
                      <a:pt x="10373" y="2747"/>
                    </a:lnTo>
                    <a:lnTo>
                      <a:pt x="9763" y="2747"/>
                    </a:lnTo>
                    <a:lnTo>
                      <a:pt x="9763" y="3221"/>
                    </a:lnTo>
                    <a:lnTo>
                      <a:pt x="13912" y="3221"/>
                    </a:lnTo>
                    <a:lnTo>
                      <a:pt x="13912" y="4358"/>
                    </a:lnTo>
                    <a:lnTo>
                      <a:pt x="14644" y="4358"/>
                    </a:lnTo>
                    <a:lnTo>
                      <a:pt x="14644" y="4832"/>
                    </a:lnTo>
                    <a:lnTo>
                      <a:pt x="15254" y="4832"/>
                    </a:lnTo>
                    <a:lnTo>
                      <a:pt x="14644" y="5400"/>
                    </a:lnTo>
                    <a:lnTo>
                      <a:pt x="15254" y="5400"/>
                    </a:lnTo>
                    <a:lnTo>
                      <a:pt x="15254" y="5968"/>
                    </a:lnTo>
                    <a:lnTo>
                      <a:pt x="15986" y="5968"/>
                    </a:lnTo>
                    <a:lnTo>
                      <a:pt x="15986" y="6537"/>
                    </a:lnTo>
                    <a:lnTo>
                      <a:pt x="16719" y="6537"/>
                    </a:lnTo>
                    <a:lnTo>
                      <a:pt x="16719" y="7011"/>
                    </a:lnTo>
                    <a:lnTo>
                      <a:pt x="17451" y="7011"/>
                    </a:lnTo>
                    <a:lnTo>
                      <a:pt x="17451" y="10326"/>
                    </a:lnTo>
                    <a:lnTo>
                      <a:pt x="18061" y="10326"/>
                    </a:lnTo>
                    <a:lnTo>
                      <a:pt x="18061" y="10800"/>
                    </a:lnTo>
                    <a:lnTo>
                      <a:pt x="18793" y="11368"/>
                    </a:lnTo>
                    <a:lnTo>
                      <a:pt x="18793" y="11937"/>
                    </a:lnTo>
                    <a:lnTo>
                      <a:pt x="19525" y="11937"/>
                    </a:lnTo>
                    <a:lnTo>
                      <a:pt x="19525" y="12411"/>
                    </a:lnTo>
                    <a:lnTo>
                      <a:pt x="20136" y="12979"/>
                    </a:lnTo>
                    <a:lnTo>
                      <a:pt x="20136" y="13547"/>
                    </a:lnTo>
                    <a:lnTo>
                      <a:pt x="20868" y="13547"/>
                    </a:lnTo>
                    <a:lnTo>
                      <a:pt x="20868" y="14589"/>
                    </a:lnTo>
                    <a:lnTo>
                      <a:pt x="21600" y="14589"/>
                    </a:lnTo>
                    <a:lnTo>
                      <a:pt x="21600" y="16200"/>
                    </a:lnTo>
                    <a:lnTo>
                      <a:pt x="20868" y="16200"/>
                    </a:lnTo>
                    <a:lnTo>
                      <a:pt x="20868" y="17337"/>
                    </a:lnTo>
                    <a:lnTo>
                      <a:pt x="17451" y="17337"/>
                    </a:lnTo>
                    <a:lnTo>
                      <a:pt x="17451" y="17811"/>
                    </a:lnTo>
                    <a:lnTo>
                      <a:pt x="18061" y="17811"/>
                    </a:lnTo>
                    <a:lnTo>
                      <a:pt x="18061" y="18379"/>
                    </a:lnTo>
                    <a:lnTo>
                      <a:pt x="17451" y="18947"/>
                    </a:lnTo>
                    <a:lnTo>
                      <a:pt x="15254" y="18947"/>
                    </a:lnTo>
                    <a:lnTo>
                      <a:pt x="15986" y="19516"/>
                    </a:lnTo>
                    <a:lnTo>
                      <a:pt x="16719" y="19516"/>
                    </a:lnTo>
                    <a:lnTo>
                      <a:pt x="17451" y="19989"/>
                    </a:lnTo>
                    <a:lnTo>
                      <a:pt x="16719" y="19989"/>
                    </a:lnTo>
                    <a:lnTo>
                      <a:pt x="16719" y="21126"/>
                    </a:lnTo>
                    <a:lnTo>
                      <a:pt x="15986" y="20558"/>
                    </a:lnTo>
                    <a:lnTo>
                      <a:pt x="15986" y="21600"/>
                    </a:lnTo>
                    <a:lnTo>
                      <a:pt x="14644" y="21126"/>
                    </a:lnTo>
                    <a:lnTo>
                      <a:pt x="14644" y="20558"/>
                    </a:lnTo>
                    <a:lnTo>
                      <a:pt x="13912" y="19989"/>
                    </a:lnTo>
                    <a:lnTo>
                      <a:pt x="13912" y="20558"/>
                    </a:lnTo>
                    <a:lnTo>
                      <a:pt x="13180" y="21126"/>
                    </a:lnTo>
                    <a:lnTo>
                      <a:pt x="11837" y="2112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71" name="Shape 2997"/>
              <p:cNvSpPr/>
              <p:nvPr/>
            </p:nvSpPr>
            <p:spPr>
              <a:xfrm>
                <a:off x="6783350" y="5757121"/>
                <a:ext cx="49106" cy="9099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612" y="21600"/>
                    </a:moveTo>
                    <a:lnTo>
                      <a:pt x="6988" y="21600"/>
                    </a:lnTo>
                    <a:lnTo>
                      <a:pt x="6988" y="19543"/>
                    </a:lnTo>
                    <a:lnTo>
                      <a:pt x="3812" y="19543"/>
                    </a:lnTo>
                    <a:lnTo>
                      <a:pt x="3812" y="21600"/>
                    </a:lnTo>
                    <a:lnTo>
                      <a:pt x="0" y="21600"/>
                    </a:lnTo>
                    <a:lnTo>
                      <a:pt x="0" y="19543"/>
                    </a:lnTo>
                    <a:lnTo>
                      <a:pt x="3812" y="19543"/>
                    </a:lnTo>
                    <a:lnTo>
                      <a:pt x="3812" y="17486"/>
                    </a:lnTo>
                    <a:lnTo>
                      <a:pt x="0" y="17486"/>
                    </a:lnTo>
                    <a:lnTo>
                      <a:pt x="0" y="15771"/>
                    </a:lnTo>
                    <a:lnTo>
                      <a:pt x="3812" y="15771"/>
                    </a:lnTo>
                    <a:lnTo>
                      <a:pt x="3812" y="13714"/>
                    </a:lnTo>
                    <a:lnTo>
                      <a:pt x="3812" y="15771"/>
                    </a:lnTo>
                    <a:lnTo>
                      <a:pt x="6988" y="15771"/>
                    </a:lnTo>
                    <a:lnTo>
                      <a:pt x="6988" y="17486"/>
                    </a:lnTo>
                    <a:lnTo>
                      <a:pt x="10800" y="15771"/>
                    </a:lnTo>
                    <a:lnTo>
                      <a:pt x="10800" y="17486"/>
                    </a:lnTo>
                    <a:lnTo>
                      <a:pt x="10800" y="15771"/>
                    </a:lnTo>
                    <a:lnTo>
                      <a:pt x="14612" y="15771"/>
                    </a:lnTo>
                    <a:lnTo>
                      <a:pt x="14612" y="9943"/>
                    </a:lnTo>
                    <a:lnTo>
                      <a:pt x="10800" y="9943"/>
                    </a:lnTo>
                    <a:lnTo>
                      <a:pt x="10800" y="7886"/>
                    </a:lnTo>
                    <a:lnTo>
                      <a:pt x="6988" y="7886"/>
                    </a:lnTo>
                    <a:lnTo>
                      <a:pt x="14612" y="3771"/>
                    </a:lnTo>
                    <a:lnTo>
                      <a:pt x="10800" y="3771"/>
                    </a:lnTo>
                    <a:lnTo>
                      <a:pt x="10800" y="2057"/>
                    </a:lnTo>
                    <a:lnTo>
                      <a:pt x="14612" y="2057"/>
                    </a:lnTo>
                    <a:lnTo>
                      <a:pt x="14612" y="0"/>
                    </a:lnTo>
                    <a:lnTo>
                      <a:pt x="17788" y="0"/>
                    </a:lnTo>
                    <a:lnTo>
                      <a:pt x="17788" y="2057"/>
                    </a:lnTo>
                    <a:lnTo>
                      <a:pt x="21600" y="2057"/>
                    </a:lnTo>
                    <a:lnTo>
                      <a:pt x="21600" y="15771"/>
                    </a:lnTo>
                    <a:lnTo>
                      <a:pt x="17788" y="15771"/>
                    </a:lnTo>
                    <a:lnTo>
                      <a:pt x="17788" y="19543"/>
                    </a:lnTo>
                    <a:lnTo>
                      <a:pt x="14612" y="19543"/>
                    </a:lnTo>
                    <a:lnTo>
                      <a:pt x="14612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72" name="Shape 2998"/>
              <p:cNvSpPr/>
              <p:nvPr/>
            </p:nvSpPr>
            <p:spPr>
              <a:xfrm>
                <a:off x="6816568" y="5690685"/>
                <a:ext cx="206531" cy="37984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610" y="4271"/>
                    </a:moveTo>
                    <a:lnTo>
                      <a:pt x="8610" y="3285"/>
                    </a:lnTo>
                    <a:lnTo>
                      <a:pt x="9516" y="3285"/>
                    </a:lnTo>
                    <a:lnTo>
                      <a:pt x="8610" y="2875"/>
                    </a:lnTo>
                    <a:lnTo>
                      <a:pt x="7703" y="2875"/>
                    </a:lnTo>
                    <a:lnTo>
                      <a:pt x="6797" y="2382"/>
                    </a:lnTo>
                    <a:lnTo>
                      <a:pt x="9516" y="2382"/>
                    </a:lnTo>
                    <a:lnTo>
                      <a:pt x="10271" y="1889"/>
                    </a:lnTo>
                    <a:lnTo>
                      <a:pt x="10271" y="1396"/>
                    </a:lnTo>
                    <a:lnTo>
                      <a:pt x="9516" y="1396"/>
                    </a:lnTo>
                    <a:lnTo>
                      <a:pt x="9516" y="986"/>
                    </a:lnTo>
                    <a:lnTo>
                      <a:pt x="13745" y="986"/>
                    </a:lnTo>
                    <a:lnTo>
                      <a:pt x="13745" y="0"/>
                    </a:lnTo>
                    <a:lnTo>
                      <a:pt x="15558" y="0"/>
                    </a:lnTo>
                    <a:lnTo>
                      <a:pt x="15558" y="493"/>
                    </a:lnTo>
                    <a:lnTo>
                      <a:pt x="16313" y="493"/>
                    </a:lnTo>
                    <a:lnTo>
                      <a:pt x="16313" y="986"/>
                    </a:lnTo>
                    <a:lnTo>
                      <a:pt x="17220" y="986"/>
                    </a:lnTo>
                    <a:lnTo>
                      <a:pt x="18126" y="1396"/>
                    </a:lnTo>
                    <a:lnTo>
                      <a:pt x="18881" y="1396"/>
                    </a:lnTo>
                    <a:lnTo>
                      <a:pt x="18881" y="1889"/>
                    </a:lnTo>
                    <a:lnTo>
                      <a:pt x="19787" y="1889"/>
                    </a:lnTo>
                    <a:lnTo>
                      <a:pt x="19787" y="2875"/>
                    </a:lnTo>
                    <a:lnTo>
                      <a:pt x="20694" y="2875"/>
                    </a:lnTo>
                    <a:lnTo>
                      <a:pt x="20694" y="3285"/>
                    </a:lnTo>
                    <a:lnTo>
                      <a:pt x="20694" y="2875"/>
                    </a:lnTo>
                    <a:lnTo>
                      <a:pt x="20694" y="3285"/>
                    </a:lnTo>
                    <a:lnTo>
                      <a:pt x="21600" y="3285"/>
                    </a:lnTo>
                    <a:lnTo>
                      <a:pt x="20694" y="3778"/>
                    </a:lnTo>
                    <a:lnTo>
                      <a:pt x="19787" y="3778"/>
                    </a:lnTo>
                    <a:lnTo>
                      <a:pt x="19787" y="4271"/>
                    </a:lnTo>
                    <a:lnTo>
                      <a:pt x="19787" y="3778"/>
                    </a:lnTo>
                    <a:lnTo>
                      <a:pt x="19787" y="4271"/>
                    </a:lnTo>
                    <a:lnTo>
                      <a:pt x="18881" y="4271"/>
                    </a:lnTo>
                    <a:lnTo>
                      <a:pt x="19787" y="4271"/>
                    </a:lnTo>
                    <a:lnTo>
                      <a:pt x="18881" y="4271"/>
                    </a:lnTo>
                    <a:lnTo>
                      <a:pt x="18881" y="4681"/>
                    </a:lnTo>
                    <a:lnTo>
                      <a:pt x="18881" y="4271"/>
                    </a:lnTo>
                    <a:lnTo>
                      <a:pt x="18126" y="4271"/>
                    </a:lnTo>
                    <a:lnTo>
                      <a:pt x="18126" y="4681"/>
                    </a:lnTo>
                    <a:lnTo>
                      <a:pt x="18881" y="4681"/>
                    </a:lnTo>
                    <a:lnTo>
                      <a:pt x="18881" y="5174"/>
                    </a:lnTo>
                    <a:lnTo>
                      <a:pt x="19787" y="5174"/>
                    </a:lnTo>
                    <a:lnTo>
                      <a:pt x="19787" y="5667"/>
                    </a:lnTo>
                    <a:lnTo>
                      <a:pt x="18881" y="6160"/>
                    </a:lnTo>
                    <a:lnTo>
                      <a:pt x="18881" y="6570"/>
                    </a:lnTo>
                    <a:lnTo>
                      <a:pt x="19787" y="6570"/>
                    </a:lnTo>
                    <a:lnTo>
                      <a:pt x="19787" y="8952"/>
                    </a:lnTo>
                    <a:lnTo>
                      <a:pt x="18881" y="8952"/>
                    </a:lnTo>
                    <a:lnTo>
                      <a:pt x="19787" y="8952"/>
                    </a:lnTo>
                    <a:lnTo>
                      <a:pt x="18881" y="9445"/>
                    </a:lnTo>
                    <a:lnTo>
                      <a:pt x="18126" y="9445"/>
                    </a:lnTo>
                    <a:lnTo>
                      <a:pt x="18126" y="9856"/>
                    </a:lnTo>
                    <a:lnTo>
                      <a:pt x="17220" y="9856"/>
                    </a:lnTo>
                    <a:lnTo>
                      <a:pt x="18126" y="9856"/>
                    </a:lnTo>
                    <a:lnTo>
                      <a:pt x="18126" y="10348"/>
                    </a:lnTo>
                    <a:lnTo>
                      <a:pt x="17220" y="10348"/>
                    </a:lnTo>
                    <a:lnTo>
                      <a:pt x="18126" y="10348"/>
                    </a:lnTo>
                    <a:lnTo>
                      <a:pt x="18126" y="9856"/>
                    </a:lnTo>
                    <a:lnTo>
                      <a:pt x="18881" y="9856"/>
                    </a:lnTo>
                    <a:lnTo>
                      <a:pt x="18881" y="9445"/>
                    </a:lnTo>
                    <a:lnTo>
                      <a:pt x="19787" y="9445"/>
                    </a:lnTo>
                    <a:lnTo>
                      <a:pt x="19787" y="8952"/>
                    </a:lnTo>
                    <a:lnTo>
                      <a:pt x="20694" y="8952"/>
                    </a:lnTo>
                    <a:lnTo>
                      <a:pt x="20694" y="9445"/>
                    </a:lnTo>
                    <a:lnTo>
                      <a:pt x="20694" y="8952"/>
                    </a:lnTo>
                    <a:lnTo>
                      <a:pt x="20694" y="9445"/>
                    </a:lnTo>
                    <a:lnTo>
                      <a:pt x="19787" y="9445"/>
                    </a:lnTo>
                    <a:lnTo>
                      <a:pt x="19787" y="9856"/>
                    </a:lnTo>
                    <a:lnTo>
                      <a:pt x="18881" y="9856"/>
                    </a:lnTo>
                    <a:lnTo>
                      <a:pt x="18126" y="10348"/>
                    </a:lnTo>
                    <a:lnTo>
                      <a:pt x="18126" y="10841"/>
                    </a:lnTo>
                    <a:lnTo>
                      <a:pt x="17220" y="10841"/>
                    </a:lnTo>
                    <a:lnTo>
                      <a:pt x="17220" y="11744"/>
                    </a:lnTo>
                    <a:lnTo>
                      <a:pt x="16313" y="11744"/>
                    </a:lnTo>
                    <a:lnTo>
                      <a:pt x="16313" y="12237"/>
                    </a:lnTo>
                    <a:lnTo>
                      <a:pt x="15558" y="12237"/>
                    </a:lnTo>
                    <a:lnTo>
                      <a:pt x="15558" y="13633"/>
                    </a:lnTo>
                    <a:lnTo>
                      <a:pt x="16313" y="13633"/>
                    </a:lnTo>
                    <a:lnTo>
                      <a:pt x="15558" y="14126"/>
                    </a:lnTo>
                    <a:lnTo>
                      <a:pt x="15558" y="16919"/>
                    </a:lnTo>
                    <a:lnTo>
                      <a:pt x="16313" y="16919"/>
                    </a:lnTo>
                    <a:lnTo>
                      <a:pt x="16313" y="18808"/>
                    </a:lnTo>
                    <a:lnTo>
                      <a:pt x="15558" y="18808"/>
                    </a:lnTo>
                    <a:lnTo>
                      <a:pt x="15558" y="19218"/>
                    </a:lnTo>
                    <a:lnTo>
                      <a:pt x="16313" y="19711"/>
                    </a:lnTo>
                    <a:lnTo>
                      <a:pt x="16313" y="20204"/>
                    </a:lnTo>
                    <a:lnTo>
                      <a:pt x="17220" y="20697"/>
                    </a:lnTo>
                    <a:lnTo>
                      <a:pt x="16313" y="20204"/>
                    </a:lnTo>
                    <a:lnTo>
                      <a:pt x="16313" y="20697"/>
                    </a:lnTo>
                    <a:lnTo>
                      <a:pt x="14652" y="20697"/>
                    </a:lnTo>
                    <a:lnTo>
                      <a:pt x="14652" y="21107"/>
                    </a:lnTo>
                    <a:lnTo>
                      <a:pt x="12084" y="21107"/>
                    </a:lnTo>
                    <a:lnTo>
                      <a:pt x="12084" y="20697"/>
                    </a:lnTo>
                    <a:lnTo>
                      <a:pt x="11178" y="20697"/>
                    </a:lnTo>
                    <a:lnTo>
                      <a:pt x="11178" y="21107"/>
                    </a:lnTo>
                    <a:lnTo>
                      <a:pt x="9516" y="21107"/>
                    </a:lnTo>
                    <a:lnTo>
                      <a:pt x="9516" y="21600"/>
                    </a:lnTo>
                    <a:lnTo>
                      <a:pt x="7703" y="21600"/>
                    </a:lnTo>
                    <a:lnTo>
                      <a:pt x="7703" y="21107"/>
                    </a:lnTo>
                    <a:lnTo>
                      <a:pt x="6797" y="21107"/>
                    </a:lnTo>
                    <a:lnTo>
                      <a:pt x="6797" y="20697"/>
                    </a:lnTo>
                    <a:lnTo>
                      <a:pt x="6042" y="20697"/>
                    </a:lnTo>
                    <a:lnTo>
                      <a:pt x="6042" y="18315"/>
                    </a:lnTo>
                    <a:lnTo>
                      <a:pt x="5136" y="18315"/>
                    </a:lnTo>
                    <a:lnTo>
                      <a:pt x="5136" y="16426"/>
                    </a:lnTo>
                    <a:lnTo>
                      <a:pt x="3474" y="16426"/>
                    </a:lnTo>
                    <a:lnTo>
                      <a:pt x="3474" y="15933"/>
                    </a:lnTo>
                    <a:lnTo>
                      <a:pt x="4229" y="15933"/>
                    </a:lnTo>
                    <a:lnTo>
                      <a:pt x="3474" y="15522"/>
                    </a:lnTo>
                    <a:lnTo>
                      <a:pt x="3474" y="15030"/>
                    </a:lnTo>
                    <a:lnTo>
                      <a:pt x="2568" y="15030"/>
                    </a:lnTo>
                    <a:lnTo>
                      <a:pt x="2568" y="14537"/>
                    </a:lnTo>
                    <a:lnTo>
                      <a:pt x="1662" y="14537"/>
                    </a:lnTo>
                    <a:lnTo>
                      <a:pt x="1662" y="14126"/>
                    </a:lnTo>
                    <a:lnTo>
                      <a:pt x="755" y="14126"/>
                    </a:lnTo>
                    <a:lnTo>
                      <a:pt x="755" y="13141"/>
                    </a:lnTo>
                    <a:lnTo>
                      <a:pt x="0" y="13141"/>
                    </a:lnTo>
                    <a:lnTo>
                      <a:pt x="0" y="12237"/>
                    </a:lnTo>
                    <a:lnTo>
                      <a:pt x="755" y="12237"/>
                    </a:lnTo>
                    <a:lnTo>
                      <a:pt x="2568" y="11252"/>
                    </a:lnTo>
                    <a:lnTo>
                      <a:pt x="4229" y="11252"/>
                    </a:lnTo>
                    <a:lnTo>
                      <a:pt x="5136" y="10841"/>
                    </a:lnTo>
                    <a:lnTo>
                      <a:pt x="5136" y="11252"/>
                    </a:lnTo>
                    <a:lnTo>
                      <a:pt x="5136" y="10841"/>
                    </a:lnTo>
                    <a:lnTo>
                      <a:pt x="5136" y="11252"/>
                    </a:lnTo>
                    <a:lnTo>
                      <a:pt x="6042" y="11252"/>
                    </a:lnTo>
                    <a:lnTo>
                      <a:pt x="6042" y="10841"/>
                    </a:lnTo>
                    <a:lnTo>
                      <a:pt x="6797" y="10348"/>
                    </a:lnTo>
                    <a:lnTo>
                      <a:pt x="6797" y="10841"/>
                    </a:lnTo>
                    <a:lnTo>
                      <a:pt x="7703" y="10841"/>
                    </a:lnTo>
                    <a:lnTo>
                      <a:pt x="7703" y="11252"/>
                    </a:lnTo>
                    <a:lnTo>
                      <a:pt x="8610" y="10841"/>
                    </a:lnTo>
                    <a:lnTo>
                      <a:pt x="8610" y="11252"/>
                    </a:lnTo>
                    <a:lnTo>
                      <a:pt x="9516" y="11252"/>
                    </a:lnTo>
                    <a:lnTo>
                      <a:pt x="9516" y="9445"/>
                    </a:lnTo>
                    <a:lnTo>
                      <a:pt x="10271" y="9445"/>
                    </a:lnTo>
                    <a:lnTo>
                      <a:pt x="10271" y="8459"/>
                    </a:lnTo>
                    <a:lnTo>
                      <a:pt x="11178" y="8459"/>
                    </a:lnTo>
                    <a:lnTo>
                      <a:pt x="11178" y="7967"/>
                    </a:lnTo>
                    <a:lnTo>
                      <a:pt x="12084" y="7967"/>
                    </a:lnTo>
                    <a:lnTo>
                      <a:pt x="12084" y="7556"/>
                    </a:lnTo>
                    <a:lnTo>
                      <a:pt x="13745" y="7556"/>
                    </a:lnTo>
                    <a:lnTo>
                      <a:pt x="13745" y="7063"/>
                    </a:lnTo>
                    <a:lnTo>
                      <a:pt x="14652" y="7063"/>
                    </a:lnTo>
                    <a:lnTo>
                      <a:pt x="13745" y="7063"/>
                    </a:lnTo>
                    <a:lnTo>
                      <a:pt x="13745" y="5667"/>
                    </a:lnTo>
                    <a:lnTo>
                      <a:pt x="12839" y="6160"/>
                    </a:lnTo>
                    <a:lnTo>
                      <a:pt x="12084" y="5667"/>
                    </a:lnTo>
                    <a:lnTo>
                      <a:pt x="12084" y="6160"/>
                    </a:lnTo>
                    <a:lnTo>
                      <a:pt x="10271" y="6160"/>
                    </a:lnTo>
                    <a:lnTo>
                      <a:pt x="10271" y="5667"/>
                    </a:lnTo>
                    <a:lnTo>
                      <a:pt x="11178" y="5667"/>
                    </a:lnTo>
                    <a:lnTo>
                      <a:pt x="10271" y="5174"/>
                    </a:lnTo>
                    <a:lnTo>
                      <a:pt x="10271" y="4681"/>
                    </a:lnTo>
                    <a:lnTo>
                      <a:pt x="10271" y="5174"/>
                    </a:lnTo>
                    <a:lnTo>
                      <a:pt x="9516" y="5174"/>
                    </a:lnTo>
                    <a:lnTo>
                      <a:pt x="9516" y="4271"/>
                    </a:lnTo>
                    <a:lnTo>
                      <a:pt x="8610" y="427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73" name="Shape 2999"/>
              <p:cNvSpPr/>
              <p:nvPr/>
            </p:nvSpPr>
            <p:spPr>
              <a:xfrm>
                <a:off x="6601373" y="5575143"/>
                <a:ext cx="148760" cy="13287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388" y="20191"/>
                    </a:moveTo>
                    <a:lnTo>
                      <a:pt x="8388" y="18783"/>
                    </a:lnTo>
                    <a:lnTo>
                      <a:pt x="7130" y="18783"/>
                    </a:lnTo>
                    <a:lnTo>
                      <a:pt x="7130" y="17609"/>
                    </a:lnTo>
                    <a:lnTo>
                      <a:pt x="4823" y="17609"/>
                    </a:lnTo>
                    <a:lnTo>
                      <a:pt x="4823" y="16200"/>
                    </a:lnTo>
                    <a:lnTo>
                      <a:pt x="3565" y="16200"/>
                    </a:lnTo>
                    <a:lnTo>
                      <a:pt x="3565" y="13617"/>
                    </a:lnTo>
                    <a:lnTo>
                      <a:pt x="2517" y="12209"/>
                    </a:lnTo>
                    <a:lnTo>
                      <a:pt x="2517" y="10800"/>
                    </a:lnTo>
                    <a:lnTo>
                      <a:pt x="1258" y="10800"/>
                    </a:lnTo>
                    <a:lnTo>
                      <a:pt x="1258" y="9391"/>
                    </a:lnTo>
                    <a:lnTo>
                      <a:pt x="0" y="9391"/>
                    </a:lnTo>
                    <a:lnTo>
                      <a:pt x="0" y="5400"/>
                    </a:lnTo>
                    <a:lnTo>
                      <a:pt x="1258" y="4226"/>
                    </a:lnTo>
                    <a:lnTo>
                      <a:pt x="1258" y="2817"/>
                    </a:lnTo>
                    <a:lnTo>
                      <a:pt x="4823" y="2817"/>
                    </a:lnTo>
                    <a:lnTo>
                      <a:pt x="4823" y="0"/>
                    </a:lnTo>
                    <a:lnTo>
                      <a:pt x="6082" y="0"/>
                    </a:lnTo>
                    <a:lnTo>
                      <a:pt x="6082" y="1409"/>
                    </a:lnTo>
                    <a:lnTo>
                      <a:pt x="7130" y="1409"/>
                    </a:lnTo>
                    <a:lnTo>
                      <a:pt x="7130" y="2817"/>
                    </a:lnTo>
                    <a:lnTo>
                      <a:pt x="8388" y="2817"/>
                    </a:lnTo>
                    <a:lnTo>
                      <a:pt x="8388" y="5400"/>
                    </a:lnTo>
                    <a:lnTo>
                      <a:pt x="11953" y="5400"/>
                    </a:lnTo>
                    <a:lnTo>
                      <a:pt x="13212" y="4226"/>
                    </a:lnTo>
                    <a:lnTo>
                      <a:pt x="13212" y="1409"/>
                    </a:lnTo>
                    <a:lnTo>
                      <a:pt x="16777" y="1409"/>
                    </a:lnTo>
                    <a:lnTo>
                      <a:pt x="16777" y="2817"/>
                    </a:lnTo>
                    <a:lnTo>
                      <a:pt x="15518" y="2817"/>
                    </a:lnTo>
                    <a:lnTo>
                      <a:pt x="15518" y="4226"/>
                    </a:lnTo>
                    <a:lnTo>
                      <a:pt x="16777" y="4226"/>
                    </a:lnTo>
                    <a:lnTo>
                      <a:pt x="16777" y="5400"/>
                    </a:lnTo>
                    <a:lnTo>
                      <a:pt x="18035" y="5400"/>
                    </a:lnTo>
                    <a:lnTo>
                      <a:pt x="18035" y="6809"/>
                    </a:lnTo>
                    <a:lnTo>
                      <a:pt x="19293" y="6809"/>
                    </a:lnTo>
                    <a:lnTo>
                      <a:pt x="19293" y="8217"/>
                    </a:lnTo>
                    <a:lnTo>
                      <a:pt x="19293" y="6809"/>
                    </a:lnTo>
                    <a:lnTo>
                      <a:pt x="20342" y="8217"/>
                    </a:lnTo>
                    <a:lnTo>
                      <a:pt x="20342" y="6809"/>
                    </a:lnTo>
                    <a:lnTo>
                      <a:pt x="21600" y="6809"/>
                    </a:lnTo>
                    <a:lnTo>
                      <a:pt x="21600" y="8217"/>
                    </a:lnTo>
                    <a:lnTo>
                      <a:pt x="20342" y="8217"/>
                    </a:lnTo>
                    <a:lnTo>
                      <a:pt x="21600" y="9391"/>
                    </a:lnTo>
                    <a:lnTo>
                      <a:pt x="16777" y="9391"/>
                    </a:lnTo>
                    <a:lnTo>
                      <a:pt x="16777" y="12209"/>
                    </a:lnTo>
                    <a:lnTo>
                      <a:pt x="18035" y="12209"/>
                    </a:lnTo>
                    <a:lnTo>
                      <a:pt x="18035" y="16200"/>
                    </a:lnTo>
                    <a:lnTo>
                      <a:pt x="16777" y="16200"/>
                    </a:lnTo>
                    <a:lnTo>
                      <a:pt x="16777" y="17609"/>
                    </a:lnTo>
                    <a:lnTo>
                      <a:pt x="15518" y="17609"/>
                    </a:lnTo>
                    <a:lnTo>
                      <a:pt x="14470" y="16200"/>
                    </a:lnTo>
                    <a:lnTo>
                      <a:pt x="14470" y="17609"/>
                    </a:lnTo>
                    <a:lnTo>
                      <a:pt x="13212" y="17609"/>
                    </a:lnTo>
                    <a:lnTo>
                      <a:pt x="13212" y="18783"/>
                    </a:lnTo>
                    <a:lnTo>
                      <a:pt x="11953" y="18783"/>
                    </a:lnTo>
                    <a:lnTo>
                      <a:pt x="11953" y="20191"/>
                    </a:lnTo>
                    <a:lnTo>
                      <a:pt x="10905" y="20191"/>
                    </a:lnTo>
                    <a:lnTo>
                      <a:pt x="10905" y="21600"/>
                    </a:lnTo>
                    <a:lnTo>
                      <a:pt x="10905" y="20191"/>
                    </a:lnTo>
                    <a:lnTo>
                      <a:pt x="8388" y="2019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74" name="Shape 3000"/>
              <p:cNvSpPr/>
              <p:nvPr/>
            </p:nvSpPr>
            <p:spPr>
              <a:xfrm>
                <a:off x="6461280" y="5261738"/>
                <a:ext cx="304741" cy="35529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449" y="20634"/>
                    </a:moveTo>
                    <a:lnTo>
                      <a:pt x="5835" y="20107"/>
                    </a:lnTo>
                    <a:lnTo>
                      <a:pt x="5835" y="19580"/>
                    </a:lnTo>
                    <a:lnTo>
                      <a:pt x="6449" y="19580"/>
                    </a:lnTo>
                    <a:lnTo>
                      <a:pt x="5835" y="19054"/>
                    </a:lnTo>
                    <a:lnTo>
                      <a:pt x="5835" y="16068"/>
                    </a:lnTo>
                    <a:lnTo>
                      <a:pt x="5221" y="16068"/>
                    </a:lnTo>
                    <a:lnTo>
                      <a:pt x="5221" y="14049"/>
                    </a:lnTo>
                    <a:lnTo>
                      <a:pt x="4709" y="14049"/>
                    </a:lnTo>
                    <a:lnTo>
                      <a:pt x="4709" y="12556"/>
                    </a:lnTo>
                    <a:lnTo>
                      <a:pt x="4095" y="12556"/>
                    </a:lnTo>
                    <a:lnTo>
                      <a:pt x="4095" y="12117"/>
                    </a:lnTo>
                    <a:lnTo>
                      <a:pt x="3481" y="12117"/>
                    </a:lnTo>
                    <a:lnTo>
                      <a:pt x="3481" y="11590"/>
                    </a:lnTo>
                    <a:lnTo>
                      <a:pt x="2969" y="11063"/>
                    </a:lnTo>
                    <a:lnTo>
                      <a:pt x="2969" y="10537"/>
                    </a:lnTo>
                    <a:lnTo>
                      <a:pt x="3481" y="10537"/>
                    </a:lnTo>
                    <a:lnTo>
                      <a:pt x="2969" y="10537"/>
                    </a:lnTo>
                    <a:lnTo>
                      <a:pt x="2969" y="10098"/>
                    </a:lnTo>
                    <a:lnTo>
                      <a:pt x="3481" y="10098"/>
                    </a:lnTo>
                    <a:lnTo>
                      <a:pt x="2969" y="10098"/>
                    </a:lnTo>
                    <a:lnTo>
                      <a:pt x="2969" y="9044"/>
                    </a:lnTo>
                    <a:lnTo>
                      <a:pt x="2355" y="9044"/>
                    </a:lnTo>
                    <a:lnTo>
                      <a:pt x="2355" y="8605"/>
                    </a:lnTo>
                    <a:lnTo>
                      <a:pt x="1740" y="8605"/>
                    </a:lnTo>
                    <a:lnTo>
                      <a:pt x="1740" y="8078"/>
                    </a:lnTo>
                    <a:lnTo>
                      <a:pt x="1126" y="8078"/>
                    </a:lnTo>
                    <a:lnTo>
                      <a:pt x="1126" y="7551"/>
                    </a:lnTo>
                    <a:lnTo>
                      <a:pt x="1740" y="7551"/>
                    </a:lnTo>
                    <a:lnTo>
                      <a:pt x="1126" y="7551"/>
                    </a:lnTo>
                    <a:lnTo>
                      <a:pt x="1740" y="7551"/>
                    </a:lnTo>
                    <a:lnTo>
                      <a:pt x="1740" y="5532"/>
                    </a:lnTo>
                    <a:lnTo>
                      <a:pt x="1126" y="5093"/>
                    </a:lnTo>
                    <a:lnTo>
                      <a:pt x="1126" y="4566"/>
                    </a:lnTo>
                    <a:lnTo>
                      <a:pt x="614" y="4566"/>
                    </a:lnTo>
                    <a:lnTo>
                      <a:pt x="614" y="4039"/>
                    </a:lnTo>
                    <a:lnTo>
                      <a:pt x="0" y="4039"/>
                    </a:lnTo>
                    <a:lnTo>
                      <a:pt x="0" y="3512"/>
                    </a:lnTo>
                    <a:lnTo>
                      <a:pt x="614" y="3512"/>
                    </a:lnTo>
                    <a:lnTo>
                      <a:pt x="614" y="4039"/>
                    </a:lnTo>
                    <a:lnTo>
                      <a:pt x="1740" y="4039"/>
                    </a:lnTo>
                    <a:lnTo>
                      <a:pt x="1740" y="3512"/>
                    </a:lnTo>
                    <a:lnTo>
                      <a:pt x="1126" y="3512"/>
                    </a:lnTo>
                    <a:lnTo>
                      <a:pt x="1740" y="3512"/>
                    </a:lnTo>
                    <a:lnTo>
                      <a:pt x="1740" y="3073"/>
                    </a:lnTo>
                    <a:lnTo>
                      <a:pt x="1126" y="3073"/>
                    </a:lnTo>
                    <a:lnTo>
                      <a:pt x="2355" y="3073"/>
                    </a:lnTo>
                    <a:lnTo>
                      <a:pt x="2355" y="4039"/>
                    </a:lnTo>
                    <a:lnTo>
                      <a:pt x="2969" y="4039"/>
                    </a:lnTo>
                    <a:lnTo>
                      <a:pt x="2969" y="4566"/>
                    </a:lnTo>
                    <a:lnTo>
                      <a:pt x="2355" y="4566"/>
                    </a:lnTo>
                    <a:lnTo>
                      <a:pt x="2969" y="4566"/>
                    </a:lnTo>
                    <a:lnTo>
                      <a:pt x="2969" y="5532"/>
                    </a:lnTo>
                    <a:lnTo>
                      <a:pt x="3481" y="5532"/>
                    </a:lnTo>
                    <a:lnTo>
                      <a:pt x="2969" y="5093"/>
                    </a:lnTo>
                    <a:lnTo>
                      <a:pt x="3481" y="5093"/>
                    </a:lnTo>
                    <a:lnTo>
                      <a:pt x="3481" y="4566"/>
                    </a:lnTo>
                    <a:lnTo>
                      <a:pt x="2969" y="4566"/>
                    </a:lnTo>
                    <a:lnTo>
                      <a:pt x="3481" y="4566"/>
                    </a:lnTo>
                    <a:lnTo>
                      <a:pt x="3481" y="5093"/>
                    </a:lnTo>
                    <a:lnTo>
                      <a:pt x="5221" y="5093"/>
                    </a:lnTo>
                    <a:lnTo>
                      <a:pt x="5221" y="4566"/>
                    </a:lnTo>
                    <a:lnTo>
                      <a:pt x="5835" y="4566"/>
                    </a:lnTo>
                    <a:lnTo>
                      <a:pt x="5835" y="4039"/>
                    </a:lnTo>
                    <a:lnTo>
                      <a:pt x="7575" y="4039"/>
                    </a:lnTo>
                    <a:lnTo>
                      <a:pt x="8190" y="3512"/>
                    </a:lnTo>
                    <a:lnTo>
                      <a:pt x="8804" y="3512"/>
                    </a:lnTo>
                    <a:lnTo>
                      <a:pt x="8804" y="3073"/>
                    </a:lnTo>
                    <a:lnTo>
                      <a:pt x="9316" y="3073"/>
                    </a:lnTo>
                    <a:lnTo>
                      <a:pt x="9316" y="3512"/>
                    </a:lnTo>
                    <a:lnTo>
                      <a:pt x="8804" y="3512"/>
                    </a:lnTo>
                    <a:lnTo>
                      <a:pt x="8804" y="4039"/>
                    </a:lnTo>
                    <a:lnTo>
                      <a:pt x="9316" y="4039"/>
                    </a:lnTo>
                    <a:lnTo>
                      <a:pt x="9316" y="3512"/>
                    </a:lnTo>
                    <a:lnTo>
                      <a:pt x="9930" y="3512"/>
                    </a:lnTo>
                    <a:lnTo>
                      <a:pt x="10544" y="3073"/>
                    </a:lnTo>
                    <a:lnTo>
                      <a:pt x="11158" y="3073"/>
                    </a:lnTo>
                    <a:lnTo>
                      <a:pt x="10544" y="3073"/>
                    </a:lnTo>
                    <a:lnTo>
                      <a:pt x="10544" y="4566"/>
                    </a:lnTo>
                    <a:lnTo>
                      <a:pt x="11158" y="4566"/>
                    </a:lnTo>
                    <a:lnTo>
                      <a:pt x="11158" y="3073"/>
                    </a:lnTo>
                    <a:lnTo>
                      <a:pt x="10544" y="3073"/>
                    </a:lnTo>
                    <a:lnTo>
                      <a:pt x="11158" y="3073"/>
                    </a:lnTo>
                    <a:lnTo>
                      <a:pt x="11158" y="2546"/>
                    </a:lnTo>
                    <a:lnTo>
                      <a:pt x="10544" y="2020"/>
                    </a:lnTo>
                    <a:lnTo>
                      <a:pt x="10544" y="1580"/>
                    </a:lnTo>
                    <a:lnTo>
                      <a:pt x="9930" y="1580"/>
                    </a:lnTo>
                    <a:lnTo>
                      <a:pt x="10544" y="1580"/>
                    </a:lnTo>
                    <a:lnTo>
                      <a:pt x="10544" y="2020"/>
                    </a:lnTo>
                    <a:lnTo>
                      <a:pt x="9930" y="1580"/>
                    </a:lnTo>
                    <a:lnTo>
                      <a:pt x="9930" y="527"/>
                    </a:lnTo>
                    <a:lnTo>
                      <a:pt x="10544" y="527"/>
                    </a:lnTo>
                    <a:lnTo>
                      <a:pt x="10544" y="0"/>
                    </a:lnTo>
                    <a:lnTo>
                      <a:pt x="11158" y="0"/>
                    </a:lnTo>
                    <a:lnTo>
                      <a:pt x="11158" y="527"/>
                    </a:lnTo>
                    <a:lnTo>
                      <a:pt x="12899" y="527"/>
                    </a:lnTo>
                    <a:lnTo>
                      <a:pt x="12899" y="1580"/>
                    </a:lnTo>
                    <a:lnTo>
                      <a:pt x="13410" y="1580"/>
                    </a:lnTo>
                    <a:lnTo>
                      <a:pt x="13410" y="2020"/>
                    </a:lnTo>
                    <a:lnTo>
                      <a:pt x="14025" y="2020"/>
                    </a:lnTo>
                    <a:lnTo>
                      <a:pt x="14025" y="1054"/>
                    </a:lnTo>
                    <a:lnTo>
                      <a:pt x="13410" y="1054"/>
                    </a:lnTo>
                    <a:lnTo>
                      <a:pt x="13410" y="527"/>
                    </a:lnTo>
                    <a:lnTo>
                      <a:pt x="14025" y="527"/>
                    </a:lnTo>
                    <a:lnTo>
                      <a:pt x="14025" y="1054"/>
                    </a:lnTo>
                    <a:lnTo>
                      <a:pt x="14639" y="1054"/>
                    </a:lnTo>
                    <a:lnTo>
                      <a:pt x="15765" y="2020"/>
                    </a:lnTo>
                    <a:lnTo>
                      <a:pt x="14639" y="2020"/>
                    </a:lnTo>
                    <a:lnTo>
                      <a:pt x="14025" y="3073"/>
                    </a:lnTo>
                    <a:lnTo>
                      <a:pt x="14639" y="2546"/>
                    </a:lnTo>
                    <a:lnTo>
                      <a:pt x="14639" y="3073"/>
                    </a:lnTo>
                    <a:lnTo>
                      <a:pt x="15253" y="3073"/>
                    </a:lnTo>
                    <a:lnTo>
                      <a:pt x="15253" y="3512"/>
                    </a:lnTo>
                    <a:lnTo>
                      <a:pt x="15765" y="3512"/>
                    </a:lnTo>
                    <a:lnTo>
                      <a:pt x="15765" y="3073"/>
                    </a:lnTo>
                    <a:lnTo>
                      <a:pt x="16379" y="3512"/>
                    </a:lnTo>
                    <a:lnTo>
                      <a:pt x="16379" y="3073"/>
                    </a:lnTo>
                    <a:lnTo>
                      <a:pt x="17505" y="3073"/>
                    </a:lnTo>
                    <a:lnTo>
                      <a:pt x="17505" y="3512"/>
                    </a:lnTo>
                    <a:lnTo>
                      <a:pt x="18734" y="4039"/>
                    </a:lnTo>
                    <a:lnTo>
                      <a:pt x="18734" y="4566"/>
                    </a:lnTo>
                    <a:lnTo>
                      <a:pt x="19348" y="4566"/>
                    </a:lnTo>
                    <a:lnTo>
                      <a:pt x="19348" y="5093"/>
                    </a:lnTo>
                    <a:lnTo>
                      <a:pt x="19860" y="5093"/>
                    </a:lnTo>
                    <a:lnTo>
                      <a:pt x="19348" y="5093"/>
                    </a:lnTo>
                    <a:lnTo>
                      <a:pt x="19348" y="5532"/>
                    </a:lnTo>
                    <a:lnTo>
                      <a:pt x="18734" y="5532"/>
                    </a:lnTo>
                    <a:lnTo>
                      <a:pt x="18734" y="6059"/>
                    </a:lnTo>
                    <a:lnTo>
                      <a:pt x="19348" y="6059"/>
                    </a:lnTo>
                    <a:lnTo>
                      <a:pt x="19348" y="7024"/>
                    </a:lnTo>
                    <a:lnTo>
                      <a:pt x="18734" y="7024"/>
                    </a:lnTo>
                    <a:lnTo>
                      <a:pt x="18734" y="7551"/>
                    </a:lnTo>
                    <a:lnTo>
                      <a:pt x="19348" y="8605"/>
                    </a:lnTo>
                    <a:lnTo>
                      <a:pt x="19860" y="8078"/>
                    </a:lnTo>
                    <a:lnTo>
                      <a:pt x="20474" y="8605"/>
                    </a:lnTo>
                    <a:lnTo>
                      <a:pt x="19860" y="9044"/>
                    </a:lnTo>
                    <a:lnTo>
                      <a:pt x="20474" y="9044"/>
                    </a:lnTo>
                    <a:lnTo>
                      <a:pt x="21088" y="9571"/>
                    </a:lnTo>
                    <a:lnTo>
                      <a:pt x="21088" y="9044"/>
                    </a:lnTo>
                    <a:lnTo>
                      <a:pt x="21600" y="9044"/>
                    </a:lnTo>
                    <a:lnTo>
                      <a:pt x="21088" y="9571"/>
                    </a:lnTo>
                    <a:lnTo>
                      <a:pt x="20474" y="10098"/>
                    </a:lnTo>
                    <a:lnTo>
                      <a:pt x="21088" y="10098"/>
                    </a:lnTo>
                    <a:lnTo>
                      <a:pt x="21088" y="11063"/>
                    </a:lnTo>
                    <a:lnTo>
                      <a:pt x="20474" y="11063"/>
                    </a:lnTo>
                    <a:lnTo>
                      <a:pt x="21088" y="11063"/>
                    </a:lnTo>
                    <a:lnTo>
                      <a:pt x="20474" y="11063"/>
                    </a:lnTo>
                    <a:lnTo>
                      <a:pt x="20474" y="12117"/>
                    </a:lnTo>
                    <a:lnTo>
                      <a:pt x="19860" y="12117"/>
                    </a:lnTo>
                    <a:lnTo>
                      <a:pt x="19860" y="12556"/>
                    </a:lnTo>
                    <a:lnTo>
                      <a:pt x="19348" y="12556"/>
                    </a:lnTo>
                    <a:lnTo>
                      <a:pt x="19348" y="12117"/>
                    </a:lnTo>
                    <a:lnTo>
                      <a:pt x="18734" y="12117"/>
                    </a:lnTo>
                    <a:lnTo>
                      <a:pt x="18734" y="11590"/>
                    </a:lnTo>
                    <a:lnTo>
                      <a:pt x="18119" y="11590"/>
                    </a:lnTo>
                    <a:lnTo>
                      <a:pt x="18119" y="12117"/>
                    </a:lnTo>
                    <a:lnTo>
                      <a:pt x="17505" y="12556"/>
                    </a:lnTo>
                    <a:lnTo>
                      <a:pt x="18119" y="12556"/>
                    </a:lnTo>
                    <a:lnTo>
                      <a:pt x="17505" y="13083"/>
                    </a:lnTo>
                    <a:lnTo>
                      <a:pt x="18119" y="13083"/>
                    </a:lnTo>
                    <a:lnTo>
                      <a:pt x="18119" y="13610"/>
                    </a:lnTo>
                    <a:lnTo>
                      <a:pt x="17505" y="13610"/>
                    </a:lnTo>
                    <a:lnTo>
                      <a:pt x="17505" y="14576"/>
                    </a:lnTo>
                    <a:lnTo>
                      <a:pt x="18119" y="15102"/>
                    </a:lnTo>
                    <a:lnTo>
                      <a:pt x="18119" y="14576"/>
                    </a:lnTo>
                    <a:lnTo>
                      <a:pt x="18734" y="15102"/>
                    </a:lnTo>
                    <a:lnTo>
                      <a:pt x="18119" y="15102"/>
                    </a:lnTo>
                    <a:lnTo>
                      <a:pt x="18734" y="15102"/>
                    </a:lnTo>
                    <a:lnTo>
                      <a:pt x="18119" y="15541"/>
                    </a:lnTo>
                    <a:lnTo>
                      <a:pt x="18119" y="16595"/>
                    </a:lnTo>
                    <a:lnTo>
                      <a:pt x="18734" y="16595"/>
                    </a:lnTo>
                    <a:lnTo>
                      <a:pt x="18734" y="17122"/>
                    </a:lnTo>
                    <a:lnTo>
                      <a:pt x="18119" y="17122"/>
                    </a:lnTo>
                    <a:lnTo>
                      <a:pt x="18119" y="17561"/>
                    </a:lnTo>
                    <a:lnTo>
                      <a:pt x="16993" y="17561"/>
                    </a:lnTo>
                    <a:lnTo>
                      <a:pt x="16993" y="19580"/>
                    </a:lnTo>
                    <a:lnTo>
                      <a:pt x="16379" y="19580"/>
                    </a:lnTo>
                    <a:lnTo>
                      <a:pt x="16379" y="20634"/>
                    </a:lnTo>
                    <a:lnTo>
                      <a:pt x="15765" y="21073"/>
                    </a:lnTo>
                    <a:lnTo>
                      <a:pt x="14025" y="21073"/>
                    </a:lnTo>
                    <a:lnTo>
                      <a:pt x="14025" y="20107"/>
                    </a:lnTo>
                    <a:lnTo>
                      <a:pt x="13410" y="20107"/>
                    </a:lnTo>
                    <a:lnTo>
                      <a:pt x="13410" y="19580"/>
                    </a:lnTo>
                    <a:lnTo>
                      <a:pt x="12899" y="19580"/>
                    </a:lnTo>
                    <a:lnTo>
                      <a:pt x="12899" y="19054"/>
                    </a:lnTo>
                    <a:lnTo>
                      <a:pt x="12284" y="19054"/>
                    </a:lnTo>
                    <a:lnTo>
                      <a:pt x="12284" y="20107"/>
                    </a:lnTo>
                    <a:lnTo>
                      <a:pt x="10544" y="20107"/>
                    </a:lnTo>
                    <a:lnTo>
                      <a:pt x="10544" y="20634"/>
                    </a:lnTo>
                    <a:lnTo>
                      <a:pt x="9930" y="21073"/>
                    </a:lnTo>
                    <a:lnTo>
                      <a:pt x="9930" y="21600"/>
                    </a:lnTo>
                    <a:lnTo>
                      <a:pt x="9316" y="21600"/>
                    </a:lnTo>
                    <a:lnTo>
                      <a:pt x="9316" y="21073"/>
                    </a:lnTo>
                    <a:lnTo>
                      <a:pt x="8804" y="21073"/>
                    </a:lnTo>
                    <a:lnTo>
                      <a:pt x="8804" y="20634"/>
                    </a:lnTo>
                    <a:lnTo>
                      <a:pt x="8190" y="20634"/>
                    </a:lnTo>
                    <a:lnTo>
                      <a:pt x="8190" y="20107"/>
                    </a:lnTo>
                    <a:lnTo>
                      <a:pt x="6449" y="20107"/>
                    </a:lnTo>
                    <a:lnTo>
                      <a:pt x="6449" y="2063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75" name="Shape 3001"/>
              <p:cNvSpPr/>
              <p:nvPr/>
            </p:nvSpPr>
            <p:spPr>
              <a:xfrm>
                <a:off x="6560934" y="5419163"/>
                <a:ext cx="98210" cy="1646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400" y="3221"/>
                    </a:moveTo>
                    <a:lnTo>
                      <a:pt x="5400" y="1137"/>
                    </a:lnTo>
                    <a:lnTo>
                      <a:pt x="3494" y="1137"/>
                    </a:lnTo>
                    <a:lnTo>
                      <a:pt x="5400" y="1137"/>
                    </a:lnTo>
                    <a:lnTo>
                      <a:pt x="1588" y="1137"/>
                    </a:lnTo>
                    <a:lnTo>
                      <a:pt x="1588" y="0"/>
                    </a:lnTo>
                    <a:lnTo>
                      <a:pt x="0" y="1137"/>
                    </a:lnTo>
                    <a:lnTo>
                      <a:pt x="1588" y="1137"/>
                    </a:lnTo>
                    <a:lnTo>
                      <a:pt x="1588" y="3221"/>
                    </a:lnTo>
                    <a:lnTo>
                      <a:pt x="3494" y="3221"/>
                    </a:lnTo>
                    <a:lnTo>
                      <a:pt x="3494" y="4358"/>
                    </a:lnTo>
                    <a:lnTo>
                      <a:pt x="5400" y="4358"/>
                    </a:lnTo>
                    <a:lnTo>
                      <a:pt x="5400" y="5495"/>
                    </a:lnTo>
                    <a:lnTo>
                      <a:pt x="6988" y="5495"/>
                    </a:lnTo>
                    <a:lnTo>
                      <a:pt x="6988" y="6442"/>
                    </a:lnTo>
                    <a:lnTo>
                      <a:pt x="10800" y="6442"/>
                    </a:lnTo>
                    <a:lnTo>
                      <a:pt x="10800" y="4358"/>
                    </a:lnTo>
                    <a:lnTo>
                      <a:pt x="12706" y="4358"/>
                    </a:lnTo>
                    <a:lnTo>
                      <a:pt x="12706" y="5495"/>
                    </a:lnTo>
                    <a:lnTo>
                      <a:pt x="12706" y="4358"/>
                    </a:lnTo>
                    <a:lnTo>
                      <a:pt x="12706" y="5495"/>
                    </a:lnTo>
                    <a:lnTo>
                      <a:pt x="10800" y="5495"/>
                    </a:lnTo>
                    <a:lnTo>
                      <a:pt x="12706" y="5495"/>
                    </a:lnTo>
                    <a:lnTo>
                      <a:pt x="12706" y="6442"/>
                    </a:lnTo>
                    <a:lnTo>
                      <a:pt x="16200" y="6442"/>
                    </a:lnTo>
                    <a:lnTo>
                      <a:pt x="16200" y="7579"/>
                    </a:lnTo>
                    <a:lnTo>
                      <a:pt x="14294" y="7579"/>
                    </a:lnTo>
                    <a:lnTo>
                      <a:pt x="16200" y="7579"/>
                    </a:lnTo>
                    <a:lnTo>
                      <a:pt x="14294" y="7579"/>
                    </a:lnTo>
                    <a:lnTo>
                      <a:pt x="14294" y="9663"/>
                    </a:lnTo>
                    <a:lnTo>
                      <a:pt x="10800" y="9663"/>
                    </a:lnTo>
                    <a:lnTo>
                      <a:pt x="10800" y="10800"/>
                    </a:lnTo>
                    <a:lnTo>
                      <a:pt x="8894" y="10800"/>
                    </a:lnTo>
                    <a:lnTo>
                      <a:pt x="8894" y="11937"/>
                    </a:lnTo>
                    <a:lnTo>
                      <a:pt x="6988" y="12884"/>
                    </a:lnTo>
                    <a:lnTo>
                      <a:pt x="8894" y="12884"/>
                    </a:lnTo>
                    <a:lnTo>
                      <a:pt x="8894" y="14021"/>
                    </a:lnTo>
                    <a:lnTo>
                      <a:pt x="6988" y="14021"/>
                    </a:lnTo>
                    <a:lnTo>
                      <a:pt x="8894" y="15158"/>
                    </a:lnTo>
                    <a:lnTo>
                      <a:pt x="8894" y="16295"/>
                    </a:lnTo>
                    <a:lnTo>
                      <a:pt x="5400" y="16295"/>
                    </a:lnTo>
                    <a:lnTo>
                      <a:pt x="5400" y="14021"/>
                    </a:lnTo>
                    <a:lnTo>
                      <a:pt x="3494" y="14021"/>
                    </a:lnTo>
                    <a:lnTo>
                      <a:pt x="3494" y="16295"/>
                    </a:lnTo>
                    <a:lnTo>
                      <a:pt x="1588" y="16295"/>
                    </a:lnTo>
                    <a:lnTo>
                      <a:pt x="1588" y="17242"/>
                    </a:lnTo>
                    <a:lnTo>
                      <a:pt x="3494" y="17242"/>
                    </a:lnTo>
                    <a:lnTo>
                      <a:pt x="3494" y="19516"/>
                    </a:lnTo>
                    <a:lnTo>
                      <a:pt x="5400" y="19516"/>
                    </a:lnTo>
                    <a:lnTo>
                      <a:pt x="5400" y="20463"/>
                    </a:lnTo>
                    <a:lnTo>
                      <a:pt x="6988" y="21600"/>
                    </a:lnTo>
                    <a:lnTo>
                      <a:pt x="6988" y="20463"/>
                    </a:lnTo>
                    <a:lnTo>
                      <a:pt x="10800" y="20463"/>
                    </a:lnTo>
                    <a:lnTo>
                      <a:pt x="10800" y="17242"/>
                    </a:lnTo>
                    <a:lnTo>
                      <a:pt x="12706" y="17242"/>
                    </a:lnTo>
                    <a:lnTo>
                      <a:pt x="12706" y="16295"/>
                    </a:lnTo>
                    <a:lnTo>
                      <a:pt x="14294" y="16295"/>
                    </a:lnTo>
                    <a:lnTo>
                      <a:pt x="14294" y="15158"/>
                    </a:lnTo>
                    <a:lnTo>
                      <a:pt x="16200" y="15158"/>
                    </a:lnTo>
                    <a:lnTo>
                      <a:pt x="16200" y="12884"/>
                    </a:lnTo>
                    <a:lnTo>
                      <a:pt x="18106" y="12884"/>
                    </a:lnTo>
                    <a:lnTo>
                      <a:pt x="18106" y="11937"/>
                    </a:lnTo>
                    <a:lnTo>
                      <a:pt x="19694" y="11937"/>
                    </a:lnTo>
                    <a:lnTo>
                      <a:pt x="19694" y="15158"/>
                    </a:lnTo>
                    <a:lnTo>
                      <a:pt x="18106" y="16295"/>
                    </a:lnTo>
                    <a:lnTo>
                      <a:pt x="19694" y="16295"/>
                    </a:lnTo>
                    <a:lnTo>
                      <a:pt x="19694" y="15158"/>
                    </a:lnTo>
                    <a:lnTo>
                      <a:pt x="21600" y="15158"/>
                    </a:lnTo>
                    <a:lnTo>
                      <a:pt x="21600" y="7579"/>
                    </a:lnTo>
                    <a:lnTo>
                      <a:pt x="19694" y="6442"/>
                    </a:lnTo>
                    <a:lnTo>
                      <a:pt x="16200" y="6442"/>
                    </a:lnTo>
                    <a:lnTo>
                      <a:pt x="16200" y="4358"/>
                    </a:lnTo>
                    <a:lnTo>
                      <a:pt x="14294" y="4358"/>
                    </a:lnTo>
                    <a:lnTo>
                      <a:pt x="16200" y="4358"/>
                    </a:lnTo>
                    <a:lnTo>
                      <a:pt x="14294" y="3221"/>
                    </a:lnTo>
                    <a:lnTo>
                      <a:pt x="5400" y="322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76" name="Shape 3002"/>
              <p:cNvSpPr/>
              <p:nvPr/>
            </p:nvSpPr>
            <p:spPr>
              <a:xfrm>
                <a:off x="6716914" y="4834236"/>
                <a:ext cx="197865" cy="22963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239" y="21600"/>
                    </a:moveTo>
                    <a:lnTo>
                      <a:pt x="17185" y="21600"/>
                    </a:lnTo>
                    <a:lnTo>
                      <a:pt x="17185" y="20921"/>
                    </a:lnTo>
                    <a:lnTo>
                      <a:pt x="17185" y="21600"/>
                    </a:lnTo>
                    <a:lnTo>
                      <a:pt x="17185" y="20921"/>
                    </a:lnTo>
                    <a:lnTo>
                      <a:pt x="17974" y="20921"/>
                    </a:lnTo>
                    <a:lnTo>
                      <a:pt x="17974" y="20106"/>
                    </a:lnTo>
                    <a:lnTo>
                      <a:pt x="17974" y="20921"/>
                    </a:lnTo>
                    <a:lnTo>
                      <a:pt x="17974" y="18611"/>
                    </a:lnTo>
                    <a:lnTo>
                      <a:pt x="18920" y="18611"/>
                    </a:lnTo>
                    <a:lnTo>
                      <a:pt x="18920" y="16981"/>
                    </a:lnTo>
                    <a:lnTo>
                      <a:pt x="19866" y="16981"/>
                    </a:lnTo>
                    <a:lnTo>
                      <a:pt x="19866" y="16166"/>
                    </a:lnTo>
                    <a:lnTo>
                      <a:pt x="20812" y="16166"/>
                    </a:lnTo>
                    <a:lnTo>
                      <a:pt x="20812" y="15487"/>
                    </a:lnTo>
                    <a:lnTo>
                      <a:pt x="19866" y="15487"/>
                    </a:lnTo>
                    <a:lnTo>
                      <a:pt x="20812" y="15487"/>
                    </a:lnTo>
                    <a:lnTo>
                      <a:pt x="19866" y="15487"/>
                    </a:lnTo>
                    <a:lnTo>
                      <a:pt x="19866" y="13177"/>
                    </a:lnTo>
                    <a:lnTo>
                      <a:pt x="20812" y="13177"/>
                    </a:lnTo>
                    <a:lnTo>
                      <a:pt x="20812" y="12362"/>
                    </a:lnTo>
                    <a:lnTo>
                      <a:pt x="20812" y="13177"/>
                    </a:lnTo>
                    <a:lnTo>
                      <a:pt x="21600" y="13177"/>
                    </a:lnTo>
                    <a:lnTo>
                      <a:pt x="20812" y="13177"/>
                    </a:lnTo>
                    <a:lnTo>
                      <a:pt x="20812" y="12362"/>
                    </a:lnTo>
                    <a:lnTo>
                      <a:pt x="21600" y="12362"/>
                    </a:lnTo>
                    <a:lnTo>
                      <a:pt x="21600" y="10868"/>
                    </a:lnTo>
                    <a:lnTo>
                      <a:pt x="20812" y="10868"/>
                    </a:lnTo>
                    <a:lnTo>
                      <a:pt x="20812" y="11547"/>
                    </a:lnTo>
                    <a:lnTo>
                      <a:pt x="19866" y="10868"/>
                    </a:lnTo>
                    <a:lnTo>
                      <a:pt x="19866" y="9238"/>
                    </a:lnTo>
                    <a:lnTo>
                      <a:pt x="20812" y="9238"/>
                    </a:lnTo>
                    <a:lnTo>
                      <a:pt x="20812" y="10053"/>
                    </a:lnTo>
                    <a:lnTo>
                      <a:pt x="20812" y="8423"/>
                    </a:lnTo>
                    <a:lnTo>
                      <a:pt x="19866" y="7743"/>
                    </a:lnTo>
                    <a:lnTo>
                      <a:pt x="20812" y="7743"/>
                    </a:lnTo>
                    <a:lnTo>
                      <a:pt x="19866" y="7743"/>
                    </a:lnTo>
                    <a:lnTo>
                      <a:pt x="19866" y="6113"/>
                    </a:lnTo>
                    <a:lnTo>
                      <a:pt x="17974" y="6113"/>
                    </a:lnTo>
                    <a:lnTo>
                      <a:pt x="17974" y="5434"/>
                    </a:lnTo>
                    <a:lnTo>
                      <a:pt x="17185" y="5434"/>
                    </a:lnTo>
                    <a:lnTo>
                      <a:pt x="17185" y="4619"/>
                    </a:lnTo>
                    <a:lnTo>
                      <a:pt x="15293" y="4619"/>
                    </a:lnTo>
                    <a:lnTo>
                      <a:pt x="15293" y="3804"/>
                    </a:lnTo>
                    <a:lnTo>
                      <a:pt x="14505" y="3804"/>
                    </a:lnTo>
                    <a:lnTo>
                      <a:pt x="14505" y="4619"/>
                    </a:lnTo>
                    <a:lnTo>
                      <a:pt x="13559" y="4619"/>
                    </a:lnTo>
                    <a:lnTo>
                      <a:pt x="14505" y="4619"/>
                    </a:lnTo>
                    <a:lnTo>
                      <a:pt x="12613" y="4619"/>
                    </a:lnTo>
                    <a:lnTo>
                      <a:pt x="11667" y="3804"/>
                    </a:lnTo>
                    <a:lnTo>
                      <a:pt x="8987" y="3804"/>
                    </a:lnTo>
                    <a:lnTo>
                      <a:pt x="9933" y="2989"/>
                    </a:lnTo>
                    <a:lnTo>
                      <a:pt x="8199" y="2989"/>
                    </a:lnTo>
                    <a:lnTo>
                      <a:pt x="8987" y="2309"/>
                    </a:lnTo>
                    <a:lnTo>
                      <a:pt x="8199" y="2309"/>
                    </a:lnTo>
                    <a:lnTo>
                      <a:pt x="8199" y="1494"/>
                    </a:lnTo>
                    <a:lnTo>
                      <a:pt x="6307" y="1494"/>
                    </a:lnTo>
                    <a:lnTo>
                      <a:pt x="7253" y="2309"/>
                    </a:lnTo>
                    <a:lnTo>
                      <a:pt x="5361" y="2309"/>
                    </a:lnTo>
                    <a:lnTo>
                      <a:pt x="4572" y="1494"/>
                    </a:lnTo>
                    <a:lnTo>
                      <a:pt x="3626" y="1494"/>
                    </a:lnTo>
                    <a:lnTo>
                      <a:pt x="3626" y="679"/>
                    </a:lnTo>
                    <a:lnTo>
                      <a:pt x="2680" y="679"/>
                    </a:lnTo>
                    <a:lnTo>
                      <a:pt x="2680" y="0"/>
                    </a:lnTo>
                    <a:lnTo>
                      <a:pt x="2680" y="1494"/>
                    </a:lnTo>
                    <a:lnTo>
                      <a:pt x="1892" y="2309"/>
                    </a:lnTo>
                    <a:lnTo>
                      <a:pt x="2680" y="2309"/>
                    </a:lnTo>
                    <a:lnTo>
                      <a:pt x="1892" y="2309"/>
                    </a:lnTo>
                    <a:lnTo>
                      <a:pt x="1892" y="2989"/>
                    </a:lnTo>
                    <a:lnTo>
                      <a:pt x="946" y="2989"/>
                    </a:lnTo>
                    <a:lnTo>
                      <a:pt x="946" y="3804"/>
                    </a:lnTo>
                    <a:lnTo>
                      <a:pt x="0" y="4619"/>
                    </a:lnTo>
                    <a:lnTo>
                      <a:pt x="946" y="4619"/>
                    </a:lnTo>
                    <a:lnTo>
                      <a:pt x="946" y="5434"/>
                    </a:lnTo>
                    <a:lnTo>
                      <a:pt x="0" y="5434"/>
                    </a:lnTo>
                    <a:lnTo>
                      <a:pt x="946" y="6113"/>
                    </a:lnTo>
                    <a:lnTo>
                      <a:pt x="2680" y="6113"/>
                    </a:lnTo>
                    <a:lnTo>
                      <a:pt x="3626" y="6928"/>
                    </a:lnTo>
                    <a:lnTo>
                      <a:pt x="3626" y="9238"/>
                    </a:lnTo>
                    <a:lnTo>
                      <a:pt x="4572" y="9238"/>
                    </a:lnTo>
                    <a:lnTo>
                      <a:pt x="4572" y="10053"/>
                    </a:lnTo>
                    <a:lnTo>
                      <a:pt x="5361" y="10053"/>
                    </a:lnTo>
                    <a:lnTo>
                      <a:pt x="4572" y="10053"/>
                    </a:lnTo>
                    <a:lnTo>
                      <a:pt x="5361" y="10053"/>
                    </a:lnTo>
                    <a:lnTo>
                      <a:pt x="5361" y="10868"/>
                    </a:lnTo>
                    <a:lnTo>
                      <a:pt x="5361" y="10053"/>
                    </a:lnTo>
                    <a:lnTo>
                      <a:pt x="7253" y="10053"/>
                    </a:lnTo>
                    <a:lnTo>
                      <a:pt x="7253" y="10868"/>
                    </a:lnTo>
                    <a:lnTo>
                      <a:pt x="8199" y="10868"/>
                    </a:lnTo>
                    <a:lnTo>
                      <a:pt x="8199" y="11547"/>
                    </a:lnTo>
                    <a:lnTo>
                      <a:pt x="10879" y="11547"/>
                    </a:lnTo>
                    <a:lnTo>
                      <a:pt x="10879" y="13177"/>
                    </a:lnTo>
                    <a:lnTo>
                      <a:pt x="9933" y="13857"/>
                    </a:lnTo>
                    <a:lnTo>
                      <a:pt x="9933" y="15487"/>
                    </a:lnTo>
                    <a:lnTo>
                      <a:pt x="10879" y="16166"/>
                    </a:lnTo>
                    <a:lnTo>
                      <a:pt x="10879" y="17796"/>
                    </a:lnTo>
                    <a:lnTo>
                      <a:pt x="9933" y="17796"/>
                    </a:lnTo>
                    <a:lnTo>
                      <a:pt x="11667" y="17796"/>
                    </a:lnTo>
                    <a:lnTo>
                      <a:pt x="11667" y="16981"/>
                    </a:lnTo>
                    <a:lnTo>
                      <a:pt x="12613" y="16981"/>
                    </a:lnTo>
                    <a:lnTo>
                      <a:pt x="12613" y="18611"/>
                    </a:lnTo>
                    <a:lnTo>
                      <a:pt x="13559" y="18611"/>
                    </a:lnTo>
                    <a:lnTo>
                      <a:pt x="13559" y="19291"/>
                    </a:lnTo>
                    <a:lnTo>
                      <a:pt x="14505" y="19291"/>
                    </a:lnTo>
                    <a:lnTo>
                      <a:pt x="14505" y="21600"/>
                    </a:lnTo>
                    <a:lnTo>
                      <a:pt x="16239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77" name="Shape 3003"/>
              <p:cNvSpPr/>
              <p:nvPr/>
            </p:nvSpPr>
            <p:spPr>
              <a:xfrm>
                <a:off x="6923444" y="4759134"/>
                <a:ext cx="190643" cy="19064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8509"/>
                    </a:moveTo>
                    <a:lnTo>
                      <a:pt x="21600" y="6545"/>
                    </a:lnTo>
                    <a:lnTo>
                      <a:pt x="20618" y="5564"/>
                    </a:lnTo>
                    <a:lnTo>
                      <a:pt x="21600" y="5564"/>
                    </a:lnTo>
                    <a:lnTo>
                      <a:pt x="21600" y="4745"/>
                    </a:lnTo>
                    <a:lnTo>
                      <a:pt x="20618" y="4745"/>
                    </a:lnTo>
                    <a:lnTo>
                      <a:pt x="21600" y="3764"/>
                    </a:lnTo>
                    <a:lnTo>
                      <a:pt x="19636" y="3764"/>
                    </a:lnTo>
                    <a:lnTo>
                      <a:pt x="19636" y="4745"/>
                    </a:lnTo>
                    <a:lnTo>
                      <a:pt x="18655" y="4745"/>
                    </a:lnTo>
                    <a:lnTo>
                      <a:pt x="17836" y="3764"/>
                    </a:lnTo>
                    <a:lnTo>
                      <a:pt x="16855" y="3764"/>
                    </a:lnTo>
                    <a:lnTo>
                      <a:pt x="16855" y="982"/>
                    </a:lnTo>
                    <a:lnTo>
                      <a:pt x="15055" y="982"/>
                    </a:lnTo>
                    <a:lnTo>
                      <a:pt x="15055" y="0"/>
                    </a:lnTo>
                    <a:lnTo>
                      <a:pt x="15055" y="1964"/>
                    </a:lnTo>
                    <a:lnTo>
                      <a:pt x="12109" y="1964"/>
                    </a:lnTo>
                    <a:lnTo>
                      <a:pt x="13091" y="2782"/>
                    </a:lnTo>
                    <a:lnTo>
                      <a:pt x="12109" y="2782"/>
                    </a:lnTo>
                    <a:lnTo>
                      <a:pt x="12109" y="3764"/>
                    </a:lnTo>
                    <a:lnTo>
                      <a:pt x="11291" y="3764"/>
                    </a:lnTo>
                    <a:lnTo>
                      <a:pt x="11291" y="4745"/>
                    </a:lnTo>
                    <a:lnTo>
                      <a:pt x="10309" y="4745"/>
                    </a:lnTo>
                    <a:lnTo>
                      <a:pt x="11291" y="3764"/>
                    </a:lnTo>
                    <a:lnTo>
                      <a:pt x="9327" y="3764"/>
                    </a:lnTo>
                    <a:lnTo>
                      <a:pt x="9327" y="2782"/>
                    </a:lnTo>
                    <a:lnTo>
                      <a:pt x="8345" y="2782"/>
                    </a:lnTo>
                    <a:lnTo>
                      <a:pt x="8345" y="1964"/>
                    </a:lnTo>
                    <a:lnTo>
                      <a:pt x="6545" y="1964"/>
                    </a:lnTo>
                    <a:lnTo>
                      <a:pt x="6545" y="2782"/>
                    </a:lnTo>
                    <a:lnTo>
                      <a:pt x="5564" y="2782"/>
                    </a:lnTo>
                    <a:lnTo>
                      <a:pt x="5564" y="3764"/>
                    </a:lnTo>
                    <a:lnTo>
                      <a:pt x="4745" y="3764"/>
                    </a:lnTo>
                    <a:lnTo>
                      <a:pt x="4745" y="4745"/>
                    </a:lnTo>
                    <a:lnTo>
                      <a:pt x="3764" y="4745"/>
                    </a:lnTo>
                    <a:lnTo>
                      <a:pt x="3764" y="8509"/>
                    </a:lnTo>
                    <a:lnTo>
                      <a:pt x="2782" y="8509"/>
                    </a:lnTo>
                    <a:lnTo>
                      <a:pt x="2782" y="9327"/>
                    </a:lnTo>
                    <a:lnTo>
                      <a:pt x="2782" y="8509"/>
                    </a:lnTo>
                    <a:lnTo>
                      <a:pt x="982" y="8509"/>
                    </a:lnTo>
                    <a:lnTo>
                      <a:pt x="982" y="9327"/>
                    </a:lnTo>
                    <a:lnTo>
                      <a:pt x="982" y="8509"/>
                    </a:lnTo>
                    <a:lnTo>
                      <a:pt x="982" y="9327"/>
                    </a:lnTo>
                    <a:lnTo>
                      <a:pt x="0" y="9327"/>
                    </a:lnTo>
                    <a:lnTo>
                      <a:pt x="0" y="12109"/>
                    </a:lnTo>
                    <a:lnTo>
                      <a:pt x="1800" y="12109"/>
                    </a:lnTo>
                    <a:lnTo>
                      <a:pt x="1800" y="13091"/>
                    </a:lnTo>
                    <a:lnTo>
                      <a:pt x="1800" y="12109"/>
                    </a:lnTo>
                    <a:lnTo>
                      <a:pt x="1800" y="13091"/>
                    </a:lnTo>
                    <a:lnTo>
                      <a:pt x="5564" y="13091"/>
                    </a:lnTo>
                    <a:lnTo>
                      <a:pt x="5564" y="14073"/>
                    </a:lnTo>
                    <a:lnTo>
                      <a:pt x="5564" y="13091"/>
                    </a:lnTo>
                    <a:lnTo>
                      <a:pt x="6545" y="13091"/>
                    </a:lnTo>
                    <a:lnTo>
                      <a:pt x="6545" y="15873"/>
                    </a:lnTo>
                    <a:lnTo>
                      <a:pt x="7527" y="15873"/>
                    </a:lnTo>
                    <a:lnTo>
                      <a:pt x="7527" y="15055"/>
                    </a:lnTo>
                    <a:lnTo>
                      <a:pt x="7527" y="15873"/>
                    </a:lnTo>
                    <a:lnTo>
                      <a:pt x="8345" y="15055"/>
                    </a:lnTo>
                    <a:lnTo>
                      <a:pt x="8345" y="15873"/>
                    </a:lnTo>
                    <a:lnTo>
                      <a:pt x="8345" y="15055"/>
                    </a:lnTo>
                    <a:lnTo>
                      <a:pt x="9327" y="15873"/>
                    </a:lnTo>
                    <a:lnTo>
                      <a:pt x="9327" y="18655"/>
                    </a:lnTo>
                    <a:lnTo>
                      <a:pt x="10309" y="18655"/>
                    </a:lnTo>
                    <a:lnTo>
                      <a:pt x="10309" y="19636"/>
                    </a:lnTo>
                    <a:lnTo>
                      <a:pt x="11291" y="19636"/>
                    </a:lnTo>
                    <a:lnTo>
                      <a:pt x="11291" y="18655"/>
                    </a:lnTo>
                    <a:lnTo>
                      <a:pt x="11291" y="19636"/>
                    </a:lnTo>
                    <a:lnTo>
                      <a:pt x="12109" y="19636"/>
                    </a:lnTo>
                    <a:lnTo>
                      <a:pt x="13091" y="20618"/>
                    </a:lnTo>
                    <a:lnTo>
                      <a:pt x="13091" y="21600"/>
                    </a:lnTo>
                    <a:lnTo>
                      <a:pt x="14073" y="20618"/>
                    </a:lnTo>
                    <a:lnTo>
                      <a:pt x="14073" y="21600"/>
                    </a:lnTo>
                    <a:lnTo>
                      <a:pt x="15873" y="21600"/>
                    </a:lnTo>
                    <a:lnTo>
                      <a:pt x="15873" y="20618"/>
                    </a:lnTo>
                    <a:lnTo>
                      <a:pt x="16855" y="20618"/>
                    </a:lnTo>
                    <a:lnTo>
                      <a:pt x="16855" y="19636"/>
                    </a:lnTo>
                    <a:lnTo>
                      <a:pt x="17836" y="19636"/>
                    </a:lnTo>
                    <a:lnTo>
                      <a:pt x="17836" y="20618"/>
                    </a:lnTo>
                    <a:lnTo>
                      <a:pt x="17836" y="18655"/>
                    </a:lnTo>
                    <a:lnTo>
                      <a:pt x="16855" y="18655"/>
                    </a:lnTo>
                    <a:lnTo>
                      <a:pt x="16855" y="16855"/>
                    </a:lnTo>
                    <a:lnTo>
                      <a:pt x="15873" y="16855"/>
                    </a:lnTo>
                    <a:lnTo>
                      <a:pt x="16855" y="16855"/>
                    </a:lnTo>
                    <a:lnTo>
                      <a:pt x="16855" y="15873"/>
                    </a:lnTo>
                    <a:lnTo>
                      <a:pt x="15873" y="15873"/>
                    </a:lnTo>
                    <a:lnTo>
                      <a:pt x="15873" y="13091"/>
                    </a:lnTo>
                    <a:lnTo>
                      <a:pt x="16855" y="13091"/>
                    </a:lnTo>
                    <a:lnTo>
                      <a:pt x="16855" y="12109"/>
                    </a:lnTo>
                    <a:lnTo>
                      <a:pt x="17836" y="12109"/>
                    </a:lnTo>
                    <a:lnTo>
                      <a:pt x="17836" y="11291"/>
                    </a:lnTo>
                    <a:lnTo>
                      <a:pt x="18655" y="11291"/>
                    </a:lnTo>
                    <a:lnTo>
                      <a:pt x="18655" y="10309"/>
                    </a:lnTo>
                    <a:lnTo>
                      <a:pt x="19636" y="10309"/>
                    </a:lnTo>
                    <a:lnTo>
                      <a:pt x="19636" y="9327"/>
                    </a:lnTo>
                    <a:lnTo>
                      <a:pt x="20618" y="9327"/>
                    </a:lnTo>
                    <a:lnTo>
                      <a:pt x="20618" y="8509"/>
                    </a:lnTo>
                    <a:lnTo>
                      <a:pt x="21600" y="850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78" name="Shape 3004"/>
              <p:cNvSpPr/>
              <p:nvPr/>
            </p:nvSpPr>
            <p:spPr>
              <a:xfrm>
                <a:off x="6939331" y="4610375"/>
                <a:ext cx="174757" cy="19064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248" y="18818"/>
                    </a:moveTo>
                    <a:lnTo>
                      <a:pt x="6248" y="16855"/>
                    </a:lnTo>
                    <a:lnTo>
                      <a:pt x="5177" y="16855"/>
                    </a:lnTo>
                    <a:lnTo>
                      <a:pt x="5177" y="16036"/>
                    </a:lnTo>
                    <a:lnTo>
                      <a:pt x="6248" y="15055"/>
                    </a:lnTo>
                    <a:lnTo>
                      <a:pt x="5177" y="15055"/>
                    </a:lnTo>
                    <a:lnTo>
                      <a:pt x="5177" y="14073"/>
                    </a:lnTo>
                    <a:lnTo>
                      <a:pt x="4106" y="14073"/>
                    </a:lnTo>
                    <a:lnTo>
                      <a:pt x="3213" y="13091"/>
                    </a:lnTo>
                    <a:lnTo>
                      <a:pt x="3213" y="12273"/>
                    </a:lnTo>
                    <a:lnTo>
                      <a:pt x="2142" y="12273"/>
                    </a:lnTo>
                    <a:lnTo>
                      <a:pt x="2142" y="11291"/>
                    </a:lnTo>
                    <a:lnTo>
                      <a:pt x="1071" y="11291"/>
                    </a:lnTo>
                    <a:lnTo>
                      <a:pt x="2142" y="10309"/>
                    </a:lnTo>
                    <a:lnTo>
                      <a:pt x="1071" y="10309"/>
                    </a:lnTo>
                    <a:lnTo>
                      <a:pt x="2142" y="10309"/>
                    </a:lnTo>
                    <a:lnTo>
                      <a:pt x="1071" y="10309"/>
                    </a:lnTo>
                    <a:lnTo>
                      <a:pt x="1071" y="9491"/>
                    </a:lnTo>
                    <a:lnTo>
                      <a:pt x="0" y="8509"/>
                    </a:lnTo>
                    <a:lnTo>
                      <a:pt x="0" y="7527"/>
                    </a:lnTo>
                    <a:lnTo>
                      <a:pt x="1071" y="7527"/>
                    </a:lnTo>
                    <a:lnTo>
                      <a:pt x="0" y="6545"/>
                    </a:lnTo>
                    <a:lnTo>
                      <a:pt x="0" y="4745"/>
                    </a:lnTo>
                    <a:lnTo>
                      <a:pt x="1071" y="4745"/>
                    </a:lnTo>
                    <a:lnTo>
                      <a:pt x="0" y="4745"/>
                    </a:lnTo>
                    <a:lnTo>
                      <a:pt x="0" y="3764"/>
                    </a:lnTo>
                    <a:lnTo>
                      <a:pt x="1071" y="3764"/>
                    </a:lnTo>
                    <a:lnTo>
                      <a:pt x="1071" y="2945"/>
                    </a:lnTo>
                    <a:lnTo>
                      <a:pt x="4106" y="2945"/>
                    </a:lnTo>
                    <a:lnTo>
                      <a:pt x="4106" y="1964"/>
                    </a:lnTo>
                    <a:lnTo>
                      <a:pt x="4106" y="2945"/>
                    </a:lnTo>
                    <a:lnTo>
                      <a:pt x="4106" y="982"/>
                    </a:lnTo>
                    <a:lnTo>
                      <a:pt x="5177" y="982"/>
                    </a:lnTo>
                    <a:lnTo>
                      <a:pt x="5177" y="1964"/>
                    </a:lnTo>
                    <a:lnTo>
                      <a:pt x="5177" y="982"/>
                    </a:lnTo>
                    <a:lnTo>
                      <a:pt x="6248" y="1964"/>
                    </a:lnTo>
                    <a:lnTo>
                      <a:pt x="9283" y="1964"/>
                    </a:lnTo>
                    <a:lnTo>
                      <a:pt x="9283" y="2945"/>
                    </a:lnTo>
                    <a:lnTo>
                      <a:pt x="10354" y="2945"/>
                    </a:lnTo>
                    <a:lnTo>
                      <a:pt x="10354" y="3764"/>
                    </a:lnTo>
                    <a:lnTo>
                      <a:pt x="10354" y="2945"/>
                    </a:lnTo>
                    <a:lnTo>
                      <a:pt x="11246" y="2945"/>
                    </a:lnTo>
                    <a:lnTo>
                      <a:pt x="11246" y="982"/>
                    </a:lnTo>
                    <a:lnTo>
                      <a:pt x="13388" y="982"/>
                    </a:lnTo>
                    <a:lnTo>
                      <a:pt x="13388" y="1964"/>
                    </a:lnTo>
                    <a:lnTo>
                      <a:pt x="14460" y="1964"/>
                    </a:lnTo>
                    <a:lnTo>
                      <a:pt x="14460" y="982"/>
                    </a:lnTo>
                    <a:lnTo>
                      <a:pt x="15352" y="982"/>
                    </a:lnTo>
                    <a:lnTo>
                      <a:pt x="15352" y="0"/>
                    </a:lnTo>
                    <a:lnTo>
                      <a:pt x="16423" y="0"/>
                    </a:lnTo>
                    <a:lnTo>
                      <a:pt x="17494" y="982"/>
                    </a:lnTo>
                    <a:lnTo>
                      <a:pt x="17494" y="1964"/>
                    </a:lnTo>
                    <a:lnTo>
                      <a:pt x="16423" y="1964"/>
                    </a:lnTo>
                    <a:lnTo>
                      <a:pt x="17494" y="1964"/>
                    </a:lnTo>
                    <a:lnTo>
                      <a:pt x="17494" y="2945"/>
                    </a:lnTo>
                    <a:lnTo>
                      <a:pt x="18387" y="2945"/>
                    </a:lnTo>
                    <a:lnTo>
                      <a:pt x="18387" y="1964"/>
                    </a:lnTo>
                    <a:lnTo>
                      <a:pt x="19458" y="1964"/>
                    </a:lnTo>
                    <a:lnTo>
                      <a:pt x="19458" y="2945"/>
                    </a:lnTo>
                    <a:lnTo>
                      <a:pt x="20529" y="2945"/>
                    </a:lnTo>
                    <a:lnTo>
                      <a:pt x="19458" y="2945"/>
                    </a:lnTo>
                    <a:lnTo>
                      <a:pt x="19458" y="4745"/>
                    </a:lnTo>
                    <a:lnTo>
                      <a:pt x="20529" y="4745"/>
                    </a:lnTo>
                    <a:lnTo>
                      <a:pt x="19458" y="4745"/>
                    </a:lnTo>
                    <a:lnTo>
                      <a:pt x="20529" y="4745"/>
                    </a:lnTo>
                    <a:lnTo>
                      <a:pt x="20529" y="5727"/>
                    </a:lnTo>
                    <a:lnTo>
                      <a:pt x="21600" y="6545"/>
                    </a:lnTo>
                    <a:lnTo>
                      <a:pt x="21600" y="7527"/>
                    </a:lnTo>
                    <a:lnTo>
                      <a:pt x="20529" y="7527"/>
                    </a:lnTo>
                    <a:lnTo>
                      <a:pt x="20529" y="6545"/>
                    </a:lnTo>
                    <a:lnTo>
                      <a:pt x="20529" y="7527"/>
                    </a:lnTo>
                    <a:lnTo>
                      <a:pt x="19458" y="7527"/>
                    </a:lnTo>
                    <a:lnTo>
                      <a:pt x="19458" y="9491"/>
                    </a:lnTo>
                    <a:lnTo>
                      <a:pt x="18387" y="9491"/>
                    </a:lnTo>
                    <a:lnTo>
                      <a:pt x="19458" y="9491"/>
                    </a:lnTo>
                    <a:lnTo>
                      <a:pt x="19458" y="12273"/>
                    </a:lnTo>
                    <a:lnTo>
                      <a:pt x="18387" y="12273"/>
                    </a:lnTo>
                    <a:lnTo>
                      <a:pt x="18387" y="14073"/>
                    </a:lnTo>
                    <a:lnTo>
                      <a:pt x="17494" y="14073"/>
                    </a:lnTo>
                    <a:lnTo>
                      <a:pt x="17494" y="16855"/>
                    </a:lnTo>
                    <a:lnTo>
                      <a:pt x="16423" y="16855"/>
                    </a:lnTo>
                    <a:lnTo>
                      <a:pt x="16423" y="17836"/>
                    </a:lnTo>
                    <a:lnTo>
                      <a:pt x="14460" y="17836"/>
                    </a:lnTo>
                    <a:lnTo>
                      <a:pt x="14460" y="16855"/>
                    </a:lnTo>
                    <a:lnTo>
                      <a:pt x="14460" y="18818"/>
                    </a:lnTo>
                    <a:lnTo>
                      <a:pt x="11246" y="18818"/>
                    </a:lnTo>
                    <a:lnTo>
                      <a:pt x="12317" y="19636"/>
                    </a:lnTo>
                    <a:lnTo>
                      <a:pt x="11246" y="19636"/>
                    </a:lnTo>
                    <a:lnTo>
                      <a:pt x="11246" y="20618"/>
                    </a:lnTo>
                    <a:lnTo>
                      <a:pt x="10354" y="20618"/>
                    </a:lnTo>
                    <a:lnTo>
                      <a:pt x="10354" y="21600"/>
                    </a:lnTo>
                    <a:lnTo>
                      <a:pt x="9283" y="21600"/>
                    </a:lnTo>
                    <a:lnTo>
                      <a:pt x="10354" y="20618"/>
                    </a:lnTo>
                    <a:lnTo>
                      <a:pt x="8212" y="20618"/>
                    </a:lnTo>
                    <a:lnTo>
                      <a:pt x="8212" y="19636"/>
                    </a:lnTo>
                    <a:lnTo>
                      <a:pt x="7140" y="19636"/>
                    </a:lnTo>
                    <a:lnTo>
                      <a:pt x="7140" y="18818"/>
                    </a:lnTo>
                    <a:lnTo>
                      <a:pt x="6248" y="1881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79" name="Shape 3005"/>
              <p:cNvSpPr/>
              <p:nvPr/>
            </p:nvSpPr>
            <p:spPr>
              <a:xfrm>
                <a:off x="6807903" y="4652259"/>
                <a:ext cx="181978" cy="19786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714" y="21600"/>
                    </a:moveTo>
                    <a:lnTo>
                      <a:pt x="12686" y="21600"/>
                    </a:lnTo>
                    <a:lnTo>
                      <a:pt x="12686" y="20654"/>
                    </a:lnTo>
                    <a:lnTo>
                      <a:pt x="10800" y="20654"/>
                    </a:lnTo>
                    <a:lnTo>
                      <a:pt x="10800" y="17974"/>
                    </a:lnTo>
                    <a:lnTo>
                      <a:pt x="9771" y="17974"/>
                    </a:lnTo>
                    <a:lnTo>
                      <a:pt x="9771" y="17028"/>
                    </a:lnTo>
                    <a:lnTo>
                      <a:pt x="8743" y="17028"/>
                    </a:lnTo>
                    <a:lnTo>
                      <a:pt x="8743" y="15293"/>
                    </a:lnTo>
                    <a:lnTo>
                      <a:pt x="7886" y="15293"/>
                    </a:lnTo>
                    <a:lnTo>
                      <a:pt x="7886" y="12613"/>
                    </a:lnTo>
                    <a:lnTo>
                      <a:pt x="6857" y="12613"/>
                    </a:lnTo>
                    <a:lnTo>
                      <a:pt x="6857" y="11667"/>
                    </a:lnTo>
                    <a:lnTo>
                      <a:pt x="4971" y="11667"/>
                    </a:lnTo>
                    <a:lnTo>
                      <a:pt x="4971" y="10879"/>
                    </a:lnTo>
                    <a:lnTo>
                      <a:pt x="2914" y="10879"/>
                    </a:lnTo>
                    <a:lnTo>
                      <a:pt x="3943" y="9933"/>
                    </a:lnTo>
                    <a:lnTo>
                      <a:pt x="3943" y="8041"/>
                    </a:lnTo>
                    <a:lnTo>
                      <a:pt x="2914" y="8041"/>
                    </a:lnTo>
                    <a:lnTo>
                      <a:pt x="2914" y="8987"/>
                    </a:lnTo>
                    <a:lnTo>
                      <a:pt x="1886" y="8041"/>
                    </a:lnTo>
                    <a:lnTo>
                      <a:pt x="1029" y="8041"/>
                    </a:lnTo>
                    <a:lnTo>
                      <a:pt x="1029" y="7253"/>
                    </a:lnTo>
                    <a:lnTo>
                      <a:pt x="0" y="7253"/>
                    </a:lnTo>
                    <a:lnTo>
                      <a:pt x="1029" y="7253"/>
                    </a:lnTo>
                    <a:lnTo>
                      <a:pt x="0" y="7253"/>
                    </a:lnTo>
                    <a:lnTo>
                      <a:pt x="0" y="6307"/>
                    </a:lnTo>
                    <a:lnTo>
                      <a:pt x="1029" y="6307"/>
                    </a:lnTo>
                    <a:lnTo>
                      <a:pt x="1029" y="5361"/>
                    </a:lnTo>
                    <a:lnTo>
                      <a:pt x="1029" y="6307"/>
                    </a:lnTo>
                    <a:lnTo>
                      <a:pt x="1886" y="5361"/>
                    </a:lnTo>
                    <a:lnTo>
                      <a:pt x="1886" y="6307"/>
                    </a:lnTo>
                    <a:lnTo>
                      <a:pt x="1886" y="5361"/>
                    </a:lnTo>
                    <a:lnTo>
                      <a:pt x="2914" y="5361"/>
                    </a:lnTo>
                    <a:lnTo>
                      <a:pt x="2914" y="4572"/>
                    </a:lnTo>
                    <a:lnTo>
                      <a:pt x="2914" y="5361"/>
                    </a:lnTo>
                    <a:lnTo>
                      <a:pt x="3943" y="4572"/>
                    </a:lnTo>
                    <a:lnTo>
                      <a:pt x="2914" y="4572"/>
                    </a:lnTo>
                    <a:lnTo>
                      <a:pt x="3943" y="4572"/>
                    </a:lnTo>
                    <a:lnTo>
                      <a:pt x="3943" y="3626"/>
                    </a:lnTo>
                    <a:lnTo>
                      <a:pt x="2914" y="3626"/>
                    </a:lnTo>
                    <a:lnTo>
                      <a:pt x="2914" y="1734"/>
                    </a:lnTo>
                    <a:lnTo>
                      <a:pt x="3943" y="2680"/>
                    </a:lnTo>
                    <a:lnTo>
                      <a:pt x="3943" y="1734"/>
                    </a:lnTo>
                    <a:lnTo>
                      <a:pt x="4971" y="2680"/>
                    </a:lnTo>
                    <a:lnTo>
                      <a:pt x="4971" y="1734"/>
                    </a:lnTo>
                    <a:lnTo>
                      <a:pt x="4971" y="2680"/>
                    </a:lnTo>
                    <a:lnTo>
                      <a:pt x="7886" y="2680"/>
                    </a:lnTo>
                    <a:lnTo>
                      <a:pt x="7886" y="1734"/>
                    </a:lnTo>
                    <a:lnTo>
                      <a:pt x="6857" y="1734"/>
                    </a:lnTo>
                    <a:lnTo>
                      <a:pt x="6857" y="946"/>
                    </a:lnTo>
                    <a:lnTo>
                      <a:pt x="7886" y="946"/>
                    </a:lnTo>
                    <a:lnTo>
                      <a:pt x="7886" y="0"/>
                    </a:lnTo>
                    <a:lnTo>
                      <a:pt x="8743" y="0"/>
                    </a:lnTo>
                    <a:lnTo>
                      <a:pt x="8743" y="946"/>
                    </a:lnTo>
                    <a:lnTo>
                      <a:pt x="8743" y="0"/>
                    </a:lnTo>
                    <a:lnTo>
                      <a:pt x="9771" y="0"/>
                    </a:lnTo>
                    <a:lnTo>
                      <a:pt x="9771" y="946"/>
                    </a:lnTo>
                    <a:lnTo>
                      <a:pt x="10800" y="0"/>
                    </a:lnTo>
                    <a:lnTo>
                      <a:pt x="11829" y="0"/>
                    </a:lnTo>
                    <a:lnTo>
                      <a:pt x="10800" y="946"/>
                    </a:lnTo>
                    <a:lnTo>
                      <a:pt x="11829" y="946"/>
                    </a:lnTo>
                    <a:lnTo>
                      <a:pt x="11829" y="0"/>
                    </a:lnTo>
                    <a:lnTo>
                      <a:pt x="12686" y="0"/>
                    </a:lnTo>
                    <a:lnTo>
                      <a:pt x="12686" y="946"/>
                    </a:lnTo>
                    <a:lnTo>
                      <a:pt x="14743" y="946"/>
                    </a:lnTo>
                    <a:lnTo>
                      <a:pt x="14743" y="0"/>
                    </a:lnTo>
                    <a:lnTo>
                      <a:pt x="15600" y="0"/>
                    </a:lnTo>
                    <a:lnTo>
                      <a:pt x="15600" y="1734"/>
                    </a:lnTo>
                    <a:lnTo>
                      <a:pt x="16629" y="2680"/>
                    </a:lnTo>
                    <a:lnTo>
                      <a:pt x="15600" y="2680"/>
                    </a:lnTo>
                    <a:lnTo>
                      <a:pt x="15600" y="3626"/>
                    </a:lnTo>
                    <a:lnTo>
                      <a:pt x="16629" y="4572"/>
                    </a:lnTo>
                    <a:lnTo>
                      <a:pt x="16629" y="5361"/>
                    </a:lnTo>
                    <a:lnTo>
                      <a:pt x="17657" y="5361"/>
                    </a:lnTo>
                    <a:lnTo>
                      <a:pt x="16629" y="5361"/>
                    </a:lnTo>
                    <a:lnTo>
                      <a:pt x="17657" y="5361"/>
                    </a:lnTo>
                    <a:lnTo>
                      <a:pt x="16629" y="6307"/>
                    </a:lnTo>
                    <a:lnTo>
                      <a:pt x="17657" y="6307"/>
                    </a:lnTo>
                    <a:lnTo>
                      <a:pt x="17657" y="7253"/>
                    </a:lnTo>
                    <a:lnTo>
                      <a:pt x="18686" y="7253"/>
                    </a:lnTo>
                    <a:lnTo>
                      <a:pt x="18686" y="8041"/>
                    </a:lnTo>
                    <a:lnTo>
                      <a:pt x="19543" y="8987"/>
                    </a:lnTo>
                    <a:lnTo>
                      <a:pt x="20571" y="8987"/>
                    </a:lnTo>
                    <a:lnTo>
                      <a:pt x="20571" y="9933"/>
                    </a:lnTo>
                    <a:lnTo>
                      <a:pt x="21600" y="9933"/>
                    </a:lnTo>
                    <a:lnTo>
                      <a:pt x="20571" y="10879"/>
                    </a:lnTo>
                    <a:lnTo>
                      <a:pt x="20571" y="11667"/>
                    </a:lnTo>
                    <a:lnTo>
                      <a:pt x="21600" y="11667"/>
                    </a:lnTo>
                    <a:lnTo>
                      <a:pt x="21600" y="13559"/>
                    </a:lnTo>
                    <a:lnTo>
                      <a:pt x="20571" y="13559"/>
                    </a:lnTo>
                    <a:lnTo>
                      <a:pt x="20571" y="14347"/>
                    </a:lnTo>
                    <a:lnTo>
                      <a:pt x="19543" y="14347"/>
                    </a:lnTo>
                    <a:lnTo>
                      <a:pt x="19543" y="15293"/>
                    </a:lnTo>
                    <a:lnTo>
                      <a:pt x="18686" y="15293"/>
                    </a:lnTo>
                    <a:lnTo>
                      <a:pt x="18686" y="16239"/>
                    </a:lnTo>
                    <a:lnTo>
                      <a:pt x="17657" y="16239"/>
                    </a:lnTo>
                    <a:lnTo>
                      <a:pt x="17657" y="19866"/>
                    </a:lnTo>
                    <a:lnTo>
                      <a:pt x="16629" y="19866"/>
                    </a:lnTo>
                    <a:lnTo>
                      <a:pt x="16629" y="20654"/>
                    </a:lnTo>
                    <a:lnTo>
                      <a:pt x="16629" y="19866"/>
                    </a:lnTo>
                    <a:lnTo>
                      <a:pt x="14743" y="19866"/>
                    </a:lnTo>
                    <a:lnTo>
                      <a:pt x="14743" y="20654"/>
                    </a:lnTo>
                    <a:lnTo>
                      <a:pt x="14743" y="19866"/>
                    </a:lnTo>
                    <a:lnTo>
                      <a:pt x="14743" y="20654"/>
                    </a:lnTo>
                    <a:lnTo>
                      <a:pt x="13714" y="20654"/>
                    </a:lnTo>
                    <a:lnTo>
                      <a:pt x="13714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/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80" name="Shape 3006"/>
              <p:cNvSpPr/>
              <p:nvPr/>
            </p:nvSpPr>
            <p:spPr>
              <a:xfrm>
                <a:off x="6849786" y="4503500"/>
                <a:ext cx="231083" cy="15742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4558"/>
                    </a:moveTo>
                    <a:lnTo>
                      <a:pt x="675" y="4558"/>
                    </a:lnTo>
                    <a:lnTo>
                      <a:pt x="675" y="9116"/>
                    </a:lnTo>
                    <a:lnTo>
                      <a:pt x="2295" y="9116"/>
                    </a:lnTo>
                    <a:lnTo>
                      <a:pt x="2295" y="13673"/>
                    </a:lnTo>
                    <a:lnTo>
                      <a:pt x="1485" y="13673"/>
                    </a:lnTo>
                    <a:lnTo>
                      <a:pt x="1485" y="15853"/>
                    </a:lnTo>
                    <a:lnTo>
                      <a:pt x="675" y="15853"/>
                    </a:lnTo>
                    <a:lnTo>
                      <a:pt x="675" y="17042"/>
                    </a:lnTo>
                    <a:lnTo>
                      <a:pt x="1485" y="17042"/>
                    </a:lnTo>
                    <a:lnTo>
                      <a:pt x="1485" y="18231"/>
                    </a:lnTo>
                    <a:lnTo>
                      <a:pt x="2295" y="18231"/>
                    </a:lnTo>
                    <a:lnTo>
                      <a:pt x="2295" y="19222"/>
                    </a:lnTo>
                    <a:lnTo>
                      <a:pt x="2970" y="19222"/>
                    </a:lnTo>
                    <a:lnTo>
                      <a:pt x="3780" y="20411"/>
                    </a:lnTo>
                    <a:lnTo>
                      <a:pt x="3780" y="21600"/>
                    </a:lnTo>
                    <a:lnTo>
                      <a:pt x="4590" y="20411"/>
                    </a:lnTo>
                    <a:lnTo>
                      <a:pt x="5400" y="20411"/>
                    </a:lnTo>
                    <a:lnTo>
                      <a:pt x="4590" y="21600"/>
                    </a:lnTo>
                    <a:lnTo>
                      <a:pt x="5400" y="21600"/>
                    </a:lnTo>
                    <a:lnTo>
                      <a:pt x="5400" y="20411"/>
                    </a:lnTo>
                    <a:lnTo>
                      <a:pt x="6075" y="20411"/>
                    </a:lnTo>
                    <a:lnTo>
                      <a:pt x="6075" y="21600"/>
                    </a:lnTo>
                    <a:lnTo>
                      <a:pt x="7695" y="21600"/>
                    </a:lnTo>
                    <a:lnTo>
                      <a:pt x="7695" y="20411"/>
                    </a:lnTo>
                    <a:lnTo>
                      <a:pt x="8370" y="20411"/>
                    </a:lnTo>
                    <a:lnTo>
                      <a:pt x="8370" y="21600"/>
                    </a:lnTo>
                    <a:lnTo>
                      <a:pt x="8370" y="20411"/>
                    </a:lnTo>
                    <a:lnTo>
                      <a:pt x="9180" y="20411"/>
                    </a:lnTo>
                    <a:lnTo>
                      <a:pt x="8370" y="20411"/>
                    </a:lnTo>
                    <a:lnTo>
                      <a:pt x="8370" y="19222"/>
                    </a:lnTo>
                    <a:lnTo>
                      <a:pt x="9180" y="19222"/>
                    </a:lnTo>
                    <a:lnTo>
                      <a:pt x="9180" y="18231"/>
                    </a:lnTo>
                    <a:lnTo>
                      <a:pt x="11475" y="18231"/>
                    </a:lnTo>
                    <a:lnTo>
                      <a:pt x="11475" y="17042"/>
                    </a:lnTo>
                    <a:lnTo>
                      <a:pt x="11475" y="18231"/>
                    </a:lnTo>
                    <a:lnTo>
                      <a:pt x="11475" y="15853"/>
                    </a:lnTo>
                    <a:lnTo>
                      <a:pt x="12285" y="15853"/>
                    </a:lnTo>
                    <a:lnTo>
                      <a:pt x="12285" y="17042"/>
                    </a:lnTo>
                    <a:lnTo>
                      <a:pt x="12285" y="15853"/>
                    </a:lnTo>
                    <a:lnTo>
                      <a:pt x="13095" y="17042"/>
                    </a:lnTo>
                    <a:lnTo>
                      <a:pt x="15390" y="17042"/>
                    </a:lnTo>
                    <a:lnTo>
                      <a:pt x="15390" y="18231"/>
                    </a:lnTo>
                    <a:lnTo>
                      <a:pt x="16200" y="18231"/>
                    </a:lnTo>
                    <a:lnTo>
                      <a:pt x="16200" y="19222"/>
                    </a:lnTo>
                    <a:lnTo>
                      <a:pt x="16200" y="18231"/>
                    </a:lnTo>
                    <a:lnTo>
                      <a:pt x="16875" y="18231"/>
                    </a:lnTo>
                    <a:lnTo>
                      <a:pt x="16875" y="15853"/>
                    </a:lnTo>
                    <a:lnTo>
                      <a:pt x="18495" y="15853"/>
                    </a:lnTo>
                    <a:lnTo>
                      <a:pt x="18495" y="17042"/>
                    </a:lnTo>
                    <a:lnTo>
                      <a:pt x="19305" y="17042"/>
                    </a:lnTo>
                    <a:lnTo>
                      <a:pt x="19305" y="15853"/>
                    </a:lnTo>
                    <a:lnTo>
                      <a:pt x="19980" y="15853"/>
                    </a:lnTo>
                    <a:lnTo>
                      <a:pt x="19980" y="14664"/>
                    </a:lnTo>
                    <a:lnTo>
                      <a:pt x="20790" y="14664"/>
                    </a:lnTo>
                    <a:lnTo>
                      <a:pt x="19980" y="13673"/>
                    </a:lnTo>
                    <a:lnTo>
                      <a:pt x="20790" y="13673"/>
                    </a:lnTo>
                    <a:lnTo>
                      <a:pt x="20790" y="11295"/>
                    </a:lnTo>
                    <a:lnTo>
                      <a:pt x="21600" y="11295"/>
                    </a:lnTo>
                    <a:lnTo>
                      <a:pt x="21600" y="9116"/>
                    </a:lnTo>
                    <a:lnTo>
                      <a:pt x="20790" y="7927"/>
                    </a:lnTo>
                    <a:lnTo>
                      <a:pt x="20790" y="9116"/>
                    </a:lnTo>
                    <a:lnTo>
                      <a:pt x="20790" y="6738"/>
                    </a:lnTo>
                    <a:lnTo>
                      <a:pt x="19980" y="6738"/>
                    </a:lnTo>
                    <a:lnTo>
                      <a:pt x="20790" y="6738"/>
                    </a:lnTo>
                    <a:lnTo>
                      <a:pt x="20790" y="5747"/>
                    </a:lnTo>
                    <a:lnTo>
                      <a:pt x="17685" y="5747"/>
                    </a:lnTo>
                    <a:lnTo>
                      <a:pt x="17685" y="4558"/>
                    </a:lnTo>
                    <a:lnTo>
                      <a:pt x="16875" y="4558"/>
                    </a:lnTo>
                    <a:lnTo>
                      <a:pt x="16875" y="2378"/>
                    </a:lnTo>
                    <a:lnTo>
                      <a:pt x="16200" y="2378"/>
                    </a:lnTo>
                    <a:lnTo>
                      <a:pt x="16200" y="1189"/>
                    </a:lnTo>
                    <a:lnTo>
                      <a:pt x="16200" y="2378"/>
                    </a:lnTo>
                    <a:lnTo>
                      <a:pt x="15390" y="2378"/>
                    </a:lnTo>
                    <a:lnTo>
                      <a:pt x="15390" y="1189"/>
                    </a:lnTo>
                    <a:lnTo>
                      <a:pt x="15390" y="2378"/>
                    </a:lnTo>
                    <a:lnTo>
                      <a:pt x="15390" y="1189"/>
                    </a:lnTo>
                    <a:lnTo>
                      <a:pt x="14580" y="1189"/>
                    </a:lnTo>
                    <a:lnTo>
                      <a:pt x="14580" y="0"/>
                    </a:lnTo>
                    <a:lnTo>
                      <a:pt x="14580" y="1189"/>
                    </a:lnTo>
                    <a:lnTo>
                      <a:pt x="13770" y="1189"/>
                    </a:lnTo>
                    <a:lnTo>
                      <a:pt x="13770" y="2378"/>
                    </a:lnTo>
                    <a:lnTo>
                      <a:pt x="10800" y="2378"/>
                    </a:lnTo>
                    <a:lnTo>
                      <a:pt x="9990" y="3369"/>
                    </a:lnTo>
                    <a:lnTo>
                      <a:pt x="10800" y="3369"/>
                    </a:lnTo>
                    <a:lnTo>
                      <a:pt x="9990" y="3369"/>
                    </a:lnTo>
                    <a:lnTo>
                      <a:pt x="10800" y="3369"/>
                    </a:lnTo>
                    <a:lnTo>
                      <a:pt x="8370" y="3369"/>
                    </a:lnTo>
                    <a:lnTo>
                      <a:pt x="7695" y="2378"/>
                    </a:lnTo>
                    <a:lnTo>
                      <a:pt x="7695" y="3369"/>
                    </a:lnTo>
                    <a:lnTo>
                      <a:pt x="6885" y="3369"/>
                    </a:lnTo>
                    <a:lnTo>
                      <a:pt x="6885" y="4558"/>
                    </a:lnTo>
                    <a:lnTo>
                      <a:pt x="5400" y="2378"/>
                    </a:lnTo>
                    <a:lnTo>
                      <a:pt x="6075" y="2378"/>
                    </a:lnTo>
                    <a:lnTo>
                      <a:pt x="5400" y="2378"/>
                    </a:lnTo>
                    <a:lnTo>
                      <a:pt x="5400" y="1189"/>
                    </a:lnTo>
                    <a:lnTo>
                      <a:pt x="4590" y="1189"/>
                    </a:lnTo>
                    <a:lnTo>
                      <a:pt x="4590" y="0"/>
                    </a:lnTo>
                    <a:lnTo>
                      <a:pt x="2970" y="0"/>
                    </a:lnTo>
                    <a:lnTo>
                      <a:pt x="2970" y="1189"/>
                    </a:lnTo>
                    <a:lnTo>
                      <a:pt x="2295" y="1189"/>
                    </a:lnTo>
                    <a:lnTo>
                      <a:pt x="2970" y="2378"/>
                    </a:lnTo>
                    <a:lnTo>
                      <a:pt x="2295" y="2378"/>
                    </a:lnTo>
                    <a:lnTo>
                      <a:pt x="2970" y="2378"/>
                    </a:lnTo>
                    <a:lnTo>
                      <a:pt x="1485" y="2378"/>
                    </a:lnTo>
                    <a:lnTo>
                      <a:pt x="1485" y="3369"/>
                    </a:lnTo>
                    <a:lnTo>
                      <a:pt x="675" y="3369"/>
                    </a:lnTo>
                    <a:lnTo>
                      <a:pt x="675" y="4558"/>
                    </a:lnTo>
                    <a:lnTo>
                      <a:pt x="675" y="3369"/>
                    </a:lnTo>
                    <a:lnTo>
                      <a:pt x="0" y="3369"/>
                    </a:lnTo>
                    <a:lnTo>
                      <a:pt x="0" y="455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81" name="Shape 3007"/>
              <p:cNvSpPr/>
              <p:nvPr/>
            </p:nvSpPr>
            <p:spPr>
              <a:xfrm>
                <a:off x="6650478" y="4520831"/>
                <a:ext cx="239749" cy="2137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978" y="21600"/>
                    </a:moveTo>
                    <a:lnTo>
                      <a:pt x="8978" y="18243"/>
                    </a:lnTo>
                    <a:lnTo>
                      <a:pt x="9759" y="18243"/>
                    </a:lnTo>
                    <a:lnTo>
                      <a:pt x="9759" y="14886"/>
                    </a:lnTo>
                    <a:lnTo>
                      <a:pt x="8198" y="14886"/>
                    </a:lnTo>
                    <a:lnTo>
                      <a:pt x="8198" y="14157"/>
                    </a:lnTo>
                    <a:lnTo>
                      <a:pt x="7547" y="13281"/>
                    </a:lnTo>
                    <a:lnTo>
                      <a:pt x="7547" y="12405"/>
                    </a:lnTo>
                    <a:lnTo>
                      <a:pt x="6766" y="13281"/>
                    </a:lnTo>
                    <a:lnTo>
                      <a:pt x="5986" y="12405"/>
                    </a:lnTo>
                    <a:lnTo>
                      <a:pt x="5986" y="13281"/>
                    </a:lnTo>
                    <a:lnTo>
                      <a:pt x="5986" y="12405"/>
                    </a:lnTo>
                    <a:lnTo>
                      <a:pt x="4554" y="12405"/>
                    </a:lnTo>
                    <a:lnTo>
                      <a:pt x="4554" y="10800"/>
                    </a:lnTo>
                    <a:lnTo>
                      <a:pt x="3773" y="10800"/>
                    </a:lnTo>
                    <a:lnTo>
                      <a:pt x="3773" y="9924"/>
                    </a:lnTo>
                    <a:lnTo>
                      <a:pt x="2993" y="9924"/>
                    </a:lnTo>
                    <a:lnTo>
                      <a:pt x="2993" y="10800"/>
                    </a:lnTo>
                    <a:lnTo>
                      <a:pt x="2342" y="10800"/>
                    </a:lnTo>
                    <a:lnTo>
                      <a:pt x="2342" y="11676"/>
                    </a:lnTo>
                    <a:lnTo>
                      <a:pt x="1561" y="11676"/>
                    </a:lnTo>
                    <a:lnTo>
                      <a:pt x="1561" y="10800"/>
                    </a:lnTo>
                    <a:lnTo>
                      <a:pt x="0" y="10800"/>
                    </a:lnTo>
                    <a:lnTo>
                      <a:pt x="781" y="9924"/>
                    </a:lnTo>
                    <a:lnTo>
                      <a:pt x="0" y="9924"/>
                    </a:lnTo>
                    <a:lnTo>
                      <a:pt x="0" y="8319"/>
                    </a:lnTo>
                    <a:lnTo>
                      <a:pt x="781" y="8319"/>
                    </a:lnTo>
                    <a:lnTo>
                      <a:pt x="781" y="6568"/>
                    </a:lnTo>
                    <a:lnTo>
                      <a:pt x="1561" y="6568"/>
                    </a:lnTo>
                    <a:lnTo>
                      <a:pt x="1561" y="5838"/>
                    </a:lnTo>
                    <a:lnTo>
                      <a:pt x="2342" y="5838"/>
                    </a:lnTo>
                    <a:lnTo>
                      <a:pt x="2342" y="4086"/>
                    </a:lnTo>
                    <a:lnTo>
                      <a:pt x="2993" y="4086"/>
                    </a:lnTo>
                    <a:lnTo>
                      <a:pt x="2993" y="730"/>
                    </a:lnTo>
                    <a:lnTo>
                      <a:pt x="3773" y="0"/>
                    </a:lnTo>
                    <a:lnTo>
                      <a:pt x="3773" y="730"/>
                    </a:lnTo>
                    <a:lnTo>
                      <a:pt x="4554" y="730"/>
                    </a:lnTo>
                    <a:lnTo>
                      <a:pt x="4554" y="0"/>
                    </a:lnTo>
                    <a:lnTo>
                      <a:pt x="5205" y="0"/>
                    </a:lnTo>
                    <a:lnTo>
                      <a:pt x="5205" y="730"/>
                    </a:lnTo>
                    <a:lnTo>
                      <a:pt x="5986" y="730"/>
                    </a:lnTo>
                    <a:lnTo>
                      <a:pt x="5986" y="2481"/>
                    </a:lnTo>
                    <a:lnTo>
                      <a:pt x="6766" y="2481"/>
                    </a:lnTo>
                    <a:lnTo>
                      <a:pt x="6766" y="3211"/>
                    </a:lnTo>
                    <a:lnTo>
                      <a:pt x="7547" y="3211"/>
                    </a:lnTo>
                    <a:lnTo>
                      <a:pt x="7547" y="4086"/>
                    </a:lnTo>
                    <a:lnTo>
                      <a:pt x="7547" y="3211"/>
                    </a:lnTo>
                    <a:lnTo>
                      <a:pt x="8198" y="4086"/>
                    </a:lnTo>
                    <a:lnTo>
                      <a:pt x="8198" y="3211"/>
                    </a:lnTo>
                    <a:lnTo>
                      <a:pt x="8978" y="4086"/>
                    </a:lnTo>
                    <a:lnTo>
                      <a:pt x="9759" y="3211"/>
                    </a:lnTo>
                    <a:lnTo>
                      <a:pt x="10410" y="3211"/>
                    </a:lnTo>
                    <a:lnTo>
                      <a:pt x="10410" y="4086"/>
                    </a:lnTo>
                    <a:lnTo>
                      <a:pt x="11190" y="4086"/>
                    </a:lnTo>
                    <a:lnTo>
                      <a:pt x="11190" y="3211"/>
                    </a:lnTo>
                    <a:lnTo>
                      <a:pt x="12752" y="3211"/>
                    </a:lnTo>
                    <a:lnTo>
                      <a:pt x="12752" y="2481"/>
                    </a:lnTo>
                    <a:lnTo>
                      <a:pt x="16395" y="2481"/>
                    </a:lnTo>
                    <a:lnTo>
                      <a:pt x="16395" y="1605"/>
                    </a:lnTo>
                    <a:lnTo>
                      <a:pt x="17176" y="1605"/>
                    </a:lnTo>
                    <a:lnTo>
                      <a:pt x="16395" y="1605"/>
                    </a:lnTo>
                    <a:lnTo>
                      <a:pt x="18607" y="1605"/>
                    </a:lnTo>
                    <a:lnTo>
                      <a:pt x="18607" y="4962"/>
                    </a:lnTo>
                    <a:lnTo>
                      <a:pt x="20169" y="4962"/>
                    </a:lnTo>
                    <a:lnTo>
                      <a:pt x="20169" y="8319"/>
                    </a:lnTo>
                    <a:lnTo>
                      <a:pt x="19388" y="8319"/>
                    </a:lnTo>
                    <a:lnTo>
                      <a:pt x="19388" y="9924"/>
                    </a:lnTo>
                    <a:lnTo>
                      <a:pt x="18607" y="9924"/>
                    </a:lnTo>
                    <a:lnTo>
                      <a:pt x="18607" y="10800"/>
                    </a:lnTo>
                    <a:lnTo>
                      <a:pt x="19388" y="10800"/>
                    </a:lnTo>
                    <a:lnTo>
                      <a:pt x="19388" y="11676"/>
                    </a:lnTo>
                    <a:lnTo>
                      <a:pt x="20169" y="11676"/>
                    </a:lnTo>
                    <a:lnTo>
                      <a:pt x="20169" y="12405"/>
                    </a:lnTo>
                    <a:lnTo>
                      <a:pt x="20819" y="12405"/>
                    </a:lnTo>
                    <a:lnTo>
                      <a:pt x="21600" y="13281"/>
                    </a:lnTo>
                    <a:lnTo>
                      <a:pt x="20819" y="13281"/>
                    </a:lnTo>
                    <a:lnTo>
                      <a:pt x="20819" y="14157"/>
                    </a:lnTo>
                    <a:lnTo>
                      <a:pt x="20819" y="13281"/>
                    </a:lnTo>
                    <a:lnTo>
                      <a:pt x="20169" y="13281"/>
                    </a:lnTo>
                    <a:lnTo>
                      <a:pt x="20169" y="14157"/>
                    </a:lnTo>
                    <a:lnTo>
                      <a:pt x="19388" y="14157"/>
                    </a:lnTo>
                    <a:lnTo>
                      <a:pt x="19388" y="14886"/>
                    </a:lnTo>
                    <a:lnTo>
                      <a:pt x="20169" y="14886"/>
                    </a:lnTo>
                    <a:lnTo>
                      <a:pt x="20169" y="15762"/>
                    </a:lnTo>
                    <a:lnTo>
                      <a:pt x="17957" y="15762"/>
                    </a:lnTo>
                    <a:lnTo>
                      <a:pt x="17957" y="14886"/>
                    </a:lnTo>
                    <a:lnTo>
                      <a:pt x="17957" y="15762"/>
                    </a:lnTo>
                    <a:lnTo>
                      <a:pt x="17176" y="14886"/>
                    </a:lnTo>
                    <a:lnTo>
                      <a:pt x="17176" y="15762"/>
                    </a:lnTo>
                    <a:lnTo>
                      <a:pt x="16395" y="14886"/>
                    </a:lnTo>
                    <a:lnTo>
                      <a:pt x="16395" y="16638"/>
                    </a:lnTo>
                    <a:lnTo>
                      <a:pt x="17176" y="16638"/>
                    </a:lnTo>
                    <a:lnTo>
                      <a:pt x="17176" y="17514"/>
                    </a:lnTo>
                    <a:lnTo>
                      <a:pt x="16395" y="17514"/>
                    </a:lnTo>
                    <a:lnTo>
                      <a:pt x="17176" y="17514"/>
                    </a:lnTo>
                    <a:lnTo>
                      <a:pt x="16395" y="18243"/>
                    </a:lnTo>
                    <a:lnTo>
                      <a:pt x="16395" y="17514"/>
                    </a:lnTo>
                    <a:lnTo>
                      <a:pt x="16395" y="18243"/>
                    </a:lnTo>
                    <a:lnTo>
                      <a:pt x="15614" y="18243"/>
                    </a:lnTo>
                    <a:lnTo>
                      <a:pt x="15614" y="19119"/>
                    </a:lnTo>
                    <a:lnTo>
                      <a:pt x="15614" y="18243"/>
                    </a:lnTo>
                    <a:lnTo>
                      <a:pt x="14964" y="19119"/>
                    </a:lnTo>
                    <a:lnTo>
                      <a:pt x="14964" y="18243"/>
                    </a:lnTo>
                    <a:lnTo>
                      <a:pt x="14964" y="19119"/>
                    </a:lnTo>
                    <a:lnTo>
                      <a:pt x="14183" y="19119"/>
                    </a:lnTo>
                    <a:lnTo>
                      <a:pt x="14183" y="19995"/>
                    </a:lnTo>
                    <a:lnTo>
                      <a:pt x="13402" y="19995"/>
                    </a:lnTo>
                    <a:lnTo>
                      <a:pt x="13402" y="20724"/>
                    </a:lnTo>
                    <a:lnTo>
                      <a:pt x="12752" y="20724"/>
                    </a:lnTo>
                    <a:lnTo>
                      <a:pt x="12752" y="19995"/>
                    </a:lnTo>
                    <a:lnTo>
                      <a:pt x="11971" y="19995"/>
                    </a:lnTo>
                    <a:lnTo>
                      <a:pt x="11971" y="20724"/>
                    </a:lnTo>
                    <a:lnTo>
                      <a:pt x="9759" y="20724"/>
                    </a:lnTo>
                    <a:lnTo>
                      <a:pt x="9759" y="21600"/>
                    </a:lnTo>
                    <a:lnTo>
                      <a:pt x="8978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82" name="Shape 3008"/>
              <p:cNvSpPr/>
              <p:nvPr/>
            </p:nvSpPr>
            <p:spPr>
              <a:xfrm>
                <a:off x="6708249" y="4718695"/>
                <a:ext cx="239748" cy="2050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773" y="1673"/>
                    </a:moveTo>
                    <a:lnTo>
                      <a:pt x="3773" y="2586"/>
                    </a:lnTo>
                    <a:lnTo>
                      <a:pt x="2342" y="2586"/>
                    </a:lnTo>
                    <a:lnTo>
                      <a:pt x="2342" y="1673"/>
                    </a:lnTo>
                    <a:lnTo>
                      <a:pt x="1561" y="1673"/>
                    </a:lnTo>
                    <a:lnTo>
                      <a:pt x="1561" y="4259"/>
                    </a:lnTo>
                    <a:lnTo>
                      <a:pt x="781" y="4259"/>
                    </a:lnTo>
                    <a:lnTo>
                      <a:pt x="781" y="5172"/>
                    </a:lnTo>
                    <a:lnTo>
                      <a:pt x="0" y="5172"/>
                    </a:lnTo>
                    <a:lnTo>
                      <a:pt x="0" y="6085"/>
                    </a:lnTo>
                    <a:lnTo>
                      <a:pt x="781" y="6085"/>
                    </a:lnTo>
                    <a:lnTo>
                      <a:pt x="781" y="7758"/>
                    </a:lnTo>
                    <a:lnTo>
                      <a:pt x="1561" y="7758"/>
                    </a:lnTo>
                    <a:lnTo>
                      <a:pt x="1561" y="8670"/>
                    </a:lnTo>
                    <a:lnTo>
                      <a:pt x="2993" y="8670"/>
                    </a:lnTo>
                    <a:lnTo>
                      <a:pt x="2993" y="9431"/>
                    </a:lnTo>
                    <a:lnTo>
                      <a:pt x="3773" y="9431"/>
                    </a:lnTo>
                    <a:lnTo>
                      <a:pt x="3773" y="10344"/>
                    </a:lnTo>
                    <a:lnTo>
                      <a:pt x="2993" y="10344"/>
                    </a:lnTo>
                    <a:lnTo>
                      <a:pt x="2993" y="11256"/>
                    </a:lnTo>
                    <a:lnTo>
                      <a:pt x="3773" y="11256"/>
                    </a:lnTo>
                    <a:lnTo>
                      <a:pt x="3773" y="12169"/>
                    </a:lnTo>
                    <a:lnTo>
                      <a:pt x="2993" y="12169"/>
                    </a:lnTo>
                    <a:lnTo>
                      <a:pt x="2993" y="12930"/>
                    </a:lnTo>
                    <a:lnTo>
                      <a:pt x="3773" y="12930"/>
                    </a:lnTo>
                    <a:lnTo>
                      <a:pt x="3773" y="13842"/>
                    </a:lnTo>
                    <a:lnTo>
                      <a:pt x="4554" y="13842"/>
                    </a:lnTo>
                    <a:lnTo>
                      <a:pt x="5205" y="14755"/>
                    </a:lnTo>
                    <a:lnTo>
                      <a:pt x="6766" y="14755"/>
                    </a:lnTo>
                    <a:lnTo>
                      <a:pt x="5986" y="13842"/>
                    </a:lnTo>
                    <a:lnTo>
                      <a:pt x="7547" y="13842"/>
                    </a:lnTo>
                    <a:lnTo>
                      <a:pt x="7547" y="14755"/>
                    </a:lnTo>
                    <a:lnTo>
                      <a:pt x="8198" y="14755"/>
                    </a:lnTo>
                    <a:lnTo>
                      <a:pt x="7547" y="15515"/>
                    </a:lnTo>
                    <a:lnTo>
                      <a:pt x="8978" y="15515"/>
                    </a:lnTo>
                    <a:lnTo>
                      <a:pt x="8198" y="16428"/>
                    </a:lnTo>
                    <a:lnTo>
                      <a:pt x="10410" y="16428"/>
                    </a:lnTo>
                    <a:lnTo>
                      <a:pt x="11190" y="17341"/>
                    </a:lnTo>
                    <a:lnTo>
                      <a:pt x="12752" y="17341"/>
                    </a:lnTo>
                    <a:lnTo>
                      <a:pt x="12752" y="16428"/>
                    </a:lnTo>
                    <a:lnTo>
                      <a:pt x="13402" y="16428"/>
                    </a:lnTo>
                    <a:lnTo>
                      <a:pt x="13402" y="17341"/>
                    </a:lnTo>
                    <a:lnTo>
                      <a:pt x="14964" y="17341"/>
                    </a:lnTo>
                    <a:lnTo>
                      <a:pt x="14964" y="18254"/>
                    </a:lnTo>
                    <a:lnTo>
                      <a:pt x="15614" y="18254"/>
                    </a:lnTo>
                    <a:lnTo>
                      <a:pt x="15614" y="19014"/>
                    </a:lnTo>
                    <a:lnTo>
                      <a:pt x="17176" y="19014"/>
                    </a:lnTo>
                    <a:lnTo>
                      <a:pt x="17176" y="20839"/>
                    </a:lnTo>
                    <a:lnTo>
                      <a:pt x="17957" y="20839"/>
                    </a:lnTo>
                    <a:lnTo>
                      <a:pt x="17176" y="20839"/>
                    </a:lnTo>
                    <a:lnTo>
                      <a:pt x="17957" y="21600"/>
                    </a:lnTo>
                    <a:lnTo>
                      <a:pt x="18607" y="21600"/>
                    </a:lnTo>
                    <a:lnTo>
                      <a:pt x="17957" y="20839"/>
                    </a:lnTo>
                    <a:lnTo>
                      <a:pt x="18607" y="20839"/>
                    </a:lnTo>
                    <a:lnTo>
                      <a:pt x="18607" y="18254"/>
                    </a:lnTo>
                    <a:lnTo>
                      <a:pt x="20169" y="18254"/>
                    </a:lnTo>
                    <a:lnTo>
                      <a:pt x="20819" y="19014"/>
                    </a:lnTo>
                    <a:lnTo>
                      <a:pt x="20169" y="19014"/>
                    </a:lnTo>
                    <a:lnTo>
                      <a:pt x="20819" y="19014"/>
                    </a:lnTo>
                    <a:lnTo>
                      <a:pt x="20819" y="18254"/>
                    </a:lnTo>
                    <a:lnTo>
                      <a:pt x="21600" y="18254"/>
                    </a:lnTo>
                    <a:lnTo>
                      <a:pt x="20819" y="17341"/>
                    </a:lnTo>
                    <a:lnTo>
                      <a:pt x="21600" y="17341"/>
                    </a:lnTo>
                    <a:lnTo>
                      <a:pt x="21600" y="16428"/>
                    </a:lnTo>
                    <a:lnTo>
                      <a:pt x="20819" y="16428"/>
                    </a:lnTo>
                    <a:lnTo>
                      <a:pt x="21600" y="16428"/>
                    </a:lnTo>
                    <a:lnTo>
                      <a:pt x="20819" y="16428"/>
                    </a:lnTo>
                    <a:lnTo>
                      <a:pt x="20819" y="15515"/>
                    </a:lnTo>
                    <a:lnTo>
                      <a:pt x="20819" y="16428"/>
                    </a:lnTo>
                    <a:lnTo>
                      <a:pt x="20819" y="15515"/>
                    </a:lnTo>
                    <a:lnTo>
                      <a:pt x="19388" y="15515"/>
                    </a:lnTo>
                    <a:lnTo>
                      <a:pt x="19388" y="13842"/>
                    </a:lnTo>
                    <a:lnTo>
                      <a:pt x="18607" y="13842"/>
                    </a:lnTo>
                    <a:lnTo>
                      <a:pt x="18607" y="12930"/>
                    </a:lnTo>
                    <a:lnTo>
                      <a:pt x="17176" y="12930"/>
                    </a:lnTo>
                    <a:lnTo>
                      <a:pt x="17176" y="10344"/>
                    </a:lnTo>
                    <a:lnTo>
                      <a:pt x="16395" y="10344"/>
                    </a:lnTo>
                    <a:lnTo>
                      <a:pt x="16395" y="9431"/>
                    </a:lnTo>
                    <a:lnTo>
                      <a:pt x="15614" y="9431"/>
                    </a:lnTo>
                    <a:lnTo>
                      <a:pt x="15614" y="7758"/>
                    </a:lnTo>
                    <a:lnTo>
                      <a:pt x="14964" y="7758"/>
                    </a:lnTo>
                    <a:lnTo>
                      <a:pt x="14964" y="5172"/>
                    </a:lnTo>
                    <a:lnTo>
                      <a:pt x="14183" y="5172"/>
                    </a:lnTo>
                    <a:lnTo>
                      <a:pt x="14183" y="4259"/>
                    </a:lnTo>
                    <a:lnTo>
                      <a:pt x="12752" y="4259"/>
                    </a:lnTo>
                    <a:lnTo>
                      <a:pt x="12752" y="3499"/>
                    </a:lnTo>
                    <a:lnTo>
                      <a:pt x="11190" y="3499"/>
                    </a:lnTo>
                    <a:lnTo>
                      <a:pt x="11971" y="2586"/>
                    </a:lnTo>
                    <a:lnTo>
                      <a:pt x="11971" y="761"/>
                    </a:lnTo>
                    <a:lnTo>
                      <a:pt x="11190" y="761"/>
                    </a:lnTo>
                    <a:lnTo>
                      <a:pt x="11190" y="1673"/>
                    </a:lnTo>
                    <a:lnTo>
                      <a:pt x="10410" y="761"/>
                    </a:lnTo>
                    <a:lnTo>
                      <a:pt x="9759" y="761"/>
                    </a:lnTo>
                    <a:lnTo>
                      <a:pt x="9759" y="0"/>
                    </a:lnTo>
                    <a:lnTo>
                      <a:pt x="8978" y="0"/>
                    </a:lnTo>
                    <a:lnTo>
                      <a:pt x="9759" y="0"/>
                    </a:lnTo>
                    <a:lnTo>
                      <a:pt x="8198" y="0"/>
                    </a:lnTo>
                    <a:lnTo>
                      <a:pt x="8198" y="761"/>
                    </a:lnTo>
                    <a:lnTo>
                      <a:pt x="7547" y="761"/>
                    </a:lnTo>
                    <a:lnTo>
                      <a:pt x="7547" y="0"/>
                    </a:lnTo>
                    <a:lnTo>
                      <a:pt x="6766" y="0"/>
                    </a:lnTo>
                    <a:lnTo>
                      <a:pt x="6766" y="761"/>
                    </a:lnTo>
                    <a:lnTo>
                      <a:pt x="4554" y="761"/>
                    </a:lnTo>
                    <a:lnTo>
                      <a:pt x="4554" y="1673"/>
                    </a:lnTo>
                    <a:lnTo>
                      <a:pt x="3773" y="167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/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83" name="Shape 3009"/>
              <p:cNvSpPr/>
              <p:nvPr/>
            </p:nvSpPr>
            <p:spPr>
              <a:xfrm>
                <a:off x="8045636" y="3596502"/>
                <a:ext cx="908443" cy="5199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9600"/>
                    </a:moveTo>
                    <a:lnTo>
                      <a:pt x="0" y="9960"/>
                    </a:lnTo>
                    <a:lnTo>
                      <a:pt x="206" y="9960"/>
                    </a:lnTo>
                    <a:lnTo>
                      <a:pt x="206" y="10980"/>
                    </a:lnTo>
                    <a:lnTo>
                      <a:pt x="412" y="10980"/>
                    </a:lnTo>
                    <a:lnTo>
                      <a:pt x="412" y="11340"/>
                    </a:lnTo>
                    <a:lnTo>
                      <a:pt x="618" y="11640"/>
                    </a:lnTo>
                    <a:lnTo>
                      <a:pt x="618" y="12000"/>
                    </a:lnTo>
                    <a:lnTo>
                      <a:pt x="790" y="12360"/>
                    </a:lnTo>
                    <a:lnTo>
                      <a:pt x="790" y="12660"/>
                    </a:lnTo>
                    <a:lnTo>
                      <a:pt x="996" y="12660"/>
                    </a:lnTo>
                    <a:lnTo>
                      <a:pt x="1202" y="13020"/>
                    </a:lnTo>
                    <a:lnTo>
                      <a:pt x="1374" y="13380"/>
                    </a:lnTo>
                    <a:lnTo>
                      <a:pt x="1374" y="13740"/>
                    </a:lnTo>
                    <a:lnTo>
                      <a:pt x="1580" y="14040"/>
                    </a:lnTo>
                    <a:lnTo>
                      <a:pt x="1580" y="14400"/>
                    </a:lnTo>
                    <a:lnTo>
                      <a:pt x="1786" y="14760"/>
                    </a:lnTo>
                    <a:lnTo>
                      <a:pt x="1786" y="15060"/>
                    </a:lnTo>
                    <a:lnTo>
                      <a:pt x="2163" y="15060"/>
                    </a:lnTo>
                    <a:lnTo>
                      <a:pt x="2163" y="15420"/>
                    </a:lnTo>
                    <a:lnTo>
                      <a:pt x="2369" y="15420"/>
                    </a:lnTo>
                    <a:lnTo>
                      <a:pt x="2369" y="15060"/>
                    </a:lnTo>
                    <a:lnTo>
                      <a:pt x="2576" y="15060"/>
                    </a:lnTo>
                    <a:lnTo>
                      <a:pt x="2576" y="14760"/>
                    </a:lnTo>
                    <a:lnTo>
                      <a:pt x="2953" y="14760"/>
                    </a:lnTo>
                    <a:lnTo>
                      <a:pt x="2953" y="14400"/>
                    </a:lnTo>
                    <a:lnTo>
                      <a:pt x="2953" y="14760"/>
                    </a:lnTo>
                    <a:lnTo>
                      <a:pt x="3365" y="14760"/>
                    </a:lnTo>
                    <a:lnTo>
                      <a:pt x="3365" y="15060"/>
                    </a:lnTo>
                    <a:lnTo>
                      <a:pt x="3537" y="15060"/>
                    </a:lnTo>
                    <a:lnTo>
                      <a:pt x="3743" y="15420"/>
                    </a:lnTo>
                    <a:lnTo>
                      <a:pt x="6902" y="15060"/>
                    </a:lnTo>
                    <a:lnTo>
                      <a:pt x="6902" y="14760"/>
                    </a:lnTo>
                    <a:lnTo>
                      <a:pt x="7074" y="14760"/>
                    </a:lnTo>
                    <a:lnTo>
                      <a:pt x="7074" y="14400"/>
                    </a:lnTo>
                    <a:lnTo>
                      <a:pt x="7280" y="14400"/>
                    </a:lnTo>
                    <a:lnTo>
                      <a:pt x="7280" y="14760"/>
                    </a:lnTo>
                    <a:lnTo>
                      <a:pt x="7486" y="14760"/>
                    </a:lnTo>
                    <a:lnTo>
                      <a:pt x="7486" y="14400"/>
                    </a:lnTo>
                    <a:lnTo>
                      <a:pt x="7864" y="14400"/>
                    </a:lnTo>
                    <a:lnTo>
                      <a:pt x="9238" y="16140"/>
                    </a:lnTo>
                    <a:lnTo>
                      <a:pt x="14938" y="20580"/>
                    </a:lnTo>
                    <a:lnTo>
                      <a:pt x="14938" y="20880"/>
                    </a:lnTo>
                    <a:lnTo>
                      <a:pt x="15144" y="20880"/>
                    </a:lnTo>
                    <a:lnTo>
                      <a:pt x="16106" y="21600"/>
                    </a:lnTo>
                    <a:lnTo>
                      <a:pt x="16689" y="21600"/>
                    </a:lnTo>
                    <a:lnTo>
                      <a:pt x="16689" y="21240"/>
                    </a:lnTo>
                    <a:lnTo>
                      <a:pt x="16895" y="21240"/>
                    </a:lnTo>
                    <a:lnTo>
                      <a:pt x="18063" y="20880"/>
                    </a:lnTo>
                    <a:lnTo>
                      <a:pt x="18063" y="20220"/>
                    </a:lnTo>
                    <a:lnTo>
                      <a:pt x="18269" y="20220"/>
                    </a:lnTo>
                    <a:lnTo>
                      <a:pt x="18269" y="19860"/>
                    </a:lnTo>
                    <a:lnTo>
                      <a:pt x="18647" y="19860"/>
                    </a:lnTo>
                    <a:lnTo>
                      <a:pt x="18647" y="19560"/>
                    </a:lnTo>
                    <a:lnTo>
                      <a:pt x="18853" y="19560"/>
                    </a:lnTo>
                    <a:lnTo>
                      <a:pt x="18853" y="19860"/>
                    </a:lnTo>
                    <a:lnTo>
                      <a:pt x="19059" y="19860"/>
                    </a:lnTo>
                    <a:lnTo>
                      <a:pt x="19059" y="19560"/>
                    </a:lnTo>
                    <a:lnTo>
                      <a:pt x="19437" y="19560"/>
                    </a:lnTo>
                    <a:lnTo>
                      <a:pt x="19437" y="18840"/>
                    </a:lnTo>
                    <a:lnTo>
                      <a:pt x="19849" y="18840"/>
                    </a:lnTo>
                    <a:lnTo>
                      <a:pt x="19849" y="18480"/>
                    </a:lnTo>
                    <a:lnTo>
                      <a:pt x="20432" y="18480"/>
                    </a:lnTo>
                    <a:lnTo>
                      <a:pt x="20432" y="17820"/>
                    </a:lnTo>
                    <a:lnTo>
                      <a:pt x="21016" y="17820"/>
                    </a:lnTo>
                    <a:lnTo>
                      <a:pt x="21222" y="18180"/>
                    </a:lnTo>
                    <a:lnTo>
                      <a:pt x="21222" y="17820"/>
                    </a:lnTo>
                    <a:lnTo>
                      <a:pt x="21428" y="18180"/>
                    </a:lnTo>
                    <a:lnTo>
                      <a:pt x="21428" y="17820"/>
                    </a:lnTo>
                    <a:lnTo>
                      <a:pt x="21600" y="17820"/>
                    </a:lnTo>
                    <a:lnTo>
                      <a:pt x="21600" y="16140"/>
                    </a:lnTo>
                    <a:lnTo>
                      <a:pt x="21222" y="16140"/>
                    </a:lnTo>
                    <a:lnTo>
                      <a:pt x="21222" y="15420"/>
                    </a:lnTo>
                    <a:lnTo>
                      <a:pt x="21016" y="15420"/>
                    </a:lnTo>
                    <a:lnTo>
                      <a:pt x="21016" y="15780"/>
                    </a:lnTo>
                    <a:lnTo>
                      <a:pt x="21016" y="15420"/>
                    </a:lnTo>
                    <a:lnTo>
                      <a:pt x="20810" y="15420"/>
                    </a:lnTo>
                    <a:lnTo>
                      <a:pt x="21016" y="15420"/>
                    </a:lnTo>
                    <a:lnTo>
                      <a:pt x="21016" y="14760"/>
                    </a:lnTo>
                    <a:lnTo>
                      <a:pt x="21222" y="14760"/>
                    </a:lnTo>
                    <a:lnTo>
                      <a:pt x="21222" y="14400"/>
                    </a:lnTo>
                    <a:lnTo>
                      <a:pt x="21428" y="14400"/>
                    </a:lnTo>
                    <a:lnTo>
                      <a:pt x="21428" y="14040"/>
                    </a:lnTo>
                    <a:lnTo>
                      <a:pt x="21600" y="14040"/>
                    </a:lnTo>
                    <a:lnTo>
                      <a:pt x="21600" y="13380"/>
                    </a:lnTo>
                    <a:lnTo>
                      <a:pt x="21428" y="13380"/>
                    </a:lnTo>
                    <a:lnTo>
                      <a:pt x="21428" y="13020"/>
                    </a:lnTo>
                    <a:lnTo>
                      <a:pt x="21222" y="12660"/>
                    </a:lnTo>
                    <a:lnTo>
                      <a:pt x="21222" y="12360"/>
                    </a:lnTo>
                    <a:lnTo>
                      <a:pt x="21016" y="12360"/>
                    </a:lnTo>
                    <a:lnTo>
                      <a:pt x="21016" y="12000"/>
                    </a:lnTo>
                    <a:lnTo>
                      <a:pt x="20810" y="12000"/>
                    </a:lnTo>
                    <a:lnTo>
                      <a:pt x="20638" y="11640"/>
                    </a:lnTo>
                    <a:lnTo>
                      <a:pt x="20638" y="11340"/>
                    </a:lnTo>
                    <a:lnTo>
                      <a:pt x="20432" y="11340"/>
                    </a:lnTo>
                    <a:lnTo>
                      <a:pt x="20226" y="10980"/>
                    </a:lnTo>
                    <a:lnTo>
                      <a:pt x="20020" y="10980"/>
                    </a:lnTo>
                    <a:lnTo>
                      <a:pt x="20020" y="10620"/>
                    </a:lnTo>
                    <a:lnTo>
                      <a:pt x="19643" y="10620"/>
                    </a:lnTo>
                    <a:lnTo>
                      <a:pt x="19265" y="9960"/>
                    </a:lnTo>
                    <a:lnTo>
                      <a:pt x="19059" y="9960"/>
                    </a:lnTo>
                    <a:lnTo>
                      <a:pt x="19265" y="9960"/>
                    </a:lnTo>
                    <a:lnTo>
                      <a:pt x="19059" y="9960"/>
                    </a:lnTo>
                    <a:lnTo>
                      <a:pt x="19059" y="9600"/>
                    </a:lnTo>
                    <a:lnTo>
                      <a:pt x="18853" y="9600"/>
                    </a:lnTo>
                    <a:lnTo>
                      <a:pt x="18853" y="9240"/>
                    </a:lnTo>
                    <a:lnTo>
                      <a:pt x="18475" y="9240"/>
                    </a:lnTo>
                    <a:lnTo>
                      <a:pt x="18475" y="9600"/>
                    </a:lnTo>
                    <a:lnTo>
                      <a:pt x="18269" y="9600"/>
                    </a:lnTo>
                    <a:lnTo>
                      <a:pt x="18269" y="9960"/>
                    </a:lnTo>
                    <a:lnTo>
                      <a:pt x="18063" y="9960"/>
                    </a:lnTo>
                    <a:lnTo>
                      <a:pt x="18063" y="9600"/>
                    </a:lnTo>
                    <a:lnTo>
                      <a:pt x="17891" y="9600"/>
                    </a:lnTo>
                    <a:lnTo>
                      <a:pt x="17685" y="9960"/>
                    </a:lnTo>
                    <a:lnTo>
                      <a:pt x="17685" y="10980"/>
                    </a:lnTo>
                    <a:lnTo>
                      <a:pt x="17891" y="11340"/>
                    </a:lnTo>
                    <a:lnTo>
                      <a:pt x="17891" y="11640"/>
                    </a:lnTo>
                    <a:lnTo>
                      <a:pt x="17685" y="11640"/>
                    </a:lnTo>
                    <a:lnTo>
                      <a:pt x="17685" y="12360"/>
                    </a:lnTo>
                    <a:lnTo>
                      <a:pt x="17891" y="12000"/>
                    </a:lnTo>
                    <a:lnTo>
                      <a:pt x="17891" y="13020"/>
                    </a:lnTo>
                    <a:lnTo>
                      <a:pt x="17685" y="13020"/>
                    </a:lnTo>
                    <a:lnTo>
                      <a:pt x="17685" y="13380"/>
                    </a:lnTo>
                    <a:lnTo>
                      <a:pt x="17479" y="13380"/>
                    </a:lnTo>
                    <a:lnTo>
                      <a:pt x="17479" y="13740"/>
                    </a:lnTo>
                    <a:lnTo>
                      <a:pt x="16689" y="13740"/>
                    </a:lnTo>
                    <a:lnTo>
                      <a:pt x="16689" y="13380"/>
                    </a:lnTo>
                    <a:lnTo>
                      <a:pt x="16518" y="13380"/>
                    </a:lnTo>
                    <a:lnTo>
                      <a:pt x="16518" y="13740"/>
                    </a:lnTo>
                    <a:lnTo>
                      <a:pt x="16312" y="13740"/>
                    </a:lnTo>
                    <a:lnTo>
                      <a:pt x="16518" y="14040"/>
                    </a:lnTo>
                    <a:lnTo>
                      <a:pt x="16518" y="14400"/>
                    </a:lnTo>
                    <a:lnTo>
                      <a:pt x="16312" y="14760"/>
                    </a:lnTo>
                    <a:lnTo>
                      <a:pt x="15900" y="14760"/>
                    </a:lnTo>
                    <a:lnTo>
                      <a:pt x="15900" y="14400"/>
                    </a:lnTo>
                    <a:lnTo>
                      <a:pt x="15522" y="14400"/>
                    </a:lnTo>
                    <a:lnTo>
                      <a:pt x="15522" y="14040"/>
                    </a:lnTo>
                    <a:lnTo>
                      <a:pt x="15728" y="14040"/>
                    </a:lnTo>
                    <a:lnTo>
                      <a:pt x="15728" y="13380"/>
                    </a:lnTo>
                    <a:lnTo>
                      <a:pt x="15900" y="13380"/>
                    </a:lnTo>
                    <a:lnTo>
                      <a:pt x="15900" y="13020"/>
                    </a:lnTo>
                    <a:lnTo>
                      <a:pt x="16106" y="13020"/>
                    </a:lnTo>
                    <a:lnTo>
                      <a:pt x="16106" y="13380"/>
                    </a:lnTo>
                    <a:lnTo>
                      <a:pt x="16106" y="13020"/>
                    </a:lnTo>
                    <a:lnTo>
                      <a:pt x="16312" y="13020"/>
                    </a:lnTo>
                    <a:lnTo>
                      <a:pt x="16106" y="12660"/>
                    </a:lnTo>
                    <a:lnTo>
                      <a:pt x="16312" y="12660"/>
                    </a:lnTo>
                    <a:lnTo>
                      <a:pt x="16106" y="12660"/>
                    </a:lnTo>
                    <a:lnTo>
                      <a:pt x="16106" y="12000"/>
                    </a:lnTo>
                    <a:lnTo>
                      <a:pt x="15900" y="12000"/>
                    </a:lnTo>
                    <a:lnTo>
                      <a:pt x="15900" y="11640"/>
                    </a:lnTo>
                    <a:lnTo>
                      <a:pt x="16106" y="11640"/>
                    </a:lnTo>
                    <a:lnTo>
                      <a:pt x="16312" y="12000"/>
                    </a:lnTo>
                    <a:lnTo>
                      <a:pt x="16312" y="11640"/>
                    </a:lnTo>
                    <a:lnTo>
                      <a:pt x="15316" y="11640"/>
                    </a:lnTo>
                    <a:lnTo>
                      <a:pt x="15316" y="12360"/>
                    </a:lnTo>
                    <a:lnTo>
                      <a:pt x="15144" y="12360"/>
                    </a:lnTo>
                    <a:lnTo>
                      <a:pt x="15316" y="12360"/>
                    </a:lnTo>
                    <a:lnTo>
                      <a:pt x="15316" y="11640"/>
                    </a:lnTo>
                    <a:lnTo>
                      <a:pt x="14938" y="11640"/>
                    </a:lnTo>
                    <a:lnTo>
                      <a:pt x="14938" y="12000"/>
                    </a:lnTo>
                    <a:lnTo>
                      <a:pt x="14354" y="12000"/>
                    </a:lnTo>
                    <a:lnTo>
                      <a:pt x="14354" y="12360"/>
                    </a:lnTo>
                    <a:lnTo>
                      <a:pt x="13770" y="12360"/>
                    </a:lnTo>
                    <a:lnTo>
                      <a:pt x="13770" y="11640"/>
                    </a:lnTo>
                    <a:lnTo>
                      <a:pt x="13358" y="11640"/>
                    </a:lnTo>
                    <a:lnTo>
                      <a:pt x="13358" y="11340"/>
                    </a:lnTo>
                    <a:lnTo>
                      <a:pt x="13152" y="11340"/>
                    </a:lnTo>
                    <a:lnTo>
                      <a:pt x="13152" y="10980"/>
                    </a:lnTo>
                    <a:lnTo>
                      <a:pt x="12775" y="10980"/>
                    </a:lnTo>
                    <a:lnTo>
                      <a:pt x="12569" y="11340"/>
                    </a:lnTo>
                    <a:lnTo>
                      <a:pt x="12569" y="10980"/>
                    </a:lnTo>
                    <a:lnTo>
                      <a:pt x="12191" y="10980"/>
                    </a:lnTo>
                    <a:lnTo>
                      <a:pt x="11985" y="11340"/>
                    </a:lnTo>
                    <a:lnTo>
                      <a:pt x="11779" y="11340"/>
                    </a:lnTo>
                    <a:lnTo>
                      <a:pt x="11779" y="12000"/>
                    </a:lnTo>
                    <a:lnTo>
                      <a:pt x="11607" y="12000"/>
                    </a:lnTo>
                    <a:lnTo>
                      <a:pt x="11607" y="12360"/>
                    </a:lnTo>
                    <a:lnTo>
                      <a:pt x="11607" y="12000"/>
                    </a:lnTo>
                    <a:lnTo>
                      <a:pt x="11401" y="12000"/>
                    </a:lnTo>
                    <a:lnTo>
                      <a:pt x="11401" y="11340"/>
                    </a:lnTo>
                    <a:lnTo>
                      <a:pt x="11023" y="11340"/>
                    </a:lnTo>
                    <a:lnTo>
                      <a:pt x="11195" y="10980"/>
                    </a:lnTo>
                    <a:lnTo>
                      <a:pt x="11023" y="10980"/>
                    </a:lnTo>
                    <a:lnTo>
                      <a:pt x="11023" y="11340"/>
                    </a:lnTo>
                    <a:lnTo>
                      <a:pt x="10817" y="11340"/>
                    </a:lnTo>
                    <a:lnTo>
                      <a:pt x="10817" y="10980"/>
                    </a:lnTo>
                    <a:lnTo>
                      <a:pt x="10405" y="10980"/>
                    </a:lnTo>
                    <a:lnTo>
                      <a:pt x="10405" y="10620"/>
                    </a:lnTo>
                    <a:lnTo>
                      <a:pt x="10233" y="10620"/>
                    </a:lnTo>
                    <a:lnTo>
                      <a:pt x="10233" y="10260"/>
                    </a:lnTo>
                    <a:lnTo>
                      <a:pt x="10611" y="10260"/>
                    </a:lnTo>
                    <a:lnTo>
                      <a:pt x="10611" y="10620"/>
                    </a:lnTo>
                    <a:lnTo>
                      <a:pt x="10611" y="10260"/>
                    </a:lnTo>
                    <a:lnTo>
                      <a:pt x="10817" y="10260"/>
                    </a:lnTo>
                    <a:lnTo>
                      <a:pt x="10611" y="10260"/>
                    </a:lnTo>
                    <a:lnTo>
                      <a:pt x="10817" y="10260"/>
                    </a:lnTo>
                    <a:lnTo>
                      <a:pt x="10817" y="10620"/>
                    </a:lnTo>
                    <a:lnTo>
                      <a:pt x="11023" y="10620"/>
                    </a:lnTo>
                    <a:lnTo>
                      <a:pt x="11023" y="9960"/>
                    </a:lnTo>
                    <a:lnTo>
                      <a:pt x="11195" y="9960"/>
                    </a:lnTo>
                    <a:lnTo>
                      <a:pt x="11023" y="9600"/>
                    </a:lnTo>
                    <a:lnTo>
                      <a:pt x="11023" y="9240"/>
                    </a:lnTo>
                    <a:lnTo>
                      <a:pt x="11195" y="9240"/>
                    </a:lnTo>
                    <a:lnTo>
                      <a:pt x="11401" y="8940"/>
                    </a:lnTo>
                    <a:lnTo>
                      <a:pt x="11607" y="8940"/>
                    </a:lnTo>
                    <a:lnTo>
                      <a:pt x="11607" y="8580"/>
                    </a:lnTo>
                    <a:lnTo>
                      <a:pt x="11401" y="8580"/>
                    </a:lnTo>
                    <a:lnTo>
                      <a:pt x="11401" y="8220"/>
                    </a:lnTo>
                    <a:lnTo>
                      <a:pt x="11401" y="8580"/>
                    </a:lnTo>
                    <a:lnTo>
                      <a:pt x="11401" y="8220"/>
                    </a:lnTo>
                    <a:lnTo>
                      <a:pt x="11195" y="8220"/>
                    </a:lnTo>
                    <a:lnTo>
                      <a:pt x="11401" y="8220"/>
                    </a:lnTo>
                    <a:lnTo>
                      <a:pt x="11195" y="8220"/>
                    </a:lnTo>
                    <a:lnTo>
                      <a:pt x="11779" y="8220"/>
                    </a:lnTo>
                    <a:lnTo>
                      <a:pt x="11779" y="8580"/>
                    </a:lnTo>
                    <a:lnTo>
                      <a:pt x="12191" y="8580"/>
                    </a:lnTo>
                    <a:lnTo>
                      <a:pt x="12191" y="8220"/>
                    </a:lnTo>
                    <a:lnTo>
                      <a:pt x="11607" y="8220"/>
                    </a:lnTo>
                    <a:lnTo>
                      <a:pt x="11401" y="7920"/>
                    </a:lnTo>
                    <a:lnTo>
                      <a:pt x="11023" y="7920"/>
                    </a:lnTo>
                    <a:lnTo>
                      <a:pt x="11023" y="8220"/>
                    </a:lnTo>
                    <a:lnTo>
                      <a:pt x="9821" y="8220"/>
                    </a:lnTo>
                    <a:lnTo>
                      <a:pt x="9821" y="8580"/>
                    </a:lnTo>
                    <a:lnTo>
                      <a:pt x="10027" y="8580"/>
                    </a:lnTo>
                    <a:lnTo>
                      <a:pt x="10027" y="9240"/>
                    </a:lnTo>
                    <a:lnTo>
                      <a:pt x="9821" y="9240"/>
                    </a:lnTo>
                    <a:lnTo>
                      <a:pt x="9821" y="9600"/>
                    </a:lnTo>
                    <a:lnTo>
                      <a:pt x="9444" y="9600"/>
                    </a:lnTo>
                    <a:lnTo>
                      <a:pt x="9444" y="9240"/>
                    </a:lnTo>
                    <a:lnTo>
                      <a:pt x="9650" y="9240"/>
                    </a:lnTo>
                    <a:lnTo>
                      <a:pt x="9650" y="8940"/>
                    </a:lnTo>
                    <a:lnTo>
                      <a:pt x="9821" y="8940"/>
                    </a:lnTo>
                    <a:lnTo>
                      <a:pt x="9650" y="8940"/>
                    </a:lnTo>
                    <a:lnTo>
                      <a:pt x="9650" y="8580"/>
                    </a:lnTo>
                    <a:lnTo>
                      <a:pt x="9444" y="8580"/>
                    </a:lnTo>
                    <a:lnTo>
                      <a:pt x="9650" y="8580"/>
                    </a:lnTo>
                    <a:lnTo>
                      <a:pt x="9238" y="8580"/>
                    </a:lnTo>
                    <a:lnTo>
                      <a:pt x="9238" y="8220"/>
                    </a:lnTo>
                    <a:lnTo>
                      <a:pt x="9031" y="8220"/>
                    </a:lnTo>
                    <a:lnTo>
                      <a:pt x="9031" y="8580"/>
                    </a:lnTo>
                    <a:lnTo>
                      <a:pt x="8860" y="8580"/>
                    </a:lnTo>
                    <a:lnTo>
                      <a:pt x="8860" y="8220"/>
                    </a:lnTo>
                    <a:lnTo>
                      <a:pt x="8860" y="8580"/>
                    </a:lnTo>
                    <a:lnTo>
                      <a:pt x="8654" y="8580"/>
                    </a:lnTo>
                    <a:lnTo>
                      <a:pt x="8654" y="8220"/>
                    </a:lnTo>
                    <a:lnTo>
                      <a:pt x="8448" y="8580"/>
                    </a:lnTo>
                    <a:lnTo>
                      <a:pt x="8448" y="8220"/>
                    </a:lnTo>
                    <a:lnTo>
                      <a:pt x="8448" y="8580"/>
                    </a:lnTo>
                    <a:lnTo>
                      <a:pt x="8448" y="8220"/>
                    </a:lnTo>
                    <a:lnTo>
                      <a:pt x="7864" y="8220"/>
                    </a:lnTo>
                    <a:lnTo>
                      <a:pt x="7864" y="8580"/>
                    </a:lnTo>
                    <a:lnTo>
                      <a:pt x="7280" y="8580"/>
                    </a:lnTo>
                    <a:lnTo>
                      <a:pt x="7280" y="8940"/>
                    </a:lnTo>
                    <a:lnTo>
                      <a:pt x="7074" y="8940"/>
                    </a:lnTo>
                    <a:lnTo>
                      <a:pt x="7074" y="8580"/>
                    </a:lnTo>
                    <a:lnTo>
                      <a:pt x="7074" y="8940"/>
                    </a:lnTo>
                    <a:lnTo>
                      <a:pt x="7074" y="8580"/>
                    </a:lnTo>
                    <a:lnTo>
                      <a:pt x="7074" y="8940"/>
                    </a:lnTo>
                    <a:lnTo>
                      <a:pt x="7280" y="8580"/>
                    </a:lnTo>
                    <a:lnTo>
                      <a:pt x="6902" y="8580"/>
                    </a:lnTo>
                    <a:lnTo>
                      <a:pt x="6902" y="8940"/>
                    </a:lnTo>
                    <a:lnTo>
                      <a:pt x="6113" y="8940"/>
                    </a:lnTo>
                    <a:lnTo>
                      <a:pt x="6113" y="8580"/>
                    </a:lnTo>
                    <a:lnTo>
                      <a:pt x="5907" y="8580"/>
                    </a:lnTo>
                    <a:lnTo>
                      <a:pt x="5907" y="8220"/>
                    </a:lnTo>
                    <a:lnTo>
                      <a:pt x="5907" y="8580"/>
                    </a:lnTo>
                    <a:lnTo>
                      <a:pt x="5700" y="8940"/>
                    </a:lnTo>
                    <a:lnTo>
                      <a:pt x="5700" y="9240"/>
                    </a:lnTo>
                    <a:lnTo>
                      <a:pt x="5907" y="9240"/>
                    </a:lnTo>
                    <a:lnTo>
                      <a:pt x="5907" y="9600"/>
                    </a:lnTo>
                    <a:lnTo>
                      <a:pt x="5700" y="9600"/>
                    </a:lnTo>
                    <a:lnTo>
                      <a:pt x="5907" y="9600"/>
                    </a:lnTo>
                    <a:lnTo>
                      <a:pt x="5700" y="9600"/>
                    </a:lnTo>
                    <a:lnTo>
                      <a:pt x="5907" y="9600"/>
                    </a:lnTo>
                    <a:lnTo>
                      <a:pt x="5700" y="9600"/>
                    </a:lnTo>
                    <a:lnTo>
                      <a:pt x="5907" y="9600"/>
                    </a:lnTo>
                    <a:lnTo>
                      <a:pt x="5700" y="9240"/>
                    </a:lnTo>
                    <a:lnTo>
                      <a:pt x="5494" y="9240"/>
                    </a:lnTo>
                    <a:lnTo>
                      <a:pt x="5494" y="8940"/>
                    </a:lnTo>
                    <a:lnTo>
                      <a:pt x="5700" y="8940"/>
                    </a:lnTo>
                    <a:lnTo>
                      <a:pt x="4911" y="8940"/>
                    </a:lnTo>
                    <a:lnTo>
                      <a:pt x="4911" y="8580"/>
                    </a:lnTo>
                    <a:lnTo>
                      <a:pt x="4739" y="8580"/>
                    </a:lnTo>
                    <a:lnTo>
                      <a:pt x="4739" y="9240"/>
                    </a:lnTo>
                    <a:lnTo>
                      <a:pt x="4533" y="9240"/>
                    </a:lnTo>
                    <a:lnTo>
                      <a:pt x="4533" y="9600"/>
                    </a:lnTo>
                    <a:lnTo>
                      <a:pt x="4327" y="9600"/>
                    </a:lnTo>
                    <a:lnTo>
                      <a:pt x="4327" y="9960"/>
                    </a:lnTo>
                    <a:lnTo>
                      <a:pt x="4121" y="9960"/>
                    </a:lnTo>
                    <a:lnTo>
                      <a:pt x="4121" y="10260"/>
                    </a:lnTo>
                    <a:lnTo>
                      <a:pt x="3949" y="10620"/>
                    </a:lnTo>
                    <a:lnTo>
                      <a:pt x="3949" y="10980"/>
                    </a:lnTo>
                    <a:lnTo>
                      <a:pt x="3537" y="10980"/>
                    </a:lnTo>
                    <a:lnTo>
                      <a:pt x="3537" y="11340"/>
                    </a:lnTo>
                    <a:lnTo>
                      <a:pt x="3537" y="10980"/>
                    </a:lnTo>
                    <a:lnTo>
                      <a:pt x="2953" y="10980"/>
                    </a:lnTo>
                    <a:lnTo>
                      <a:pt x="2953" y="10620"/>
                    </a:lnTo>
                    <a:lnTo>
                      <a:pt x="2576" y="10620"/>
                    </a:lnTo>
                    <a:lnTo>
                      <a:pt x="2576" y="10260"/>
                    </a:lnTo>
                    <a:lnTo>
                      <a:pt x="2576" y="10620"/>
                    </a:lnTo>
                    <a:lnTo>
                      <a:pt x="2576" y="10260"/>
                    </a:lnTo>
                    <a:lnTo>
                      <a:pt x="2369" y="10260"/>
                    </a:lnTo>
                    <a:lnTo>
                      <a:pt x="2163" y="9960"/>
                    </a:lnTo>
                    <a:lnTo>
                      <a:pt x="2163" y="9600"/>
                    </a:lnTo>
                    <a:lnTo>
                      <a:pt x="1992" y="9600"/>
                    </a:lnTo>
                    <a:lnTo>
                      <a:pt x="2163" y="9240"/>
                    </a:lnTo>
                    <a:lnTo>
                      <a:pt x="2163" y="7920"/>
                    </a:lnTo>
                    <a:lnTo>
                      <a:pt x="1992" y="7920"/>
                    </a:lnTo>
                    <a:lnTo>
                      <a:pt x="1992" y="6540"/>
                    </a:lnTo>
                    <a:lnTo>
                      <a:pt x="2576" y="6540"/>
                    </a:lnTo>
                    <a:lnTo>
                      <a:pt x="2576" y="6180"/>
                    </a:lnTo>
                    <a:lnTo>
                      <a:pt x="2747" y="6180"/>
                    </a:lnTo>
                    <a:lnTo>
                      <a:pt x="2576" y="6180"/>
                    </a:lnTo>
                    <a:lnTo>
                      <a:pt x="2747" y="5820"/>
                    </a:lnTo>
                    <a:lnTo>
                      <a:pt x="2953" y="5820"/>
                    </a:lnTo>
                    <a:lnTo>
                      <a:pt x="2953" y="6180"/>
                    </a:lnTo>
                    <a:lnTo>
                      <a:pt x="3537" y="6180"/>
                    </a:lnTo>
                    <a:lnTo>
                      <a:pt x="3537" y="6540"/>
                    </a:lnTo>
                    <a:lnTo>
                      <a:pt x="3949" y="6540"/>
                    </a:lnTo>
                    <a:lnTo>
                      <a:pt x="3949" y="6840"/>
                    </a:lnTo>
                    <a:lnTo>
                      <a:pt x="4121" y="6840"/>
                    </a:lnTo>
                    <a:lnTo>
                      <a:pt x="4121" y="5820"/>
                    </a:lnTo>
                    <a:lnTo>
                      <a:pt x="4327" y="5820"/>
                    </a:lnTo>
                    <a:lnTo>
                      <a:pt x="4327" y="5520"/>
                    </a:lnTo>
                    <a:lnTo>
                      <a:pt x="4121" y="5520"/>
                    </a:lnTo>
                    <a:lnTo>
                      <a:pt x="4327" y="5520"/>
                    </a:lnTo>
                    <a:lnTo>
                      <a:pt x="4327" y="4800"/>
                    </a:lnTo>
                    <a:lnTo>
                      <a:pt x="4121" y="4800"/>
                    </a:lnTo>
                    <a:lnTo>
                      <a:pt x="4121" y="3780"/>
                    </a:lnTo>
                    <a:lnTo>
                      <a:pt x="4327" y="3780"/>
                    </a:lnTo>
                    <a:lnTo>
                      <a:pt x="4327" y="3420"/>
                    </a:lnTo>
                    <a:lnTo>
                      <a:pt x="4121" y="3420"/>
                    </a:lnTo>
                    <a:lnTo>
                      <a:pt x="4121" y="2760"/>
                    </a:lnTo>
                    <a:lnTo>
                      <a:pt x="3949" y="2760"/>
                    </a:lnTo>
                    <a:lnTo>
                      <a:pt x="3949" y="2400"/>
                    </a:lnTo>
                    <a:lnTo>
                      <a:pt x="3743" y="2400"/>
                    </a:lnTo>
                    <a:lnTo>
                      <a:pt x="3743" y="2040"/>
                    </a:lnTo>
                    <a:lnTo>
                      <a:pt x="3365" y="2040"/>
                    </a:lnTo>
                    <a:lnTo>
                      <a:pt x="3365" y="1740"/>
                    </a:lnTo>
                    <a:lnTo>
                      <a:pt x="2953" y="1740"/>
                    </a:lnTo>
                    <a:lnTo>
                      <a:pt x="2953" y="1380"/>
                    </a:lnTo>
                    <a:lnTo>
                      <a:pt x="2747" y="1020"/>
                    </a:lnTo>
                    <a:lnTo>
                      <a:pt x="2747" y="360"/>
                    </a:lnTo>
                    <a:lnTo>
                      <a:pt x="2576" y="360"/>
                    </a:lnTo>
                    <a:lnTo>
                      <a:pt x="2576" y="0"/>
                    </a:lnTo>
                    <a:lnTo>
                      <a:pt x="2576" y="2040"/>
                    </a:lnTo>
                    <a:lnTo>
                      <a:pt x="2747" y="2040"/>
                    </a:lnTo>
                    <a:lnTo>
                      <a:pt x="2747" y="2400"/>
                    </a:lnTo>
                    <a:lnTo>
                      <a:pt x="2576" y="2760"/>
                    </a:lnTo>
                    <a:lnTo>
                      <a:pt x="2576" y="3120"/>
                    </a:lnTo>
                    <a:lnTo>
                      <a:pt x="2369" y="3120"/>
                    </a:lnTo>
                    <a:lnTo>
                      <a:pt x="2369" y="3420"/>
                    </a:lnTo>
                    <a:lnTo>
                      <a:pt x="2163" y="3420"/>
                    </a:lnTo>
                    <a:lnTo>
                      <a:pt x="2163" y="3780"/>
                    </a:lnTo>
                    <a:lnTo>
                      <a:pt x="2369" y="3780"/>
                    </a:lnTo>
                    <a:lnTo>
                      <a:pt x="2163" y="3780"/>
                    </a:lnTo>
                    <a:lnTo>
                      <a:pt x="2163" y="4140"/>
                    </a:lnTo>
                    <a:lnTo>
                      <a:pt x="1992" y="4140"/>
                    </a:lnTo>
                    <a:lnTo>
                      <a:pt x="2163" y="4140"/>
                    </a:lnTo>
                    <a:lnTo>
                      <a:pt x="1992" y="4140"/>
                    </a:lnTo>
                    <a:lnTo>
                      <a:pt x="1992" y="4440"/>
                    </a:lnTo>
                    <a:lnTo>
                      <a:pt x="1786" y="4440"/>
                    </a:lnTo>
                    <a:lnTo>
                      <a:pt x="1786" y="5160"/>
                    </a:lnTo>
                    <a:lnTo>
                      <a:pt x="1580" y="5160"/>
                    </a:lnTo>
                    <a:lnTo>
                      <a:pt x="1580" y="4800"/>
                    </a:lnTo>
                    <a:lnTo>
                      <a:pt x="1580" y="5160"/>
                    </a:lnTo>
                    <a:lnTo>
                      <a:pt x="1374" y="5160"/>
                    </a:lnTo>
                    <a:lnTo>
                      <a:pt x="1202" y="5520"/>
                    </a:lnTo>
                    <a:lnTo>
                      <a:pt x="996" y="5820"/>
                    </a:lnTo>
                    <a:lnTo>
                      <a:pt x="790" y="6180"/>
                    </a:lnTo>
                    <a:lnTo>
                      <a:pt x="790" y="6840"/>
                    </a:lnTo>
                    <a:lnTo>
                      <a:pt x="996" y="6840"/>
                    </a:lnTo>
                    <a:lnTo>
                      <a:pt x="996" y="7200"/>
                    </a:lnTo>
                    <a:lnTo>
                      <a:pt x="1202" y="7560"/>
                    </a:lnTo>
                    <a:lnTo>
                      <a:pt x="996" y="7560"/>
                    </a:lnTo>
                    <a:lnTo>
                      <a:pt x="996" y="8220"/>
                    </a:lnTo>
                    <a:lnTo>
                      <a:pt x="790" y="8220"/>
                    </a:lnTo>
                    <a:lnTo>
                      <a:pt x="790" y="8580"/>
                    </a:lnTo>
                    <a:lnTo>
                      <a:pt x="618" y="8580"/>
                    </a:lnTo>
                    <a:lnTo>
                      <a:pt x="618" y="9240"/>
                    </a:lnTo>
                    <a:lnTo>
                      <a:pt x="412" y="9240"/>
                    </a:lnTo>
                    <a:lnTo>
                      <a:pt x="412" y="9600"/>
                    </a:lnTo>
                    <a:lnTo>
                      <a:pt x="0" y="9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84" name="Shape 3010"/>
              <p:cNvSpPr/>
              <p:nvPr/>
            </p:nvSpPr>
            <p:spPr>
              <a:xfrm>
                <a:off x="7847773" y="3943126"/>
                <a:ext cx="1106306" cy="6759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290" y="4477"/>
                    </a:moveTo>
                    <a:lnTo>
                      <a:pt x="21459" y="4477"/>
                    </a:lnTo>
                    <a:lnTo>
                      <a:pt x="21459" y="4754"/>
                    </a:lnTo>
                    <a:lnTo>
                      <a:pt x="21600" y="4754"/>
                    </a:lnTo>
                    <a:lnTo>
                      <a:pt x="21459" y="4754"/>
                    </a:lnTo>
                    <a:lnTo>
                      <a:pt x="21600" y="4754"/>
                    </a:lnTo>
                    <a:lnTo>
                      <a:pt x="21459" y="4754"/>
                    </a:lnTo>
                    <a:lnTo>
                      <a:pt x="21459" y="5538"/>
                    </a:lnTo>
                    <a:lnTo>
                      <a:pt x="21121" y="5538"/>
                    </a:lnTo>
                    <a:lnTo>
                      <a:pt x="21121" y="5815"/>
                    </a:lnTo>
                    <a:lnTo>
                      <a:pt x="21290" y="5815"/>
                    </a:lnTo>
                    <a:lnTo>
                      <a:pt x="21290" y="6323"/>
                    </a:lnTo>
                    <a:lnTo>
                      <a:pt x="20810" y="6323"/>
                    </a:lnTo>
                    <a:lnTo>
                      <a:pt x="20810" y="6600"/>
                    </a:lnTo>
                    <a:lnTo>
                      <a:pt x="20641" y="6600"/>
                    </a:lnTo>
                    <a:lnTo>
                      <a:pt x="20641" y="6831"/>
                    </a:lnTo>
                    <a:lnTo>
                      <a:pt x="20472" y="6831"/>
                    </a:lnTo>
                    <a:lnTo>
                      <a:pt x="20472" y="6600"/>
                    </a:lnTo>
                    <a:lnTo>
                      <a:pt x="20472" y="6831"/>
                    </a:lnTo>
                    <a:lnTo>
                      <a:pt x="20303" y="6831"/>
                    </a:lnTo>
                    <a:lnTo>
                      <a:pt x="20303" y="7108"/>
                    </a:lnTo>
                    <a:lnTo>
                      <a:pt x="20162" y="7108"/>
                    </a:lnTo>
                    <a:lnTo>
                      <a:pt x="20162" y="7662"/>
                    </a:lnTo>
                    <a:lnTo>
                      <a:pt x="19683" y="7662"/>
                    </a:lnTo>
                    <a:lnTo>
                      <a:pt x="19683" y="7892"/>
                    </a:lnTo>
                    <a:lnTo>
                      <a:pt x="19683" y="7662"/>
                    </a:lnTo>
                    <a:lnTo>
                      <a:pt x="19513" y="7662"/>
                    </a:lnTo>
                    <a:lnTo>
                      <a:pt x="19513" y="7892"/>
                    </a:lnTo>
                    <a:lnTo>
                      <a:pt x="19344" y="7892"/>
                    </a:lnTo>
                    <a:lnTo>
                      <a:pt x="19175" y="8169"/>
                    </a:lnTo>
                    <a:lnTo>
                      <a:pt x="19034" y="8169"/>
                    </a:lnTo>
                    <a:lnTo>
                      <a:pt x="19034" y="7892"/>
                    </a:lnTo>
                    <a:lnTo>
                      <a:pt x="18865" y="7892"/>
                    </a:lnTo>
                    <a:lnTo>
                      <a:pt x="18865" y="8169"/>
                    </a:lnTo>
                    <a:lnTo>
                      <a:pt x="18555" y="8169"/>
                    </a:lnTo>
                    <a:lnTo>
                      <a:pt x="18555" y="8446"/>
                    </a:lnTo>
                    <a:lnTo>
                      <a:pt x="18385" y="8169"/>
                    </a:lnTo>
                    <a:lnTo>
                      <a:pt x="18385" y="8446"/>
                    </a:lnTo>
                    <a:lnTo>
                      <a:pt x="18216" y="8446"/>
                    </a:lnTo>
                    <a:lnTo>
                      <a:pt x="18216" y="8677"/>
                    </a:lnTo>
                    <a:lnTo>
                      <a:pt x="18047" y="8677"/>
                    </a:lnTo>
                    <a:lnTo>
                      <a:pt x="18216" y="8954"/>
                    </a:lnTo>
                    <a:lnTo>
                      <a:pt x="18047" y="8954"/>
                    </a:lnTo>
                    <a:lnTo>
                      <a:pt x="18047" y="8677"/>
                    </a:lnTo>
                    <a:lnTo>
                      <a:pt x="18047" y="8954"/>
                    </a:lnTo>
                    <a:lnTo>
                      <a:pt x="17737" y="8954"/>
                    </a:lnTo>
                    <a:lnTo>
                      <a:pt x="17737" y="9231"/>
                    </a:lnTo>
                    <a:lnTo>
                      <a:pt x="17568" y="9231"/>
                    </a:lnTo>
                    <a:lnTo>
                      <a:pt x="17568" y="9508"/>
                    </a:lnTo>
                    <a:lnTo>
                      <a:pt x="17427" y="9738"/>
                    </a:lnTo>
                    <a:lnTo>
                      <a:pt x="17427" y="10015"/>
                    </a:lnTo>
                    <a:lnTo>
                      <a:pt x="17427" y="9738"/>
                    </a:lnTo>
                    <a:lnTo>
                      <a:pt x="17088" y="9738"/>
                    </a:lnTo>
                    <a:lnTo>
                      <a:pt x="16919" y="10015"/>
                    </a:lnTo>
                    <a:lnTo>
                      <a:pt x="16440" y="10015"/>
                    </a:lnTo>
                    <a:lnTo>
                      <a:pt x="16440" y="10292"/>
                    </a:lnTo>
                    <a:lnTo>
                      <a:pt x="16130" y="10292"/>
                    </a:lnTo>
                    <a:lnTo>
                      <a:pt x="16130" y="10523"/>
                    </a:lnTo>
                    <a:lnTo>
                      <a:pt x="15960" y="10523"/>
                    </a:lnTo>
                    <a:lnTo>
                      <a:pt x="15960" y="10800"/>
                    </a:lnTo>
                    <a:lnTo>
                      <a:pt x="15791" y="10800"/>
                    </a:lnTo>
                    <a:lnTo>
                      <a:pt x="15791" y="11077"/>
                    </a:lnTo>
                    <a:lnTo>
                      <a:pt x="15650" y="11077"/>
                    </a:lnTo>
                    <a:lnTo>
                      <a:pt x="15650" y="11308"/>
                    </a:lnTo>
                    <a:lnTo>
                      <a:pt x="15481" y="11308"/>
                    </a:lnTo>
                    <a:lnTo>
                      <a:pt x="15481" y="11585"/>
                    </a:lnTo>
                    <a:lnTo>
                      <a:pt x="15171" y="11585"/>
                    </a:lnTo>
                    <a:lnTo>
                      <a:pt x="15171" y="11862"/>
                    </a:lnTo>
                    <a:lnTo>
                      <a:pt x="14832" y="11862"/>
                    </a:lnTo>
                    <a:lnTo>
                      <a:pt x="15002" y="11585"/>
                    </a:lnTo>
                    <a:lnTo>
                      <a:pt x="14832" y="11585"/>
                    </a:lnTo>
                    <a:lnTo>
                      <a:pt x="14832" y="11077"/>
                    </a:lnTo>
                    <a:lnTo>
                      <a:pt x="14522" y="11077"/>
                    </a:lnTo>
                    <a:lnTo>
                      <a:pt x="14522" y="11308"/>
                    </a:lnTo>
                    <a:lnTo>
                      <a:pt x="14184" y="11308"/>
                    </a:lnTo>
                    <a:lnTo>
                      <a:pt x="14184" y="11585"/>
                    </a:lnTo>
                    <a:lnTo>
                      <a:pt x="14043" y="11585"/>
                    </a:lnTo>
                    <a:lnTo>
                      <a:pt x="14043" y="12138"/>
                    </a:lnTo>
                    <a:lnTo>
                      <a:pt x="13874" y="12138"/>
                    </a:lnTo>
                    <a:lnTo>
                      <a:pt x="13874" y="12369"/>
                    </a:lnTo>
                    <a:lnTo>
                      <a:pt x="13704" y="12369"/>
                    </a:lnTo>
                    <a:lnTo>
                      <a:pt x="13704" y="12646"/>
                    </a:lnTo>
                    <a:lnTo>
                      <a:pt x="13874" y="12646"/>
                    </a:lnTo>
                    <a:lnTo>
                      <a:pt x="13704" y="12646"/>
                    </a:lnTo>
                    <a:lnTo>
                      <a:pt x="13704" y="13154"/>
                    </a:lnTo>
                    <a:lnTo>
                      <a:pt x="13535" y="13154"/>
                    </a:lnTo>
                    <a:lnTo>
                      <a:pt x="13535" y="13708"/>
                    </a:lnTo>
                    <a:lnTo>
                      <a:pt x="13704" y="13708"/>
                    </a:lnTo>
                    <a:lnTo>
                      <a:pt x="13704" y="13985"/>
                    </a:lnTo>
                    <a:lnTo>
                      <a:pt x="13535" y="13985"/>
                    </a:lnTo>
                    <a:lnTo>
                      <a:pt x="13535" y="14215"/>
                    </a:lnTo>
                    <a:lnTo>
                      <a:pt x="13225" y="14215"/>
                    </a:lnTo>
                    <a:lnTo>
                      <a:pt x="13225" y="14769"/>
                    </a:lnTo>
                    <a:lnTo>
                      <a:pt x="13056" y="14492"/>
                    </a:lnTo>
                    <a:lnTo>
                      <a:pt x="13056" y="15000"/>
                    </a:lnTo>
                    <a:lnTo>
                      <a:pt x="12915" y="15277"/>
                    </a:lnTo>
                    <a:lnTo>
                      <a:pt x="12915" y="15554"/>
                    </a:lnTo>
                    <a:lnTo>
                      <a:pt x="12746" y="15554"/>
                    </a:lnTo>
                    <a:lnTo>
                      <a:pt x="12746" y="15831"/>
                    </a:lnTo>
                    <a:lnTo>
                      <a:pt x="12577" y="15831"/>
                    </a:lnTo>
                    <a:lnTo>
                      <a:pt x="12746" y="15831"/>
                    </a:lnTo>
                    <a:lnTo>
                      <a:pt x="12577" y="16062"/>
                    </a:lnTo>
                    <a:lnTo>
                      <a:pt x="12577" y="15831"/>
                    </a:lnTo>
                    <a:lnTo>
                      <a:pt x="12577" y="16338"/>
                    </a:lnTo>
                    <a:lnTo>
                      <a:pt x="12407" y="16338"/>
                    </a:lnTo>
                    <a:lnTo>
                      <a:pt x="12407" y="16615"/>
                    </a:lnTo>
                    <a:lnTo>
                      <a:pt x="12266" y="16615"/>
                    </a:lnTo>
                    <a:lnTo>
                      <a:pt x="12266" y="17123"/>
                    </a:lnTo>
                    <a:lnTo>
                      <a:pt x="12407" y="17400"/>
                    </a:lnTo>
                    <a:lnTo>
                      <a:pt x="12266" y="17677"/>
                    </a:lnTo>
                    <a:lnTo>
                      <a:pt x="12266" y="17908"/>
                    </a:lnTo>
                    <a:lnTo>
                      <a:pt x="12097" y="17908"/>
                    </a:lnTo>
                    <a:lnTo>
                      <a:pt x="12097" y="18692"/>
                    </a:lnTo>
                    <a:lnTo>
                      <a:pt x="12266" y="18692"/>
                    </a:lnTo>
                    <a:lnTo>
                      <a:pt x="12266" y="18969"/>
                    </a:lnTo>
                    <a:lnTo>
                      <a:pt x="12097" y="18969"/>
                    </a:lnTo>
                    <a:lnTo>
                      <a:pt x="12097" y="19246"/>
                    </a:lnTo>
                    <a:lnTo>
                      <a:pt x="11928" y="19246"/>
                    </a:lnTo>
                    <a:lnTo>
                      <a:pt x="11928" y="19477"/>
                    </a:lnTo>
                    <a:lnTo>
                      <a:pt x="11787" y="19477"/>
                    </a:lnTo>
                    <a:lnTo>
                      <a:pt x="11787" y="19754"/>
                    </a:lnTo>
                    <a:lnTo>
                      <a:pt x="11618" y="19754"/>
                    </a:lnTo>
                    <a:lnTo>
                      <a:pt x="11618" y="20308"/>
                    </a:lnTo>
                    <a:lnTo>
                      <a:pt x="11449" y="20538"/>
                    </a:lnTo>
                    <a:lnTo>
                      <a:pt x="11279" y="20815"/>
                    </a:lnTo>
                    <a:lnTo>
                      <a:pt x="11449" y="20815"/>
                    </a:lnTo>
                    <a:lnTo>
                      <a:pt x="11279" y="21092"/>
                    </a:lnTo>
                    <a:lnTo>
                      <a:pt x="11138" y="21092"/>
                    </a:lnTo>
                    <a:lnTo>
                      <a:pt x="11138" y="21323"/>
                    </a:lnTo>
                    <a:lnTo>
                      <a:pt x="11138" y="21092"/>
                    </a:lnTo>
                    <a:lnTo>
                      <a:pt x="10969" y="21092"/>
                    </a:lnTo>
                    <a:lnTo>
                      <a:pt x="10969" y="21323"/>
                    </a:lnTo>
                    <a:lnTo>
                      <a:pt x="10659" y="21323"/>
                    </a:lnTo>
                    <a:lnTo>
                      <a:pt x="9193" y="20308"/>
                    </a:lnTo>
                    <a:lnTo>
                      <a:pt x="8883" y="19754"/>
                    </a:lnTo>
                    <a:lnTo>
                      <a:pt x="8713" y="20031"/>
                    </a:lnTo>
                    <a:lnTo>
                      <a:pt x="8544" y="20031"/>
                    </a:lnTo>
                    <a:lnTo>
                      <a:pt x="8234" y="20538"/>
                    </a:lnTo>
                    <a:lnTo>
                      <a:pt x="7896" y="20031"/>
                    </a:lnTo>
                    <a:lnTo>
                      <a:pt x="7585" y="20538"/>
                    </a:lnTo>
                    <a:lnTo>
                      <a:pt x="7247" y="20031"/>
                    </a:lnTo>
                    <a:lnTo>
                      <a:pt x="7106" y="20538"/>
                    </a:lnTo>
                    <a:lnTo>
                      <a:pt x="6937" y="20308"/>
                    </a:lnTo>
                    <a:lnTo>
                      <a:pt x="6768" y="20815"/>
                    </a:lnTo>
                    <a:lnTo>
                      <a:pt x="5809" y="19477"/>
                    </a:lnTo>
                    <a:lnTo>
                      <a:pt x="5640" y="20031"/>
                    </a:lnTo>
                    <a:lnTo>
                      <a:pt x="5330" y="19477"/>
                    </a:lnTo>
                    <a:lnTo>
                      <a:pt x="5499" y="18969"/>
                    </a:lnTo>
                    <a:lnTo>
                      <a:pt x="5160" y="18462"/>
                    </a:lnTo>
                    <a:lnTo>
                      <a:pt x="4850" y="18969"/>
                    </a:lnTo>
                    <a:lnTo>
                      <a:pt x="4681" y="18462"/>
                    </a:lnTo>
                    <a:lnTo>
                      <a:pt x="4371" y="18969"/>
                    </a:lnTo>
                    <a:lnTo>
                      <a:pt x="4032" y="18462"/>
                    </a:lnTo>
                    <a:lnTo>
                      <a:pt x="3722" y="19246"/>
                    </a:lnTo>
                    <a:lnTo>
                      <a:pt x="4032" y="19477"/>
                    </a:lnTo>
                    <a:lnTo>
                      <a:pt x="3863" y="19754"/>
                    </a:lnTo>
                    <a:lnTo>
                      <a:pt x="4032" y="20031"/>
                    </a:lnTo>
                    <a:lnTo>
                      <a:pt x="4032" y="20308"/>
                    </a:lnTo>
                    <a:lnTo>
                      <a:pt x="3863" y="20538"/>
                    </a:lnTo>
                    <a:lnTo>
                      <a:pt x="3722" y="20538"/>
                    </a:lnTo>
                    <a:lnTo>
                      <a:pt x="3722" y="20308"/>
                    </a:lnTo>
                    <a:lnTo>
                      <a:pt x="3384" y="20308"/>
                    </a:lnTo>
                    <a:lnTo>
                      <a:pt x="3384" y="20538"/>
                    </a:lnTo>
                    <a:lnTo>
                      <a:pt x="3074" y="20538"/>
                    </a:lnTo>
                    <a:lnTo>
                      <a:pt x="3074" y="20815"/>
                    </a:lnTo>
                    <a:lnTo>
                      <a:pt x="2735" y="20815"/>
                    </a:lnTo>
                    <a:lnTo>
                      <a:pt x="2735" y="20308"/>
                    </a:lnTo>
                    <a:lnTo>
                      <a:pt x="2256" y="20308"/>
                    </a:lnTo>
                    <a:lnTo>
                      <a:pt x="2256" y="20538"/>
                    </a:lnTo>
                    <a:lnTo>
                      <a:pt x="2115" y="20538"/>
                    </a:lnTo>
                    <a:lnTo>
                      <a:pt x="2115" y="20308"/>
                    </a:lnTo>
                    <a:lnTo>
                      <a:pt x="1466" y="20308"/>
                    </a:lnTo>
                    <a:lnTo>
                      <a:pt x="1466" y="20031"/>
                    </a:lnTo>
                    <a:lnTo>
                      <a:pt x="1297" y="20031"/>
                    </a:lnTo>
                    <a:lnTo>
                      <a:pt x="1297" y="20538"/>
                    </a:lnTo>
                    <a:lnTo>
                      <a:pt x="1128" y="20308"/>
                    </a:lnTo>
                    <a:lnTo>
                      <a:pt x="987" y="20815"/>
                    </a:lnTo>
                    <a:lnTo>
                      <a:pt x="818" y="21092"/>
                    </a:lnTo>
                    <a:lnTo>
                      <a:pt x="649" y="21600"/>
                    </a:lnTo>
                    <a:lnTo>
                      <a:pt x="338" y="21323"/>
                    </a:lnTo>
                    <a:lnTo>
                      <a:pt x="479" y="21323"/>
                    </a:lnTo>
                    <a:lnTo>
                      <a:pt x="649" y="20815"/>
                    </a:lnTo>
                    <a:lnTo>
                      <a:pt x="479" y="20538"/>
                    </a:lnTo>
                    <a:lnTo>
                      <a:pt x="479" y="20308"/>
                    </a:lnTo>
                    <a:lnTo>
                      <a:pt x="169" y="20308"/>
                    </a:lnTo>
                    <a:lnTo>
                      <a:pt x="479" y="19754"/>
                    </a:lnTo>
                    <a:lnTo>
                      <a:pt x="0" y="18969"/>
                    </a:lnTo>
                    <a:lnTo>
                      <a:pt x="338" y="18185"/>
                    </a:lnTo>
                    <a:lnTo>
                      <a:pt x="479" y="17677"/>
                    </a:lnTo>
                    <a:lnTo>
                      <a:pt x="818" y="17677"/>
                    </a:lnTo>
                    <a:lnTo>
                      <a:pt x="818" y="17123"/>
                    </a:lnTo>
                    <a:lnTo>
                      <a:pt x="649" y="17123"/>
                    </a:lnTo>
                    <a:lnTo>
                      <a:pt x="818" y="17123"/>
                    </a:lnTo>
                    <a:lnTo>
                      <a:pt x="818" y="16615"/>
                    </a:lnTo>
                    <a:lnTo>
                      <a:pt x="1128" y="15831"/>
                    </a:lnTo>
                    <a:lnTo>
                      <a:pt x="1297" y="15277"/>
                    </a:lnTo>
                    <a:lnTo>
                      <a:pt x="1777" y="15277"/>
                    </a:lnTo>
                    <a:lnTo>
                      <a:pt x="1777" y="15554"/>
                    </a:lnTo>
                    <a:lnTo>
                      <a:pt x="1946" y="15277"/>
                    </a:lnTo>
                    <a:lnTo>
                      <a:pt x="2115" y="15554"/>
                    </a:lnTo>
                    <a:lnTo>
                      <a:pt x="2735" y="14492"/>
                    </a:lnTo>
                    <a:lnTo>
                      <a:pt x="2425" y="13985"/>
                    </a:lnTo>
                    <a:lnTo>
                      <a:pt x="3074" y="12923"/>
                    </a:lnTo>
                    <a:lnTo>
                      <a:pt x="3074" y="12646"/>
                    </a:lnTo>
                    <a:lnTo>
                      <a:pt x="3243" y="12923"/>
                    </a:lnTo>
                    <a:lnTo>
                      <a:pt x="4032" y="11077"/>
                    </a:lnTo>
                    <a:lnTo>
                      <a:pt x="3384" y="10292"/>
                    </a:lnTo>
                    <a:lnTo>
                      <a:pt x="3243" y="10523"/>
                    </a:lnTo>
                    <a:lnTo>
                      <a:pt x="2904" y="10292"/>
                    </a:lnTo>
                    <a:lnTo>
                      <a:pt x="2904" y="10523"/>
                    </a:lnTo>
                    <a:lnTo>
                      <a:pt x="2735" y="10523"/>
                    </a:lnTo>
                    <a:lnTo>
                      <a:pt x="2735" y="10800"/>
                    </a:lnTo>
                    <a:lnTo>
                      <a:pt x="2594" y="10800"/>
                    </a:lnTo>
                    <a:lnTo>
                      <a:pt x="2594" y="11077"/>
                    </a:lnTo>
                    <a:lnTo>
                      <a:pt x="2425" y="11585"/>
                    </a:lnTo>
                    <a:lnTo>
                      <a:pt x="1946" y="11077"/>
                    </a:lnTo>
                    <a:lnTo>
                      <a:pt x="1777" y="11308"/>
                    </a:lnTo>
                    <a:lnTo>
                      <a:pt x="1607" y="11077"/>
                    </a:lnTo>
                    <a:lnTo>
                      <a:pt x="1777" y="10800"/>
                    </a:lnTo>
                    <a:lnTo>
                      <a:pt x="1607" y="10523"/>
                    </a:lnTo>
                    <a:lnTo>
                      <a:pt x="1777" y="10292"/>
                    </a:lnTo>
                    <a:lnTo>
                      <a:pt x="1777" y="10015"/>
                    </a:lnTo>
                    <a:lnTo>
                      <a:pt x="1946" y="10015"/>
                    </a:lnTo>
                    <a:lnTo>
                      <a:pt x="1946" y="9231"/>
                    </a:lnTo>
                    <a:lnTo>
                      <a:pt x="2115" y="9231"/>
                    </a:lnTo>
                    <a:lnTo>
                      <a:pt x="2115" y="8954"/>
                    </a:lnTo>
                    <a:lnTo>
                      <a:pt x="2594" y="8954"/>
                    </a:lnTo>
                    <a:lnTo>
                      <a:pt x="2594" y="8677"/>
                    </a:lnTo>
                    <a:lnTo>
                      <a:pt x="2735" y="8677"/>
                    </a:lnTo>
                    <a:lnTo>
                      <a:pt x="2735" y="8446"/>
                    </a:lnTo>
                    <a:lnTo>
                      <a:pt x="2594" y="8446"/>
                    </a:lnTo>
                    <a:lnTo>
                      <a:pt x="2594" y="7892"/>
                    </a:lnTo>
                    <a:lnTo>
                      <a:pt x="2425" y="7892"/>
                    </a:lnTo>
                    <a:lnTo>
                      <a:pt x="2425" y="7662"/>
                    </a:lnTo>
                    <a:lnTo>
                      <a:pt x="2594" y="7662"/>
                    </a:lnTo>
                    <a:lnTo>
                      <a:pt x="2594" y="7108"/>
                    </a:lnTo>
                    <a:lnTo>
                      <a:pt x="2735" y="7108"/>
                    </a:lnTo>
                    <a:lnTo>
                      <a:pt x="2735" y="5538"/>
                    </a:lnTo>
                    <a:lnTo>
                      <a:pt x="2594" y="5538"/>
                    </a:lnTo>
                    <a:lnTo>
                      <a:pt x="2594" y="5262"/>
                    </a:lnTo>
                    <a:lnTo>
                      <a:pt x="2425" y="5262"/>
                    </a:lnTo>
                    <a:lnTo>
                      <a:pt x="2594" y="4985"/>
                    </a:lnTo>
                    <a:lnTo>
                      <a:pt x="2425" y="4985"/>
                    </a:lnTo>
                    <a:lnTo>
                      <a:pt x="2256" y="4754"/>
                    </a:lnTo>
                    <a:lnTo>
                      <a:pt x="2256" y="3692"/>
                    </a:lnTo>
                    <a:lnTo>
                      <a:pt x="2735" y="3969"/>
                    </a:lnTo>
                    <a:lnTo>
                      <a:pt x="2904" y="4200"/>
                    </a:lnTo>
                    <a:lnTo>
                      <a:pt x="3243" y="4200"/>
                    </a:lnTo>
                    <a:lnTo>
                      <a:pt x="3863" y="4754"/>
                    </a:lnTo>
                    <a:lnTo>
                      <a:pt x="4512" y="5538"/>
                    </a:lnTo>
                    <a:lnTo>
                      <a:pt x="4371" y="5538"/>
                    </a:lnTo>
                    <a:lnTo>
                      <a:pt x="4371" y="5815"/>
                    </a:lnTo>
                    <a:lnTo>
                      <a:pt x="4512" y="6046"/>
                    </a:lnTo>
                    <a:lnTo>
                      <a:pt x="4850" y="5815"/>
                    </a:lnTo>
                    <a:lnTo>
                      <a:pt x="4991" y="6046"/>
                    </a:lnTo>
                    <a:lnTo>
                      <a:pt x="5330" y="5538"/>
                    </a:lnTo>
                    <a:lnTo>
                      <a:pt x="5640" y="6046"/>
                    </a:lnTo>
                    <a:lnTo>
                      <a:pt x="5809" y="5815"/>
                    </a:lnTo>
                    <a:lnTo>
                      <a:pt x="6288" y="6600"/>
                    </a:lnTo>
                    <a:lnTo>
                      <a:pt x="6768" y="5815"/>
                    </a:lnTo>
                    <a:lnTo>
                      <a:pt x="6457" y="5262"/>
                    </a:lnTo>
                    <a:lnTo>
                      <a:pt x="6627" y="3692"/>
                    </a:lnTo>
                    <a:lnTo>
                      <a:pt x="6119" y="3415"/>
                    </a:lnTo>
                    <a:lnTo>
                      <a:pt x="6937" y="785"/>
                    </a:lnTo>
                    <a:lnTo>
                      <a:pt x="9531" y="508"/>
                    </a:lnTo>
                    <a:lnTo>
                      <a:pt x="9531" y="277"/>
                    </a:lnTo>
                    <a:lnTo>
                      <a:pt x="9672" y="277"/>
                    </a:lnTo>
                    <a:lnTo>
                      <a:pt x="9672" y="0"/>
                    </a:lnTo>
                    <a:lnTo>
                      <a:pt x="9841" y="0"/>
                    </a:lnTo>
                    <a:lnTo>
                      <a:pt x="9841" y="277"/>
                    </a:lnTo>
                    <a:lnTo>
                      <a:pt x="10010" y="277"/>
                    </a:lnTo>
                    <a:lnTo>
                      <a:pt x="10010" y="0"/>
                    </a:lnTo>
                    <a:lnTo>
                      <a:pt x="10321" y="0"/>
                    </a:lnTo>
                    <a:lnTo>
                      <a:pt x="11449" y="1338"/>
                    </a:lnTo>
                    <a:lnTo>
                      <a:pt x="16130" y="4754"/>
                    </a:lnTo>
                    <a:lnTo>
                      <a:pt x="16130" y="4985"/>
                    </a:lnTo>
                    <a:lnTo>
                      <a:pt x="16299" y="4985"/>
                    </a:lnTo>
                    <a:lnTo>
                      <a:pt x="17088" y="5538"/>
                    </a:lnTo>
                    <a:lnTo>
                      <a:pt x="17568" y="5538"/>
                    </a:lnTo>
                    <a:lnTo>
                      <a:pt x="17568" y="5262"/>
                    </a:lnTo>
                    <a:lnTo>
                      <a:pt x="17737" y="5262"/>
                    </a:lnTo>
                    <a:lnTo>
                      <a:pt x="18696" y="4985"/>
                    </a:lnTo>
                    <a:lnTo>
                      <a:pt x="18696" y="4477"/>
                    </a:lnTo>
                    <a:lnTo>
                      <a:pt x="18865" y="4477"/>
                    </a:lnTo>
                    <a:lnTo>
                      <a:pt x="18865" y="4200"/>
                    </a:lnTo>
                    <a:lnTo>
                      <a:pt x="19175" y="4200"/>
                    </a:lnTo>
                    <a:lnTo>
                      <a:pt x="19175" y="3969"/>
                    </a:lnTo>
                    <a:lnTo>
                      <a:pt x="19344" y="3969"/>
                    </a:lnTo>
                    <a:lnTo>
                      <a:pt x="19344" y="4200"/>
                    </a:lnTo>
                    <a:lnTo>
                      <a:pt x="19513" y="4200"/>
                    </a:lnTo>
                    <a:lnTo>
                      <a:pt x="19513" y="3969"/>
                    </a:lnTo>
                    <a:lnTo>
                      <a:pt x="19823" y="3969"/>
                    </a:lnTo>
                    <a:lnTo>
                      <a:pt x="19823" y="3415"/>
                    </a:lnTo>
                    <a:lnTo>
                      <a:pt x="20162" y="3415"/>
                    </a:lnTo>
                    <a:lnTo>
                      <a:pt x="20162" y="3138"/>
                    </a:lnTo>
                    <a:lnTo>
                      <a:pt x="20641" y="3138"/>
                    </a:lnTo>
                    <a:lnTo>
                      <a:pt x="20641" y="2631"/>
                    </a:lnTo>
                    <a:lnTo>
                      <a:pt x="21121" y="2631"/>
                    </a:lnTo>
                    <a:lnTo>
                      <a:pt x="21290" y="2908"/>
                    </a:lnTo>
                    <a:lnTo>
                      <a:pt x="21290" y="2631"/>
                    </a:lnTo>
                    <a:lnTo>
                      <a:pt x="21459" y="2908"/>
                    </a:lnTo>
                    <a:lnTo>
                      <a:pt x="21290" y="2908"/>
                    </a:lnTo>
                    <a:lnTo>
                      <a:pt x="21290" y="3138"/>
                    </a:lnTo>
                    <a:lnTo>
                      <a:pt x="21121" y="3138"/>
                    </a:lnTo>
                    <a:lnTo>
                      <a:pt x="21121" y="3969"/>
                    </a:lnTo>
                    <a:lnTo>
                      <a:pt x="20951" y="3969"/>
                    </a:lnTo>
                    <a:lnTo>
                      <a:pt x="20951" y="4477"/>
                    </a:lnTo>
                    <a:lnTo>
                      <a:pt x="21290" y="4477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85" name="Shape 3011"/>
              <p:cNvSpPr/>
              <p:nvPr/>
            </p:nvSpPr>
            <p:spPr>
              <a:xfrm>
                <a:off x="7485263" y="5039322"/>
                <a:ext cx="297519" cy="2556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977" y="21600"/>
                    </a:moveTo>
                    <a:lnTo>
                      <a:pt x="5977" y="20258"/>
                    </a:lnTo>
                    <a:lnTo>
                      <a:pt x="5348" y="19525"/>
                    </a:lnTo>
                    <a:lnTo>
                      <a:pt x="5348" y="18793"/>
                    </a:lnTo>
                    <a:lnTo>
                      <a:pt x="4718" y="18793"/>
                    </a:lnTo>
                    <a:lnTo>
                      <a:pt x="5348" y="18793"/>
                    </a:lnTo>
                    <a:lnTo>
                      <a:pt x="4718" y="18183"/>
                    </a:lnTo>
                    <a:lnTo>
                      <a:pt x="4718" y="18793"/>
                    </a:lnTo>
                    <a:lnTo>
                      <a:pt x="4718" y="18183"/>
                    </a:lnTo>
                    <a:lnTo>
                      <a:pt x="4194" y="18183"/>
                    </a:lnTo>
                    <a:lnTo>
                      <a:pt x="4718" y="17451"/>
                    </a:lnTo>
                    <a:lnTo>
                      <a:pt x="4718" y="18183"/>
                    </a:lnTo>
                    <a:lnTo>
                      <a:pt x="4718" y="17451"/>
                    </a:lnTo>
                    <a:lnTo>
                      <a:pt x="4194" y="17451"/>
                    </a:lnTo>
                    <a:lnTo>
                      <a:pt x="4194" y="16719"/>
                    </a:lnTo>
                    <a:lnTo>
                      <a:pt x="3565" y="16108"/>
                    </a:lnTo>
                    <a:lnTo>
                      <a:pt x="3565" y="15376"/>
                    </a:lnTo>
                    <a:lnTo>
                      <a:pt x="2936" y="15376"/>
                    </a:lnTo>
                    <a:lnTo>
                      <a:pt x="3565" y="14644"/>
                    </a:lnTo>
                    <a:lnTo>
                      <a:pt x="3565" y="14034"/>
                    </a:lnTo>
                    <a:lnTo>
                      <a:pt x="2936" y="14034"/>
                    </a:lnTo>
                    <a:lnTo>
                      <a:pt x="2936" y="14644"/>
                    </a:lnTo>
                    <a:lnTo>
                      <a:pt x="2936" y="14034"/>
                    </a:lnTo>
                    <a:lnTo>
                      <a:pt x="2412" y="13302"/>
                    </a:lnTo>
                    <a:lnTo>
                      <a:pt x="2412" y="14034"/>
                    </a:lnTo>
                    <a:lnTo>
                      <a:pt x="2412" y="13302"/>
                    </a:lnTo>
                    <a:lnTo>
                      <a:pt x="2936" y="13302"/>
                    </a:lnTo>
                    <a:lnTo>
                      <a:pt x="2412" y="12569"/>
                    </a:lnTo>
                    <a:lnTo>
                      <a:pt x="1783" y="12569"/>
                    </a:lnTo>
                    <a:lnTo>
                      <a:pt x="1783" y="11837"/>
                    </a:lnTo>
                    <a:lnTo>
                      <a:pt x="1153" y="11837"/>
                    </a:lnTo>
                    <a:lnTo>
                      <a:pt x="1153" y="12569"/>
                    </a:lnTo>
                    <a:lnTo>
                      <a:pt x="1153" y="11227"/>
                    </a:lnTo>
                    <a:lnTo>
                      <a:pt x="524" y="11227"/>
                    </a:lnTo>
                    <a:lnTo>
                      <a:pt x="1153" y="10495"/>
                    </a:lnTo>
                    <a:lnTo>
                      <a:pt x="524" y="9763"/>
                    </a:lnTo>
                    <a:lnTo>
                      <a:pt x="524" y="9153"/>
                    </a:lnTo>
                    <a:lnTo>
                      <a:pt x="0" y="9153"/>
                    </a:lnTo>
                    <a:lnTo>
                      <a:pt x="0" y="8420"/>
                    </a:lnTo>
                    <a:lnTo>
                      <a:pt x="1153" y="8420"/>
                    </a:lnTo>
                    <a:lnTo>
                      <a:pt x="1783" y="7688"/>
                    </a:lnTo>
                    <a:lnTo>
                      <a:pt x="1153" y="7688"/>
                    </a:lnTo>
                    <a:lnTo>
                      <a:pt x="1153" y="6346"/>
                    </a:lnTo>
                    <a:lnTo>
                      <a:pt x="524" y="6346"/>
                    </a:lnTo>
                    <a:lnTo>
                      <a:pt x="524" y="5614"/>
                    </a:lnTo>
                    <a:lnTo>
                      <a:pt x="1153" y="4881"/>
                    </a:lnTo>
                    <a:lnTo>
                      <a:pt x="524" y="4881"/>
                    </a:lnTo>
                    <a:lnTo>
                      <a:pt x="1153" y="4881"/>
                    </a:lnTo>
                    <a:lnTo>
                      <a:pt x="1153" y="3539"/>
                    </a:lnTo>
                    <a:lnTo>
                      <a:pt x="524" y="3539"/>
                    </a:lnTo>
                    <a:lnTo>
                      <a:pt x="1153" y="2807"/>
                    </a:lnTo>
                    <a:lnTo>
                      <a:pt x="2412" y="2807"/>
                    </a:lnTo>
                    <a:lnTo>
                      <a:pt x="2412" y="3539"/>
                    </a:lnTo>
                    <a:lnTo>
                      <a:pt x="2936" y="3539"/>
                    </a:lnTo>
                    <a:lnTo>
                      <a:pt x="2936" y="2807"/>
                    </a:lnTo>
                    <a:lnTo>
                      <a:pt x="3565" y="2807"/>
                    </a:lnTo>
                    <a:lnTo>
                      <a:pt x="3565" y="2075"/>
                    </a:lnTo>
                    <a:lnTo>
                      <a:pt x="4194" y="2807"/>
                    </a:lnTo>
                    <a:lnTo>
                      <a:pt x="4718" y="2807"/>
                    </a:lnTo>
                    <a:lnTo>
                      <a:pt x="4194" y="2807"/>
                    </a:lnTo>
                    <a:lnTo>
                      <a:pt x="4194" y="1464"/>
                    </a:lnTo>
                    <a:lnTo>
                      <a:pt x="5348" y="2807"/>
                    </a:lnTo>
                    <a:lnTo>
                      <a:pt x="6606" y="2075"/>
                    </a:lnTo>
                    <a:lnTo>
                      <a:pt x="7130" y="2807"/>
                    </a:lnTo>
                    <a:lnTo>
                      <a:pt x="7759" y="2807"/>
                    </a:lnTo>
                    <a:lnTo>
                      <a:pt x="8388" y="3539"/>
                    </a:lnTo>
                    <a:lnTo>
                      <a:pt x="8913" y="3539"/>
                    </a:lnTo>
                    <a:lnTo>
                      <a:pt x="8388" y="4271"/>
                    </a:lnTo>
                    <a:lnTo>
                      <a:pt x="9542" y="4271"/>
                    </a:lnTo>
                    <a:lnTo>
                      <a:pt x="10171" y="4881"/>
                    </a:lnTo>
                    <a:lnTo>
                      <a:pt x="10171" y="4271"/>
                    </a:lnTo>
                    <a:lnTo>
                      <a:pt x="10800" y="3539"/>
                    </a:lnTo>
                    <a:lnTo>
                      <a:pt x="10800" y="4271"/>
                    </a:lnTo>
                    <a:lnTo>
                      <a:pt x="10800" y="3539"/>
                    </a:lnTo>
                    <a:lnTo>
                      <a:pt x="11953" y="3539"/>
                    </a:lnTo>
                    <a:lnTo>
                      <a:pt x="11953" y="2807"/>
                    </a:lnTo>
                    <a:lnTo>
                      <a:pt x="12583" y="2807"/>
                    </a:lnTo>
                    <a:lnTo>
                      <a:pt x="12583" y="0"/>
                    </a:lnTo>
                    <a:lnTo>
                      <a:pt x="13212" y="0"/>
                    </a:lnTo>
                    <a:lnTo>
                      <a:pt x="13212" y="732"/>
                    </a:lnTo>
                    <a:lnTo>
                      <a:pt x="13736" y="732"/>
                    </a:lnTo>
                    <a:lnTo>
                      <a:pt x="13736" y="2075"/>
                    </a:lnTo>
                    <a:lnTo>
                      <a:pt x="14994" y="2075"/>
                    </a:lnTo>
                    <a:lnTo>
                      <a:pt x="14994" y="2807"/>
                    </a:lnTo>
                    <a:lnTo>
                      <a:pt x="15518" y="2807"/>
                    </a:lnTo>
                    <a:lnTo>
                      <a:pt x="15518" y="3539"/>
                    </a:lnTo>
                    <a:lnTo>
                      <a:pt x="15518" y="2807"/>
                    </a:lnTo>
                    <a:lnTo>
                      <a:pt x="16148" y="2807"/>
                    </a:lnTo>
                    <a:lnTo>
                      <a:pt x="16148" y="2075"/>
                    </a:lnTo>
                    <a:lnTo>
                      <a:pt x="17406" y="2075"/>
                    </a:lnTo>
                    <a:lnTo>
                      <a:pt x="17406" y="1464"/>
                    </a:lnTo>
                    <a:lnTo>
                      <a:pt x="17406" y="2075"/>
                    </a:lnTo>
                    <a:lnTo>
                      <a:pt x="17930" y="2075"/>
                    </a:lnTo>
                    <a:lnTo>
                      <a:pt x="17930" y="2807"/>
                    </a:lnTo>
                    <a:lnTo>
                      <a:pt x="18559" y="2807"/>
                    </a:lnTo>
                    <a:lnTo>
                      <a:pt x="18559" y="2075"/>
                    </a:lnTo>
                    <a:lnTo>
                      <a:pt x="18559" y="3539"/>
                    </a:lnTo>
                    <a:lnTo>
                      <a:pt x="19188" y="3539"/>
                    </a:lnTo>
                    <a:lnTo>
                      <a:pt x="19188" y="4271"/>
                    </a:lnTo>
                    <a:lnTo>
                      <a:pt x="19713" y="4271"/>
                    </a:lnTo>
                    <a:lnTo>
                      <a:pt x="19713" y="4881"/>
                    </a:lnTo>
                    <a:lnTo>
                      <a:pt x="19188" y="4881"/>
                    </a:lnTo>
                    <a:lnTo>
                      <a:pt x="19713" y="4881"/>
                    </a:lnTo>
                    <a:lnTo>
                      <a:pt x="19713" y="5614"/>
                    </a:lnTo>
                    <a:lnTo>
                      <a:pt x="19188" y="5614"/>
                    </a:lnTo>
                    <a:lnTo>
                      <a:pt x="19713" y="6346"/>
                    </a:lnTo>
                    <a:lnTo>
                      <a:pt x="19713" y="5614"/>
                    </a:lnTo>
                    <a:lnTo>
                      <a:pt x="20971" y="5614"/>
                    </a:lnTo>
                    <a:lnTo>
                      <a:pt x="20971" y="6346"/>
                    </a:lnTo>
                    <a:lnTo>
                      <a:pt x="20971" y="5614"/>
                    </a:lnTo>
                    <a:lnTo>
                      <a:pt x="21600" y="5614"/>
                    </a:lnTo>
                    <a:lnTo>
                      <a:pt x="21600" y="6956"/>
                    </a:lnTo>
                    <a:lnTo>
                      <a:pt x="20342" y="6956"/>
                    </a:lnTo>
                    <a:lnTo>
                      <a:pt x="20342" y="7688"/>
                    </a:lnTo>
                    <a:lnTo>
                      <a:pt x="19713" y="7688"/>
                    </a:lnTo>
                    <a:lnTo>
                      <a:pt x="19713" y="8420"/>
                    </a:lnTo>
                    <a:lnTo>
                      <a:pt x="20342" y="8420"/>
                    </a:lnTo>
                    <a:lnTo>
                      <a:pt x="20342" y="9153"/>
                    </a:lnTo>
                    <a:lnTo>
                      <a:pt x="19188" y="9153"/>
                    </a:lnTo>
                    <a:lnTo>
                      <a:pt x="19188" y="9763"/>
                    </a:lnTo>
                    <a:lnTo>
                      <a:pt x="17406" y="11837"/>
                    </a:lnTo>
                    <a:lnTo>
                      <a:pt x="16777" y="11837"/>
                    </a:lnTo>
                    <a:lnTo>
                      <a:pt x="16777" y="13302"/>
                    </a:lnTo>
                    <a:lnTo>
                      <a:pt x="16148" y="14034"/>
                    </a:lnTo>
                    <a:lnTo>
                      <a:pt x="15518" y="14644"/>
                    </a:lnTo>
                    <a:lnTo>
                      <a:pt x="15518" y="15376"/>
                    </a:lnTo>
                    <a:lnTo>
                      <a:pt x="14994" y="15376"/>
                    </a:lnTo>
                    <a:lnTo>
                      <a:pt x="14994" y="16108"/>
                    </a:lnTo>
                    <a:lnTo>
                      <a:pt x="14365" y="15376"/>
                    </a:lnTo>
                    <a:lnTo>
                      <a:pt x="14365" y="16108"/>
                    </a:lnTo>
                    <a:lnTo>
                      <a:pt x="13212" y="16108"/>
                    </a:lnTo>
                    <a:lnTo>
                      <a:pt x="13212" y="16719"/>
                    </a:lnTo>
                    <a:lnTo>
                      <a:pt x="12583" y="17451"/>
                    </a:lnTo>
                    <a:lnTo>
                      <a:pt x="11953" y="17451"/>
                    </a:lnTo>
                    <a:lnTo>
                      <a:pt x="11953" y="16719"/>
                    </a:lnTo>
                    <a:lnTo>
                      <a:pt x="11953" y="17451"/>
                    </a:lnTo>
                    <a:lnTo>
                      <a:pt x="11324" y="16719"/>
                    </a:lnTo>
                    <a:lnTo>
                      <a:pt x="11324" y="17451"/>
                    </a:lnTo>
                    <a:lnTo>
                      <a:pt x="10800" y="18183"/>
                    </a:lnTo>
                    <a:lnTo>
                      <a:pt x="11324" y="18183"/>
                    </a:lnTo>
                    <a:lnTo>
                      <a:pt x="11324" y="18793"/>
                    </a:lnTo>
                    <a:lnTo>
                      <a:pt x="10171" y="18793"/>
                    </a:lnTo>
                    <a:lnTo>
                      <a:pt x="10171" y="20258"/>
                    </a:lnTo>
                    <a:lnTo>
                      <a:pt x="9542" y="20258"/>
                    </a:lnTo>
                    <a:lnTo>
                      <a:pt x="9542" y="20990"/>
                    </a:lnTo>
                    <a:lnTo>
                      <a:pt x="8388" y="20990"/>
                    </a:lnTo>
                    <a:lnTo>
                      <a:pt x="7759" y="21600"/>
                    </a:lnTo>
                    <a:lnTo>
                      <a:pt x="7130" y="20990"/>
                    </a:lnTo>
                    <a:lnTo>
                      <a:pt x="7130" y="21600"/>
                    </a:lnTo>
                    <a:lnTo>
                      <a:pt x="5977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86" name="Shape 3012"/>
              <p:cNvSpPr/>
              <p:nvPr/>
            </p:nvSpPr>
            <p:spPr>
              <a:xfrm>
                <a:off x="7492484" y="4792352"/>
                <a:ext cx="148760" cy="15742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388" y="0"/>
                    </a:moveTo>
                    <a:lnTo>
                      <a:pt x="9647" y="0"/>
                    </a:lnTo>
                    <a:lnTo>
                      <a:pt x="9647" y="1189"/>
                    </a:lnTo>
                    <a:lnTo>
                      <a:pt x="9647" y="0"/>
                    </a:lnTo>
                    <a:lnTo>
                      <a:pt x="9647" y="1189"/>
                    </a:lnTo>
                    <a:lnTo>
                      <a:pt x="18035" y="1189"/>
                    </a:lnTo>
                    <a:lnTo>
                      <a:pt x="19293" y="2180"/>
                    </a:lnTo>
                    <a:lnTo>
                      <a:pt x="18035" y="2180"/>
                    </a:lnTo>
                    <a:lnTo>
                      <a:pt x="18035" y="4558"/>
                    </a:lnTo>
                    <a:lnTo>
                      <a:pt x="19293" y="4558"/>
                    </a:lnTo>
                    <a:lnTo>
                      <a:pt x="20551" y="5747"/>
                    </a:lnTo>
                    <a:lnTo>
                      <a:pt x="20551" y="11295"/>
                    </a:lnTo>
                    <a:lnTo>
                      <a:pt x="21600" y="11295"/>
                    </a:lnTo>
                    <a:lnTo>
                      <a:pt x="21600" y="12484"/>
                    </a:lnTo>
                    <a:lnTo>
                      <a:pt x="18035" y="12484"/>
                    </a:lnTo>
                    <a:lnTo>
                      <a:pt x="18035" y="14664"/>
                    </a:lnTo>
                    <a:lnTo>
                      <a:pt x="16777" y="13673"/>
                    </a:lnTo>
                    <a:lnTo>
                      <a:pt x="15728" y="13673"/>
                    </a:lnTo>
                    <a:lnTo>
                      <a:pt x="15728" y="14664"/>
                    </a:lnTo>
                    <a:lnTo>
                      <a:pt x="14470" y="14664"/>
                    </a:lnTo>
                    <a:lnTo>
                      <a:pt x="14470" y="15853"/>
                    </a:lnTo>
                    <a:lnTo>
                      <a:pt x="14470" y="14664"/>
                    </a:lnTo>
                    <a:lnTo>
                      <a:pt x="13212" y="14664"/>
                    </a:lnTo>
                    <a:lnTo>
                      <a:pt x="13212" y="15853"/>
                    </a:lnTo>
                    <a:lnTo>
                      <a:pt x="12163" y="15853"/>
                    </a:lnTo>
                    <a:lnTo>
                      <a:pt x="14470" y="15853"/>
                    </a:lnTo>
                    <a:lnTo>
                      <a:pt x="14470" y="17042"/>
                    </a:lnTo>
                    <a:lnTo>
                      <a:pt x="14470" y="15853"/>
                    </a:lnTo>
                    <a:lnTo>
                      <a:pt x="14470" y="17042"/>
                    </a:lnTo>
                    <a:lnTo>
                      <a:pt x="15728" y="17042"/>
                    </a:lnTo>
                    <a:lnTo>
                      <a:pt x="14470" y="17042"/>
                    </a:lnTo>
                    <a:lnTo>
                      <a:pt x="14470" y="19222"/>
                    </a:lnTo>
                    <a:lnTo>
                      <a:pt x="13212" y="19222"/>
                    </a:lnTo>
                    <a:lnTo>
                      <a:pt x="13212" y="20411"/>
                    </a:lnTo>
                    <a:lnTo>
                      <a:pt x="12163" y="20411"/>
                    </a:lnTo>
                    <a:lnTo>
                      <a:pt x="10905" y="19222"/>
                    </a:lnTo>
                    <a:lnTo>
                      <a:pt x="10905" y="21600"/>
                    </a:lnTo>
                    <a:lnTo>
                      <a:pt x="9647" y="21600"/>
                    </a:lnTo>
                    <a:lnTo>
                      <a:pt x="10905" y="20411"/>
                    </a:lnTo>
                    <a:lnTo>
                      <a:pt x="9647" y="20411"/>
                    </a:lnTo>
                    <a:lnTo>
                      <a:pt x="9647" y="21600"/>
                    </a:lnTo>
                    <a:lnTo>
                      <a:pt x="9647" y="20411"/>
                    </a:lnTo>
                    <a:lnTo>
                      <a:pt x="8388" y="20411"/>
                    </a:lnTo>
                    <a:lnTo>
                      <a:pt x="8388" y="19222"/>
                    </a:lnTo>
                    <a:lnTo>
                      <a:pt x="7340" y="19222"/>
                    </a:lnTo>
                    <a:lnTo>
                      <a:pt x="7340" y="20411"/>
                    </a:lnTo>
                    <a:lnTo>
                      <a:pt x="4823" y="20411"/>
                    </a:lnTo>
                    <a:lnTo>
                      <a:pt x="4823" y="21600"/>
                    </a:lnTo>
                    <a:lnTo>
                      <a:pt x="4823" y="20411"/>
                    </a:lnTo>
                    <a:lnTo>
                      <a:pt x="3775" y="20411"/>
                    </a:lnTo>
                    <a:lnTo>
                      <a:pt x="3775" y="19222"/>
                    </a:lnTo>
                    <a:lnTo>
                      <a:pt x="2517" y="19222"/>
                    </a:lnTo>
                    <a:lnTo>
                      <a:pt x="1258" y="18033"/>
                    </a:lnTo>
                    <a:lnTo>
                      <a:pt x="0" y="17042"/>
                    </a:lnTo>
                    <a:lnTo>
                      <a:pt x="0" y="14664"/>
                    </a:lnTo>
                    <a:lnTo>
                      <a:pt x="1258" y="14664"/>
                    </a:lnTo>
                    <a:lnTo>
                      <a:pt x="0" y="13673"/>
                    </a:lnTo>
                    <a:lnTo>
                      <a:pt x="1258" y="13673"/>
                    </a:lnTo>
                    <a:lnTo>
                      <a:pt x="1258" y="12484"/>
                    </a:lnTo>
                    <a:lnTo>
                      <a:pt x="0" y="12484"/>
                    </a:lnTo>
                    <a:lnTo>
                      <a:pt x="0" y="10106"/>
                    </a:lnTo>
                    <a:lnTo>
                      <a:pt x="2517" y="10106"/>
                    </a:lnTo>
                    <a:lnTo>
                      <a:pt x="2517" y="9116"/>
                    </a:lnTo>
                    <a:lnTo>
                      <a:pt x="2517" y="10106"/>
                    </a:lnTo>
                    <a:lnTo>
                      <a:pt x="2517" y="9116"/>
                    </a:lnTo>
                    <a:lnTo>
                      <a:pt x="3775" y="9116"/>
                    </a:lnTo>
                    <a:lnTo>
                      <a:pt x="3775" y="7927"/>
                    </a:lnTo>
                    <a:lnTo>
                      <a:pt x="3775" y="9116"/>
                    </a:lnTo>
                    <a:lnTo>
                      <a:pt x="4823" y="9116"/>
                    </a:lnTo>
                    <a:lnTo>
                      <a:pt x="4823" y="6738"/>
                    </a:lnTo>
                    <a:lnTo>
                      <a:pt x="3775" y="6738"/>
                    </a:lnTo>
                    <a:lnTo>
                      <a:pt x="3775" y="3369"/>
                    </a:lnTo>
                    <a:lnTo>
                      <a:pt x="6082" y="3369"/>
                    </a:lnTo>
                    <a:lnTo>
                      <a:pt x="6082" y="2180"/>
                    </a:lnTo>
                    <a:lnTo>
                      <a:pt x="7340" y="2180"/>
                    </a:lnTo>
                    <a:lnTo>
                      <a:pt x="7340" y="1189"/>
                    </a:lnTo>
                    <a:lnTo>
                      <a:pt x="8388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87" name="Shape 3013"/>
              <p:cNvSpPr/>
              <p:nvPr/>
            </p:nvSpPr>
            <p:spPr>
              <a:xfrm>
                <a:off x="7543032" y="4718695"/>
                <a:ext cx="231083" cy="1646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180" y="21600"/>
                    </a:moveTo>
                    <a:lnTo>
                      <a:pt x="9180" y="20463"/>
                    </a:lnTo>
                    <a:lnTo>
                      <a:pt x="11610" y="20463"/>
                    </a:lnTo>
                    <a:lnTo>
                      <a:pt x="11610" y="19326"/>
                    </a:lnTo>
                    <a:lnTo>
                      <a:pt x="13905" y="19326"/>
                    </a:lnTo>
                    <a:lnTo>
                      <a:pt x="13905" y="18379"/>
                    </a:lnTo>
                    <a:lnTo>
                      <a:pt x="13905" y="19326"/>
                    </a:lnTo>
                    <a:lnTo>
                      <a:pt x="13905" y="18379"/>
                    </a:lnTo>
                    <a:lnTo>
                      <a:pt x="14580" y="18379"/>
                    </a:lnTo>
                    <a:lnTo>
                      <a:pt x="14580" y="17242"/>
                    </a:lnTo>
                    <a:lnTo>
                      <a:pt x="16200" y="17242"/>
                    </a:lnTo>
                    <a:lnTo>
                      <a:pt x="15390" y="18379"/>
                    </a:lnTo>
                    <a:lnTo>
                      <a:pt x="17010" y="18379"/>
                    </a:lnTo>
                    <a:lnTo>
                      <a:pt x="17010" y="17242"/>
                    </a:lnTo>
                    <a:lnTo>
                      <a:pt x="17010" y="18379"/>
                    </a:lnTo>
                    <a:lnTo>
                      <a:pt x="17685" y="18379"/>
                    </a:lnTo>
                    <a:lnTo>
                      <a:pt x="17685" y="17242"/>
                    </a:lnTo>
                    <a:lnTo>
                      <a:pt x="18495" y="17242"/>
                    </a:lnTo>
                    <a:lnTo>
                      <a:pt x="19305" y="18379"/>
                    </a:lnTo>
                    <a:lnTo>
                      <a:pt x="18495" y="18379"/>
                    </a:lnTo>
                    <a:lnTo>
                      <a:pt x="18495" y="19326"/>
                    </a:lnTo>
                    <a:lnTo>
                      <a:pt x="20790" y="19326"/>
                    </a:lnTo>
                    <a:lnTo>
                      <a:pt x="21600" y="18379"/>
                    </a:lnTo>
                    <a:lnTo>
                      <a:pt x="20790" y="18379"/>
                    </a:lnTo>
                    <a:lnTo>
                      <a:pt x="20790" y="17242"/>
                    </a:lnTo>
                    <a:lnTo>
                      <a:pt x="21600" y="16105"/>
                    </a:lnTo>
                    <a:lnTo>
                      <a:pt x="21600" y="15158"/>
                    </a:lnTo>
                    <a:lnTo>
                      <a:pt x="20790" y="14021"/>
                    </a:lnTo>
                    <a:lnTo>
                      <a:pt x="20790" y="10800"/>
                    </a:lnTo>
                    <a:lnTo>
                      <a:pt x="19305" y="10800"/>
                    </a:lnTo>
                    <a:lnTo>
                      <a:pt x="19305" y="7579"/>
                    </a:lnTo>
                    <a:lnTo>
                      <a:pt x="19980" y="7579"/>
                    </a:lnTo>
                    <a:lnTo>
                      <a:pt x="19980" y="6442"/>
                    </a:lnTo>
                    <a:lnTo>
                      <a:pt x="19305" y="6442"/>
                    </a:lnTo>
                    <a:lnTo>
                      <a:pt x="19305" y="7579"/>
                    </a:lnTo>
                    <a:lnTo>
                      <a:pt x="18495" y="7579"/>
                    </a:lnTo>
                    <a:lnTo>
                      <a:pt x="18495" y="8526"/>
                    </a:lnTo>
                    <a:lnTo>
                      <a:pt x="17685" y="8526"/>
                    </a:lnTo>
                    <a:lnTo>
                      <a:pt x="17685" y="7579"/>
                    </a:lnTo>
                    <a:lnTo>
                      <a:pt x="17010" y="6442"/>
                    </a:lnTo>
                    <a:lnTo>
                      <a:pt x="15390" y="6442"/>
                    </a:lnTo>
                    <a:lnTo>
                      <a:pt x="15390" y="5305"/>
                    </a:lnTo>
                    <a:lnTo>
                      <a:pt x="14580" y="5305"/>
                    </a:lnTo>
                    <a:lnTo>
                      <a:pt x="14580" y="6442"/>
                    </a:lnTo>
                    <a:lnTo>
                      <a:pt x="14580" y="5305"/>
                    </a:lnTo>
                    <a:lnTo>
                      <a:pt x="13905" y="5305"/>
                    </a:lnTo>
                    <a:lnTo>
                      <a:pt x="14580" y="6442"/>
                    </a:lnTo>
                    <a:lnTo>
                      <a:pt x="13095" y="6442"/>
                    </a:lnTo>
                    <a:lnTo>
                      <a:pt x="13095" y="5305"/>
                    </a:lnTo>
                    <a:lnTo>
                      <a:pt x="12285" y="5305"/>
                    </a:lnTo>
                    <a:lnTo>
                      <a:pt x="12285" y="4358"/>
                    </a:lnTo>
                    <a:lnTo>
                      <a:pt x="12285" y="5305"/>
                    </a:lnTo>
                    <a:lnTo>
                      <a:pt x="11610" y="4358"/>
                    </a:lnTo>
                    <a:lnTo>
                      <a:pt x="11610" y="5305"/>
                    </a:lnTo>
                    <a:lnTo>
                      <a:pt x="10800" y="5305"/>
                    </a:lnTo>
                    <a:lnTo>
                      <a:pt x="10800" y="6442"/>
                    </a:lnTo>
                    <a:lnTo>
                      <a:pt x="9990" y="6442"/>
                    </a:lnTo>
                    <a:lnTo>
                      <a:pt x="9990" y="5305"/>
                    </a:lnTo>
                    <a:lnTo>
                      <a:pt x="8505" y="5305"/>
                    </a:lnTo>
                    <a:lnTo>
                      <a:pt x="8505" y="4358"/>
                    </a:lnTo>
                    <a:lnTo>
                      <a:pt x="8505" y="5305"/>
                    </a:lnTo>
                    <a:lnTo>
                      <a:pt x="9180" y="4358"/>
                    </a:lnTo>
                    <a:lnTo>
                      <a:pt x="9180" y="3221"/>
                    </a:lnTo>
                    <a:lnTo>
                      <a:pt x="7695" y="3221"/>
                    </a:lnTo>
                    <a:lnTo>
                      <a:pt x="7695" y="2084"/>
                    </a:lnTo>
                    <a:lnTo>
                      <a:pt x="6885" y="2084"/>
                    </a:lnTo>
                    <a:lnTo>
                      <a:pt x="6885" y="947"/>
                    </a:lnTo>
                    <a:lnTo>
                      <a:pt x="6885" y="2084"/>
                    </a:lnTo>
                    <a:lnTo>
                      <a:pt x="6075" y="2084"/>
                    </a:lnTo>
                    <a:lnTo>
                      <a:pt x="6885" y="947"/>
                    </a:lnTo>
                    <a:lnTo>
                      <a:pt x="6075" y="947"/>
                    </a:lnTo>
                    <a:lnTo>
                      <a:pt x="5400" y="0"/>
                    </a:lnTo>
                    <a:lnTo>
                      <a:pt x="5400" y="947"/>
                    </a:lnTo>
                    <a:lnTo>
                      <a:pt x="4590" y="947"/>
                    </a:lnTo>
                    <a:lnTo>
                      <a:pt x="4590" y="0"/>
                    </a:lnTo>
                    <a:lnTo>
                      <a:pt x="3780" y="0"/>
                    </a:lnTo>
                    <a:lnTo>
                      <a:pt x="3780" y="947"/>
                    </a:lnTo>
                    <a:lnTo>
                      <a:pt x="2295" y="947"/>
                    </a:lnTo>
                    <a:lnTo>
                      <a:pt x="2295" y="2084"/>
                    </a:lnTo>
                    <a:lnTo>
                      <a:pt x="675" y="2084"/>
                    </a:lnTo>
                    <a:lnTo>
                      <a:pt x="675" y="4358"/>
                    </a:lnTo>
                    <a:lnTo>
                      <a:pt x="1485" y="4358"/>
                    </a:lnTo>
                    <a:lnTo>
                      <a:pt x="1485" y="5305"/>
                    </a:lnTo>
                    <a:lnTo>
                      <a:pt x="675" y="5305"/>
                    </a:lnTo>
                    <a:lnTo>
                      <a:pt x="675" y="6442"/>
                    </a:lnTo>
                    <a:lnTo>
                      <a:pt x="0" y="6442"/>
                    </a:lnTo>
                    <a:lnTo>
                      <a:pt x="0" y="7579"/>
                    </a:lnTo>
                    <a:lnTo>
                      <a:pt x="675" y="7579"/>
                    </a:lnTo>
                    <a:lnTo>
                      <a:pt x="675" y="8526"/>
                    </a:lnTo>
                    <a:lnTo>
                      <a:pt x="0" y="9663"/>
                    </a:lnTo>
                    <a:lnTo>
                      <a:pt x="675" y="9663"/>
                    </a:lnTo>
                    <a:lnTo>
                      <a:pt x="0" y="9663"/>
                    </a:lnTo>
                    <a:lnTo>
                      <a:pt x="1485" y="9663"/>
                    </a:lnTo>
                    <a:lnTo>
                      <a:pt x="1485" y="10800"/>
                    </a:lnTo>
                    <a:lnTo>
                      <a:pt x="1485" y="9663"/>
                    </a:lnTo>
                    <a:lnTo>
                      <a:pt x="1485" y="10800"/>
                    </a:lnTo>
                    <a:lnTo>
                      <a:pt x="6885" y="10800"/>
                    </a:lnTo>
                    <a:lnTo>
                      <a:pt x="7695" y="11747"/>
                    </a:lnTo>
                    <a:lnTo>
                      <a:pt x="6885" y="11747"/>
                    </a:lnTo>
                    <a:lnTo>
                      <a:pt x="6885" y="14021"/>
                    </a:lnTo>
                    <a:lnTo>
                      <a:pt x="7695" y="14021"/>
                    </a:lnTo>
                    <a:lnTo>
                      <a:pt x="8505" y="15158"/>
                    </a:lnTo>
                    <a:lnTo>
                      <a:pt x="8505" y="20463"/>
                    </a:lnTo>
                    <a:lnTo>
                      <a:pt x="9180" y="20463"/>
                    </a:lnTo>
                    <a:lnTo>
                      <a:pt x="9180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88" name="Shape 3014"/>
              <p:cNvSpPr/>
              <p:nvPr/>
            </p:nvSpPr>
            <p:spPr>
              <a:xfrm>
                <a:off x="7525701" y="4850123"/>
                <a:ext cx="404394" cy="32207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806" y="581"/>
                    </a:moveTo>
                    <a:lnTo>
                      <a:pt x="13269" y="581"/>
                    </a:lnTo>
                    <a:lnTo>
                      <a:pt x="12806" y="1065"/>
                    </a:lnTo>
                    <a:lnTo>
                      <a:pt x="11494" y="1065"/>
                    </a:lnTo>
                    <a:lnTo>
                      <a:pt x="11494" y="581"/>
                    </a:lnTo>
                    <a:lnTo>
                      <a:pt x="11957" y="581"/>
                    </a:lnTo>
                    <a:lnTo>
                      <a:pt x="11494" y="0"/>
                    </a:lnTo>
                    <a:lnTo>
                      <a:pt x="11031" y="0"/>
                    </a:lnTo>
                    <a:lnTo>
                      <a:pt x="11031" y="581"/>
                    </a:lnTo>
                    <a:lnTo>
                      <a:pt x="10646" y="581"/>
                    </a:lnTo>
                    <a:lnTo>
                      <a:pt x="10646" y="0"/>
                    </a:lnTo>
                    <a:lnTo>
                      <a:pt x="10646" y="581"/>
                    </a:lnTo>
                    <a:lnTo>
                      <a:pt x="9720" y="581"/>
                    </a:lnTo>
                    <a:lnTo>
                      <a:pt x="10183" y="0"/>
                    </a:lnTo>
                    <a:lnTo>
                      <a:pt x="9257" y="0"/>
                    </a:lnTo>
                    <a:lnTo>
                      <a:pt x="9257" y="581"/>
                    </a:lnTo>
                    <a:lnTo>
                      <a:pt x="8871" y="581"/>
                    </a:lnTo>
                    <a:lnTo>
                      <a:pt x="8871" y="1065"/>
                    </a:lnTo>
                    <a:lnTo>
                      <a:pt x="8871" y="581"/>
                    </a:lnTo>
                    <a:lnTo>
                      <a:pt x="8871" y="1065"/>
                    </a:lnTo>
                    <a:lnTo>
                      <a:pt x="7560" y="1065"/>
                    </a:lnTo>
                    <a:lnTo>
                      <a:pt x="7560" y="1647"/>
                    </a:lnTo>
                    <a:lnTo>
                      <a:pt x="6171" y="1647"/>
                    </a:lnTo>
                    <a:lnTo>
                      <a:pt x="6171" y="2228"/>
                    </a:lnTo>
                    <a:lnTo>
                      <a:pt x="4860" y="2228"/>
                    </a:lnTo>
                    <a:lnTo>
                      <a:pt x="4860" y="3293"/>
                    </a:lnTo>
                    <a:lnTo>
                      <a:pt x="4397" y="2809"/>
                    </a:lnTo>
                    <a:lnTo>
                      <a:pt x="4011" y="2809"/>
                    </a:lnTo>
                    <a:lnTo>
                      <a:pt x="4011" y="3293"/>
                    </a:lnTo>
                    <a:lnTo>
                      <a:pt x="3549" y="3293"/>
                    </a:lnTo>
                    <a:lnTo>
                      <a:pt x="3549" y="3874"/>
                    </a:lnTo>
                    <a:lnTo>
                      <a:pt x="3549" y="3293"/>
                    </a:lnTo>
                    <a:lnTo>
                      <a:pt x="3086" y="3293"/>
                    </a:lnTo>
                    <a:lnTo>
                      <a:pt x="3086" y="3874"/>
                    </a:lnTo>
                    <a:lnTo>
                      <a:pt x="2700" y="3874"/>
                    </a:lnTo>
                    <a:lnTo>
                      <a:pt x="3549" y="3874"/>
                    </a:lnTo>
                    <a:lnTo>
                      <a:pt x="3549" y="4456"/>
                    </a:lnTo>
                    <a:lnTo>
                      <a:pt x="3549" y="3874"/>
                    </a:lnTo>
                    <a:lnTo>
                      <a:pt x="3549" y="4456"/>
                    </a:lnTo>
                    <a:lnTo>
                      <a:pt x="4011" y="4456"/>
                    </a:lnTo>
                    <a:lnTo>
                      <a:pt x="3549" y="4456"/>
                    </a:lnTo>
                    <a:lnTo>
                      <a:pt x="3549" y="5521"/>
                    </a:lnTo>
                    <a:lnTo>
                      <a:pt x="3086" y="5521"/>
                    </a:lnTo>
                    <a:lnTo>
                      <a:pt x="3086" y="6102"/>
                    </a:lnTo>
                    <a:lnTo>
                      <a:pt x="2700" y="6102"/>
                    </a:lnTo>
                    <a:lnTo>
                      <a:pt x="2237" y="5521"/>
                    </a:lnTo>
                    <a:lnTo>
                      <a:pt x="2237" y="6683"/>
                    </a:lnTo>
                    <a:lnTo>
                      <a:pt x="1774" y="6683"/>
                    </a:lnTo>
                    <a:lnTo>
                      <a:pt x="2237" y="6102"/>
                    </a:lnTo>
                    <a:lnTo>
                      <a:pt x="1774" y="6102"/>
                    </a:lnTo>
                    <a:lnTo>
                      <a:pt x="1774" y="6683"/>
                    </a:lnTo>
                    <a:lnTo>
                      <a:pt x="1774" y="6102"/>
                    </a:lnTo>
                    <a:lnTo>
                      <a:pt x="1311" y="6102"/>
                    </a:lnTo>
                    <a:lnTo>
                      <a:pt x="1311" y="5521"/>
                    </a:lnTo>
                    <a:lnTo>
                      <a:pt x="926" y="5521"/>
                    </a:lnTo>
                    <a:lnTo>
                      <a:pt x="926" y="6102"/>
                    </a:lnTo>
                    <a:lnTo>
                      <a:pt x="463" y="6102"/>
                    </a:lnTo>
                    <a:lnTo>
                      <a:pt x="463" y="7168"/>
                    </a:lnTo>
                    <a:lnTo>
                      <a:pt x="0" y="7168"/>
                    </a:lnTo>
                    <a:lnTo>
                      <a:pt x="0" y="7749"/>
                    </a:lnTo>
                    <a:lnTo>
                      <a:pt x="463" y="7168"/>
                    </a:lnTo>
                    <a:lnTo>
                      <a:pt x="463" y="7749"/>
                    </a:lnTo>
                    <a:lnTo>
                      <a:pt x="926" y="7749"/>
                    </a:lnTo>
                    <a:lnTo>
                      <a:pt x="926" y="7168"/>
                    </a:lnTo>
                    <a:lnTo>
                      <a:pt x="1774" y="7168"/>
                    </a:lnTo>
                    <a:lnTo>
                      <a:pt x="1774" y="7749"/>
                    </a:lnTo>
                    <a:lnTo>
                      <a:pt x="2237" y="7749"/>
                    </a:lnTo>
                    <a:lnTo>
                      <a:pt x="2237" y="7168"/>
                    </a:lnTo>
                    <a:lnTo>
                      <a:pt x="2237" y="7749"/>
                    </a:lnTo>
                    <a:lnTo>
                      <a:pt x="2700" y="7749"/>
                    </a:lnTo>
                    <a:lnTo>
                      <a:pt x="2700" y="7168"/>
                    </a:lnTo>
                    <a:lnTo>
                      <a:pt x="2700" y="7749"/>
                    </a:lnTo>
                    <a:lnTo>
                      <a:pt x="3086" y="7749"/>
                    </a:lnTo>
                    <a:lnTo>
                      <a:pt x="3086" y="8330"/>
                    </a:lnTo>
                    <a:lnTo>
                      <a:pt x="2700" y="8330"/>
                    </a:lnTo>
                    <a:lnTo>
                      <a:pt x="3086" y="8330"/>
                    </a:lnTo>
                    <a:lnTo>
                      <a:pt x="3086" y="9396"/>
                    </a:lnTo>
                    <a:lnTo>
                      <a:pt x="4011" y="9977"/>
                    </a:lnTo>
                    <a:lnTo>
                      <a:pt x="4397" y="9396"/>
                    </a:lnTo>
                    <a:lnTo>
                      <a:pt x="4860" y="8814"/>
                    </a:lnTo>
                    <a:lnTo>
                      <a:pt x="5323" y="8814"/>
                    </a:lnTo>
                    <a:lnTo>
                      <a:pt x="5323" y="9396"/>
                    </a:lnTo>
                    <a:lnTo>
                      <a:pt x="5786" y="8814"/>
                    </a:lnTo>
                    <a:lnTo>
                      <a:pt x="5786" y="9396"/>
                    </a:lnTo>
                    <a:lnTo>
                      <a:pt x="6171" y="8814"/>
                    </a:lnTo>
                    <a:lnTo>
                      <a:pt x="6171" y="11623"/>
                    </a:lnTo>
                    <a:lnTo>
                      <a:pt x="6634" y="11623"/>
                    </a:lnTo>
                    <a:lnTo>
                      <a:pt x="6634" y="12204"/>
                    </a:lnTo>
                    <a:lnTo>
                      <a:pt x="7097" y="12204"/>
                    </a:lnTo>
                    <a:lnTo>
                      <a:pt x="7097" y="12689"/>
                    </a:lnTo>
                    <a:lnTo>
                      <a:pt x="7560" y="12689"/>
                    </a:lnTo>
                    <a:lnTo>
                      <a:pt x="7560" y="13270"/>
                    </a:lnTo>
                    <a:lnTo>
                      <a:pt x="7946" y="13270"/>
                    </a:lnTo>
                    <a:lnTo>
                      <a:pt x="7946" y="14335"/>
                    </a:lnTo>
                    <a:lnTo>
                      <a:pt x="8871" y="14335"/>
                    </a:lnTo>
                    <a:lnTo>
                      <a:pt x="8871" y="14917"/>
                    </a:lnTo>
                    <a:lnTo>
                      <a:pt x="9257" y="14917"/>
                    </a:lnTo>
                    <a:lnTo>
                      <a:pt x="9257" y="15498"/>
                    </a:lnTo>
                    <a:lnTo>
                      <a:pt x="9257" y="14917"/>
                    </a:lnTo>
                    <a:lnTo>
                      <a:pt x="9720" y="14917"/>
                    </a:lnTo>
                    <a:lnTo>
                      <a:pt x="9720" y="14335"/>
                    </a:lnTo>
                    <a:lnTo>
                      <a:pt x="10646" y="14335"/>
                    </a:lnTo>
                    <a:lnTo>
                      <a:pt x="10646" y="13851"/>
                    </a:lnTo>
                    <a:lnTo>
                      <a:pt x="10646" y="14335"/>
                    </a:lnTo>
                    <a:lnTo>
                      <a:pt x="11031" y="14335"/>
                    </a:lnTo>
                    <a:lnTo>
                      <a:pt x="11031" y="14917"/>
                    </a:lnTo>
                    <a:lnTo>
                      <a:pt x="11494" y="14917"/>
                    </a:lnTo>
                    <a:lnTo>
                      <a:pt x="11494" y="14335"/>
                    </a:lnTo>
                    <a:lnTo>
                      <a:pt x="11494" y="15498"/>
                    </a:lnTo>
                    <a:lnTo>
                      <a:pt x="11957" y="15498"/>
                    </a:lnTo>
                    <a:lnTo>
                      <a:pt x="11957" y="16079"/>
                    </a:lnTo>
                    <a:lnTo>
                      <a:pt x="12343" y="16079"/>
                    </a:lnTo>
                    <a:lnTo>
                      <a:pt x="12343" y="16563"/>
                    </a:lnTo>
                    <a:lnTo>
                      <a:pt x="11957" y="16563"/>
                    </a:lnTo>
                    <a:lnTo>
                      <a:pt x="12343" y="16563"/>
                    </a:lnTo>
                    <a:lnTo>
                      <a:pt x="12343" y="17144"/>
                    </a:lnTo>
                    <a:lnTo>
                      <a:pt x="11957" y="17144"/>
                    </a:lnTo>
                    <a:lnTo>
                      <a:pt x="12343" y="17726"/>
                    </a:lnTo>
                    <a:lnTo>
                      <a:pt x="12343" y="17144"/>
                    </a:lnTo>
                    <a:lnTo>
                      <a:pt x="13269" y="17144"/>
                    </a:lnTo>
                    <a:lnTo>
                      <a:pt x="13269" y="17726"/>
                    </a:lnTo>
                    <a:lnTo>
                      <a:pt x="13269" y="17144"/>
                    </a:lnTo>
                    <a:lnTo>
                      <a:pt x="13731" y="17144"/>
                    </a:lnTo>
                    <a:lnTo>
                      <a:pt x="13731" y="18210"/>
                    </a:lnTo>
                    <a:lnTo>
                      <a:pt x="14117" y="18210"/>
                    </a:lnTo>
                    <a:lnTo>
                      <a:pt x="14117" y="18791"/>
                    </a:lnTo>
                    <a:lnTo>
                      <a:pt x="14580" y="19372"/>
                    </a:lnTo>
                    <a:lnTo>
                      <a:pt x="14117" y="19372"/>
                    </a:lnTo>
                    <a:lnTo>
                      <a:pt x="15043" y="19372"/>
                    </a:lnTo>
                    <a:lnTo>
                      <a:pt x="15043" y="19953"/>
                    </a:lnTo>
                    <a:lnTo>
                      <a:pt x="14580" y="19953"/>
                    </a:lnTo>
                    <a:lnTo>
                      <a:pt x="14580" y="19372"/>
                    </a:lnTo>
                    <a:lnTo>
                      <a:pt x="14117" y="19372"/>
                    </a:lnTo>
                    <a:lnTo>
                      <a:pt x="14117" y="20438"/>
                    </a:lnTo>
                    <a:lnTo>
                      <a:pt x="14580" y="20438"/>
                    </a:lnTo>
                    <a:lnTo>
                      <a:pt x="14117" y="20438"/>
                    </a:lnTo>
                    <a:lnTo>
                      <a:pt x="14117" y="21019"/>
                    </a:lnTo>
                    <a:lnTo>
                      <a:pt x="14117" y="20438"/>
                    </a:lnTo>
                    <a:lnTo>
                      <a:pt x="14580" y="21019"/>
                    </a:lnTo>
                    <a:lnTo>
                      <a:pt x="15043" y="21019"/>
                    </a:lnTo>
                    <a:lnTo>
                      <a:pt x="14580" y="21600"/>
                    </a:lnTo>
                    <a:lnTo>
                      <a:pt x="15043" y="21600"/>
                    </a:lnTo>
                    <a:lnTo>
                      <a:pt x="14580" y="21600"/>
                    </a:lnTo>
                    <a:lnTo>
                      <a:pt x="15429" y="21600"/>
                    </a:lnTo>
                    <a:lnTo>
                      <a:pt x="15429" y="20438"/>
                    </a:lnTo>
                    <a:lnTo>
                      <a:pt x="15891" y="20438"/>
                    </a:lnTo>
                    <a:lnTo>
                      <a:pt x="15891" y="18791"/>
                    </a:lnTo>
                    <a:lnTo>
                      <a:pt x="16354" y="18791"/>
                    </a:lnTo>
                    <a:lnTo>
                      <a:pt x="16354" y="18210"/>
                    </a:lnTo>
                    <a:lnTo>
                      <a:pt x="17203" y="18210"/>
                    </a:lnTo>
                    <a:lnTo>
                      <a:pt x="17203" y="17144"/>
                    </a:lnTo>
                    <a:lnTo>
                      <a:pt x="17666" y="17144"/>
                    </a:lnTo>
                    <a:lnTo>
                      <a:pt x="17666" y="16563"/>
                    </a:lnTo>
                    <a:lnTo>
                      <a:pt x="17203" y="16563"/>
                    </a:lnTo>
                    <a:lnTo>
                      <a:pt x="17666" y="16563"/>
                    </a:lnTo>
                    <a:lnTo>
                      <a:pt x="17666" y="16079"/>
                    </a:lnTo>
                    <a:lnTo>
                      <a:pt x="17203" y="16079"/>
                    </a:lnTo>
                    <a:lnTo>
                      <a:pt x="17203" y="14917"/>
                    </a:lnTo>
                    <a:lnTo>
                      <a:pt x="16817" y="14917"/>
                    </a:lnTo>
                    <a:lnTo>
                      <a:pt x="17203" y="14335"/>
                    </a:lnTo>
                    <a:lnTo>
                      <a:pt x="17666" y="14335"/>
                    </a:lnTo>
                    <a:lnTo>
                      <a:pt x="17666" y="14917"/>
                    </a:lnTo>
                    <a:lnTo>
                      <a:pt x="17666" y="14335"/>
                    </a:lnTo>
                    <a:lnTo>
                      <a:pt x="18129" y="14335"/>
                    </a:lnTo>
                    <a:lnTo>
                      <a:pt x="18129" y="14917"/>
                    </a:lnTo>
                    <a:lnTo>
                      <a:pt x="18514" y="14917"/>
                    </a:lnTo>
                    <a:lnTo>
                      <a:pt x="18514" y="14335"/>
                    </a:lnTo>
                    <a:lnTo>
                      <a:pt x="18977" y="14335"/>
                    </a:lnTo>
                    <a:lnTo>
                      <a:pt x="18977" y="14917"/>
                    </a:lnTo>
                    <a:lnTo>
                      <a:pt x="18977" y="14335"/>
                    </a:lnTo>
                    <a:lnTo>
                      <a:pt x="19903" y="14335"/>
                    </a:lnTo>
                    <a:lnTo>
                      <a:pt x="19903" y="13851"/>
                    </a:lnTo>
                    <a:lnTo>
                      <a:pt x="20751" y="13851"/>
                    </a:lnTo>
                    <a:lnTo>
                      <a:pt x="20751" y="13270"/>
                    </a:lnTo>
                    <a:lnTo>
                      <a:pt x="21600" y="13270"/>
                    </a:lnTo>
                    <a:lnTo>
                      <a:pt x="21600" y="12689"/>
                    </a:lnTo>
                    <a:lnTo>
                      <a:pt x="21214" y="12689"/>
                    </a:lnTo>
                    <a:lnTo>
                      <a:pt x="21214" y="12204"/>
                    </a:lnTo>
                    <a:lnTo>
                      <a:pt x="20751" y="12204"/>
                    </a:lnTo>
                    <a:lnTo>
                      <a:pt x="20751" y="11623"/>
                    </a:lnTo>
                    <a:lnTo>
                      <a:pt x="21214" y="11623"/>
                    </a:lnTo>
                    <a:lnTo>
                      <a:pt x="20751" y="11623"/>
                    </a:lnTo>
                    <a:lnTo>
                      <a:pt x="21214" y="11623"/>
                    </a:lnTo>
                    <a:lnTo>
                      <a:pt x="21214" y="11042"/>
                    </a:lnTo>
                    <a:lnTo>
                      <a:pt x="20751" y="11042"/>
                    </a:lnTo>
                    <a:lnTo>
                      <a:pt x="20751" y="10461"/>
                    </a:lnTo>
                    <a:lnTo>
                      <a:pt x="20289" y="11042"/>
                    </a:lnTo>
                    <a:lnTo>
                      <a:pt x="20289" y="10461"/>
                    </a:lnTo>
                    <a:lnTo>
                      <a:pt x="18977" y="10461"/>
                    </a:lnTo>
                    <a:lnTo>
                      <a:pt x="18977" y="9977"/>
                    </a:lnTo>
                    <a:lnTo>
                      <a:pt x="19903" y="9977"/>
                    </a:lnTo>
                    <a:lnTo>
                      <a:pt x="19903" y="9396"/>
                    </a:lnTo>
                    <a:lnTo>
                      <a:pt x="20751" y="9396"/>
                    </a:lnTo>
                    <a:lnTo>
                      <a:pt x="20751" y="8330"/>
                    </a:lnTo>
                    <a:lnTo>
                      <a:pt x="20289" y="8330"/>
                    </a:lnTo>
                    <a:lnTo>
                      <a:pt x="20289" y="7749"/>
                    </a:lnTo>
                    <a:lnTo>
                      <a:pt x="20289" y="8814"/>
                    </a:lnTo>
                    <a:lnTo>
                      <a:pt x="19903" y="8814"/>
                    </a:lnTo>
                    <a:lnTo>
                      <a:pt x="19903" y="8330"/>
                    </a:lnTo>
                    <a:lnTo>
                      <a:pt x="19440" y="8330"/>
                    </a:lnTo>
                    <a:lnTo>
                      <a:pt x="19440" y="6683"/>
                    </a:lnTo>
                    <a:lnTo>
                      <a:pt x="19903" y="6683"/>
                    </a:lnTo>
                    <a:lnTo>
                      <a:pt x="20289" y="6102"/>
                    </a:lnTo>
                    <a:lnTo>
                      <a:pt x="20289" y="5521"/>
                    </a:lnTo>
                    <a:lnTo>
                      <a:pt x="19903" y="5521"/>
                    </a:lnTo>
                    <a:lnTo>
                      <a:pt x="19903" y="6102"/>
                    </a:lnTo>
                    <a:lnTo>
                      <a:pt x="19903" y="5521"/>
                    </a:lnTo>
                    <a:lnTo>
                      <a:pt x="19903" y="6102"/>
                    </a:lnTo>
                    <a:lnTo>
                      <a:pt x="19440" y="6683"/>
                    </a:lnTo>
                    <a:lnTo>
                      <a:pt x="19440" y="6102"/>
                    </a:lnTo>
                    <a:lnTo>
                      <a:pt x="18977" y="6102"/>
                    </a:lnTo>
                    <a:lnTo>
                      <a:pt x="18977" y="6683"/>
                    </a:lnTo>
                    <a:lnTo>
                      <a:pt x="18129" y="6683"/>
                    </a:lnTo>
                    <a:lnTo>
                      <a:pt x="18129" y="7168"/>
                    </a:lnTo>
                    <a:lnTo>
                      <a:pt x="18977" y="7168"/>
                    </a:lnTo>
                    <a:lnTo>
                      <a:pt x="18977" y="7749"/>
                    </a:lnTo>
                    <a:lnTo>
                      <a:pt x="18514" y="7749"/>
                    </a:lnTo>
                    <a:lnTo>
                      <a:pt x="18977" y="8330"/>
                    </a:lnTo>
                    <a:lnTo>
                      <a:pt x="18514" y="8330"/>
                    </a:lnTo>
                    <a:lnTo>
                      <a:pt x="18514" y="7749"/>
                    </a:lnTo>
                    <a:lnTo>
                      <a:pt x="18129" y="7749"/>
                    </a:lnTo>
                    <a:lnTo>
                      <a:pt x="18129" y="8814"/>
                    </a:lnTo>
                    <a:lnTo>
                      <a:pt x="17666" y="8814"/>
                    </a:lnTo>
                    <a:lnTo>
                      <a:pt x="18129" y="8814"/>
                    </a:lnTo>
                    <a:lnTo>
                      <a:pt x="18129" y="8330"/>
                    </a:lnTo>
                    <a:lnTo>
                      <a:pt x="17666" y="8330"/>
                    </a:lnTo>
                    <a:lnTo>
                      <a:pt x="17666" y="7749"/>
                    </a:lnTo>
                    <a:lnTo>
                      <a:pt x="17666" y="8330"/>
                    </a:lnTo>
                    <a:lnTo>
                      <a:pt x="17203" y="8330"/>
                    </a:lnTo>
                    <a:lnTo>
                      <a:pt x="17203" y="7168"/>
                    </a:lnTo>
                    <a:lnTo>
                      <a:pt x="16817" y="7168"/>
                    </a:lnTo>
                    <a:lnTo>
                      <a:pt x="16817" y="8330"/>
                    </a:lnTo>
                    <a:lnTo>
                      <a:pt x="16354" y="8330"/>
                    </a:lnTo>
                    <a:lnTo>
                      <a:pt x="16354" y="7749"/>
                    </a:lnTo>
                    <a:lnTo>
                      <a:pt x="15891" y="7749"/>
                    </a:lnTo>
                    <a:lnTo>
                      <a:pt x="15891" y="7168"/>
                    </a:lnTo>
                    <a:lnTo>
                      <a:pt x="15891" y="7749"/>
                    </a:lnTo>
                    <a:lnTo>
                      <a:pt x="15429" y="7749"/>
                    </a:lnTo>
                    <a:lnTo>
                      <a:pt x="15429" y="7168"/>
                    </a:lnTo>
                    <a:lnTo>
                      <a:pt x="15043" y="7168"/>
                    </a:lnTo>
                    <a:lnTo>
                      <a:pt x="15043" y="6683"/>
                    </a:lnTo>
                    <a:lnTo>
                      <a:pt x="15043" y="7168"/>
                    </a:lnTo>
                    <a:lnTo>
                      <a:pt x="14580" y="7168"/>
                    </a:lnTo>
                    <a:lnTo>
                      <a:pt x="14580" y="6102"/>
                    </a:lnTo>
                    <a:lnTo>
                      <a:pt x="15429" y="6102"/>
                    </a:lnTo>
                    <a:lnTo>
                      <a:pt x="15429" y="5521"/>
                    </a:lnTo>
                    <a:lnTo>
                      <a:pt x="15043" y="6102"/>
                    </a:lnTo>
                    <a:lnTo>
                      <a:pt x="15043" y="5521"/>
                    </a:lnTo>
                    <a:lnTo>
                      <a:pt x="14580" y="6102"/>
                    </a:lnTo>
                    <a:lnTo>
                      <a:pt x="14580" y="5521"/>
                    </a:lnTo>
                    <a:lnTo>
                      <a:pt x="14117" y="4940"/>
                    </a:lnTo>
                    <a:lnTo>
                      <a:pt x="14117" y="4456"/>
                    </a:lnTo>
                    <a:lnTo>
                      <a:pt x="13731" y="4456"/>
                    </a:lnTo>
                    <a:lnTo>
                      <a:pt x="13731" y="3874"/>
                    </a:lnTo>
                    <a:lnTo>
                      <a:pt x="14117" y="3874"/>
                    </a:lnTo>
                    <a:lnTo>
                      <a:pt x="14117" y="3293"/>
                    </a:lnTo>
                    <a:lnTo>
                      <a:pt x="13731" y="3293"/>
                    </a:lnTo>
                    <a:lnTo>
                      <a:pt x="13269" y="2809"/>
                    </a:lnTo>
                    <a:lnTo>
                      <a:pt x="13731" y="2809"/>
                    </a:lnTo>
                    <a:lnTo>
                      <a:pt x="13269" y="2809"/>
                    </a:lnTo>
                    <a:lnTo>
                      <a:pt x="13269" y="2228"/>
                    </a:lnTo>
                    <a:lnTo>
                      <a:pt x="13731" y="2228"/>
                    </a:lnTo>
                    <a:lnTo>
                      <a:pt x="13731" y="581"/>
                    </a:lnTo>
                    <a:lnTo>
                      <a:pt x="13269" y="581"/>
                    </a:lnTo>
                    <a:lnTo>
                      <a:pt x="13731" y="581"/>
                    </a:lnTo>
                    <a:lnTo>
                      <a:pt x="12806" y="58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89" name="Shape 3015"/>
              <p:cNvSpPr/>
              <p:nvPr/>
            </p:nvSpPr>
            <p:spPr>
              <a:xfrm>
                <a:off x="7798668" y="4743247"/>
                <a:ext cx="231083" cy="2715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10" y="15051"/>
                    </a:moveTo>
                    <a:lnTo>
                      <a:pt x="810" y="15740"/>
                    </a:lnTo>
                    <a:lnTo>
                      <a:pt x="1485" y="15051"/>
                    </a:lnTo>
                    <a:lnTo>
                      <a:pt x="1485" y="15740"/>
                    </a:lnTo>
                    <a:lnTo>
                      <a:pt x="0" y="15740"/>
                    </a:lnTo>
                    <a:lnTo>
                      <a:pt x="0" y="17004"/>
                    </a:lnTo>
                    <a:lnTo>
                      <a:pt x="810" y="17004"/>
                    </a:lnTo>
                    <a:lnTo>
                      <a:pt x="810" y="16430"/>
                    </a:lnTo>
                    <a:lnTo>
                      <a:pt x="810" y="17004"/>
                    </a:lnTo>
                    <a:lnTo>
                      <a:pt x="1485" y="17004"/>
                    </a:lnTo>
                    <a:lnTo>
                      <a:pt x="1485" y="17694"/>
                    </a:lnTo>
                    <a:lnTo>
                      <a:pt x="2295" y="17694"/>
                    </a:lnTo>
                    <a:lnTo>
                      <a:pt x="2295" y="17004"/>
                    </a:lnTo>
                    <a:lnTo>
                      <a:pt x="2295" y="17694"/>
                    </a:lnTo>
                    <a:lnTo>
                      <a:pt x="3105" y="17694"/>
                    </a:lnTo>
                    <a:lnTo>
                      <a:pt x="3105" y="18383"/>
                    </a:lnTo>
                    <a:lnTo>
                      <a:pt x="2295" y="18383"/>
                    </a:lnTo>
                    <a:lnTo>
                      <a:pt x="3915" y="18383"/>
                    </a:lnTo>
                    <a:lnTo>
                      <a:pt x="3915" y="17004"/>
                    </a:lnTo>
                    <a:lnTo>
                      <a:pt x="4590" y="17004"/>
                    </a:lnTo>
                    <a:lnTo>
                      <a:pt x="4590" y="18383"/>
                    </a:lnTo>
                    <a:lnTo>
                      <a:pt x="5400" y="18383"/>
                    </a:lnTo>
                    <a:lnTo>
                      <a:pt x="5400" y="17694"/>
                    </a:lnTo>
                    <a:lnTo>
                      <a:pt x="5400" y="18383"/>
                    </a:lnTo>
                    <a:lnTo>
                      <a:pt x="6210" y="18383"/>
                    </a:lnTo>
                    <a:lnTo>
                      <a:pt x="6210" y="18957"/>
                    </a:lnTo>
                    <a:lnTo>
                      <a:pt x="5400" y="18957"/>
                    </a:lnTo>
                    <a:lnTo>
                      <a:pt x="6210" y="18957"/>
                    </a:lnTo>
                    <a:lnTo>
                      <a:pt x="6210" y="17694"/>
                    </a:lnTo>
                    <a:lnTo>
                      <a:pt x="6885" y="17694"/>
                    </a:lnTo>
                    <a:lnTo>
                      <a:pt x="6885" y="18383"/>
                    </a:lnTo>
                    <a:lnTo>
                      <a:pt x="7695" y="18383"/>
                    </a:lnTo>
                    <a:lnTo>
                      <a:pt x="6885" y="17694"/>
                    </a:lnTo>
                    <a:lnTo>
                      <a:pt x="7695" y="17694"/>
                    </a:lnTo>
                    <a:lnTo>
                      <a:pt x="7695" y="17004"/>
                    </a:lnTo>
                    <a:lnTo>
                      <a:pt x="6210" y="17004"/>
                    </a:lnTo>
                    <a:lnTo>
                      <a:pt x="6210" y="16430"/>
                    </a:lnTo>
                    <a:lnTo>
                      <a:pt x="7695" y="16430"/>
                    </a:lnTo>
                    <a:lnTo>
                      <a:pt x="7695" y="15740"/>
                    </a:lnTo>
                    <a:lnTo>
                      <a:pt x="8505" y="15740"/>
                    </a:lnTo>
                    <a:lnTo>
                      <a:pt x="8505" y="16430"/>
                    </a:lnTo>
                    <a:lnTo>
                      <a:pt x="9315" y="15740"/>
                    </a:lnTo>
                    <a:lnTo>
                      <a:pt x="9315" y="16430"/>
                    </a:lnTo>
                    <a:lnTo>
                      <a:pt x="9315" y="15051"/>
                    </a:lnTo>
                    <a:lnTo>
                      <a:pt x="9990" y="15051"/>
                    </a:lnTo>
                    <a:lnTo>
                      <a:pt x="9990" y="15740"/>
                    </a:lnTo>
                    <a:lnTo>
                      <a:pt x="9315" y="16430"/>
                    </a:lnTo>
                    <a:lnTo>
                      <a:pt x="8505" y="16430"/>
                    </a:lnTo>
                    <a:lnTo>
                      <a:pt x="8505" y="18383"/>
                    </a:lnTo>
                    <a:lnTo>
                      <a:pt x="9315" y="18383"/>
                    </a:lnTo>
                    <a:lnTo>
                      <a:pt x="9315" y="18957"/>
                    </a:lnTo>
                    <a:lnTo>
                      <a:pt x="9990" y="18957"/>
                    </a:lnTo>
                    <a:lnTo>
                      <a:pt x="9990" y="18383"/>
                    </a:lnTo>
                    <a:lnTo>
                      <a:pt x="10800" y="18383"/>
                    </a:lnTo>
                    <a:lnTo>
                      <a:pt x="10800" y="19647"/>
                    </a:lnTo>
                    <a:lnTo>
                      <a:pt x="9315" y="19647"/>
                    </a:lnTo>
                    <a:lnTo>
                      <a:pt x="9315" y="20336"/>
                    </a:lnTo>
                    <a:lnTo>
                      <a:pt x="7695" y="20336"/>
                    </a:lnTo>
                    <a:lnTo>
                      <a:pt x="7695" y="20911"/>
                    </a:lnTo>
                    <a:lnTo>
                      <a:pt x="9990" y="20911"/>
                    </a:lnTo>
                    <a:lnTo>
                      <a:pt x="9990" y="21600"/>
                    </a:lnTo>
                    <a:lnTo>
                      <a:pt x="10800" y="20911"/>
                    </a:lnTo>
                    <a:lnTo>
                      <a:pt x="11610" y="20911"/>
                    </a:lnTo>
                    <a:lnTo>
                      <a:pt x="11610" y="20336"/>
                    </a:lnTo>
                    <a:lnTo>
                      <a:pt x="11610" y="20911"/>
                    </a:lnTo>
                    <a:lnTo>
                      <a:pt x="13095" y="20911"/>
                    </a:lnTo>
                    <a:lnTo>
                      <a:pt x="13095" y="20336"/>
                    </a:lnTo>
                    <a:lnTo>
                      <a:pt x="15390" y="20336"/>
                    </a:lnTo>
                    <a:lnTo>
                      <a:pt x="15390" y="17694"/>
                    </a:lnTo>
                    <a:lnTo>
                      <a:pt x="14715" y="17694"/>
                    </a:lnTo>
                    <a:lnTo>
                      <a:pt x="14715" y="17004"/>
                    </a:lnTo>
                    <a:lnTo>
                      <a:pt x="15390" y="17004"/>
                    </a:lnTo>
                    <a:lnTo>
                      <a:pt x="15390" y="16430"/>
                    </a:lnTo>
                    <a:lnTo>
                      <a:pt x="14715" y="16430"/>
                    </a:lnTo>
                    <a:lnTo>
                      <a:pt x="14715" y="17004"/>
                    </a:lnTo>
                    <a:lnTo>
                      <a:pt x="14715" y="16430"/>
                    </a:lnTo>
                    <a:lnTo>
                      <a:pt x="13905" y="16430"/>
                    </a:lnTo>
                    <a:lnTo>
                      <a:pt x="13905" y="17004"/>
                    </a:lnTo>
                    <a:lnTo>
                      <a:pt x="13905" y="16430"/>
                    </a:lnTo>
                    <a:lnTo>
                      <a:pt x="14715" y="16430"/>
                    </a:lnTo>
                    <a:lnTo>
                      <a:pt x="14715" y="15740"/>
                    </a:lnTo>
                    <a:lnTo>
                      <a:pt x="16200" y="15740"/>
                    </a:lnTo>
                    <a:lnTo>
                      <a:pt x="17010" y="15051"/>
                    </a:lnTo>
                    <a:lnTo>
                      <a:pt x="18495" y="15051"/>
                    </a:lnTo>
                    <a:lnTo>
                      <a:pt x="18495" y="14362"/>
                    </a:lnTo>
                    <a:lnTo>
                      <a:pt x="17685" y="14362"/>
                    </a:lnTo>
                    <a:lnTo>
                      <a:pt x="17685" y="13787"/>
                    </a:lnTo>
                    <a:lnTo>
                      <a:pt x="18495" y="13787"/>
                    </a:lnTo>
                    <a:lnTo>
                      <a:pt x="18495" y="13098"/>
                    </a:lnTo>
                    <a:lnTo>
                      <a:pt x="19305" y="13098"/>
                    </a:lnTo>
                    <a:lnTo>
                      <a:pt x="19305" y="12409"/>
                    </a:lnTo>
                    <a:lnTo>
                      <a:pt x="18495" y="12409"/>
                    </a:lnTo>
                    <a:lnTo>
                      <a:pt x="18495" y="11834"/>
                    </a:lnTo>
                    <a:lnTo>
                      <a:pt x="19305" y="11834"/>
                    </a:lnTo>
                    <a:lnTo>
                      <a:pt x="19305" y="10455"/>
                    </a:lnTo>
                    <a:lnTo>
                      <a:pt x="18495" y="10455"/>
                    </a:lnTo>
                    <a:lnTo>
                      <a:pt x="18495" y="9766"/>
                    </a:lnTo>
                    <a:lnTo>
                      <a:pt x="19305" y="9766"/>
                    </a:lnTo>
                    <a:lnTo>
                      <a:pt x="19305" y="9191"/>
                    </a:lnTo>
                    <a:lnTo>
                      <a:pt x="20115" y="9191"/>
                    </a:lnTo>
                    <a:lnTo>
                      <a:pt x="20115" y="8502"/>
                    </a:lnTo>
                    <a:lnTo>
                      <a:pt x="20790" y="8502"/>
                    </a:lnTo>
                    <a:lnTo>
                      <a:pt x="20790" y="4596"/>
                    </a:lnTo>
                    <a:lnTo>
                      <a:pt x="21600" y="4596"/>
                    </a:lnTo>
                    <a:lnTo>
                      <a:pt x="21600" y="3217"/>
                    </a:lnTo>
                    <a:lnTo>
                      <a:pt x="20790" y="3217"/>
                    </a:lnTo>
                    <a:lnTo>
                      <a:pt x="20790" y="2643"/>
                    </a:lnTo>
                    <a:lnTo>
                      <a:pt x="20790" y="3217"/>
                    </a:lnTo>
                    <a:lnTo>
                      <a:pt x="20790" y="2643"/>
                    </a:lnTo>
                    <a:lnTo>
                      <a:pt x="19305" y="2643"/>
                    </a:lnTo>
                    <a:lnTo>
                      <a:pt x="18495" y="1953"/>
                    </a:lnTo>
                    <a:lnTo>
                      <a:pt x="19305" y="1953"/>
                    </a:lnTo>
                    <a:lnTo>
                      <a:pt x="18495" y="1953"/>
                    </a:lnTo>
                    <a:lnTo>
                      <a:pt x="19305" y="1264"/>
                    </a:lnTo>
                    <a:lnTo>
                      <a:pt x="17685" y="1264"/>
                    </a:lnTo>
                    <a:lnTo>
                      <a:pt x="17010" y="1953"/>
                    </a:lnTo>
                    <a:lnTo>
                      <a:pt x="16200" y="1264"/>
                    </a:lnTo>
                    <a:lnTo>
                      <a:pt x="15390" y="1264"/>
                    </a:lnTo>
                    <a:lnTo>
                      <a:pt x="15390" y="689"/>
                    </a:lnTo>
                    <a:lnTo>
                      <a:pt x="14715" y="689"/>
                    </a:lnTo>
                    <a:lnTo>
                      <a:pt x="14715" y="0"/>
                    </a:lnTo>
                    <a:lnTo>
                      <a:pt x="12285" y="0"/>
                    </a:lnTo>
                    <a:lnTo>
                      <a:pt x="12285" y="689"/>
                    </a:lnTo>
                    <a:lnTo>
                      <a:pt x="11610" y="689"/>
                    </a:lnTo>
                    <a:lnTo>
                      <a:pt x="11610" y="1264"/>
                    </a:lnTo>
                    <a:lnTo>
                      <a:pt x="10800" y="1264"/>
                    </a:lnTo>
                    <a:lnTo>
                      <a:pt x="11610" y="1264"/>
                    </a:lnTo>
                    <a:lnTo>
                      <a:pt x="11610" y="1953"/>
                    </a:lnTo>
                    <a:lnTo>
                      <a:pt x="10800" y="2643"/>
                    </a:lnTo>
                    <a:lnTo>
                      <a:pt x="11610" y="2643"/>
                    </a:lnTo>
                    <a:lnTo>
                      <a:pt x="11610" y="3217"/>
                    </a:lnTo>
                    <a:lnTo>
                      <a:pt x="10800" y="3217"/>
                    </a:lnTo>
                    <a:lnTo>
                      <a:pt x="9990" y="3906"/>
                    </a:lnTo>
                    <a:lnTo>
                      <a:pt x="10800" y="3906"/>
                    </a:lnTo>
                    <a:lnTo>
                      <a:pt x="10800" y="4596"/>
                    </a:lnTo>
                    <a:lnTo>
                      <a:pt x="9990" y="4596"/>
                    </a:lnTo>
                    <a:lnTo>
                      <a:pt x="9315" y="5170"/>
                    </a:lnTo>
                    <a:lnTo>
                      <a:pt x="8505" y="5170"/>
                    </a:lnTo>
                    <a:lnTo>
                      <a:pt x="8505" y="5860"/>
                    </a:lnTo>
                    <a:lnTo>
                      <a:pt x="6885" y="5860"/>
                    </a:lnTo>
                    <a:lnTo>
                      <a:pt x="6885" y="5170"/>
                    </a:lnTo>
                    <a:lnTo>
                      <a:pt x="6210" y="5860"/>
                    </a:lnTo>
                    <a:lnTo>
                      <a:pt x="6210" y="5170"/>
                    </a:lnTo>
                    <a:lnTo>
                      <a:pt x="5400" y="5170"/>
                    </a:lnTo>
                    <a:lnTo>
                      <a:pt x="4590" y="6549"/>
                    </a:lnTo>
                    <a:lnTo>
                      <a:pt x="4590" y="7813"/>
                    </a:lnTo>
                    <a:lnTo>
                      <a:pt x="3915" y="7813"/>
                    </a:lnTo>
                    <a:lnTo>
                      <a:pt x="3915" y="8502"/>
                    </a:lnTo>
                    <a:lnTo>
                      <a:pt x="4590" y="8502"/>
                    </a:lnTo>
                    <a:lnTo>
                      <a:pt x="3915" y="8502"/>
                    </a:lnTo>
                    <a:lnTo>
                      <a:pt x="3915" y="9191"/>
                    </a:lnTo>
                    <a:lnTo>
                      <a:pt x="4590" y="9191"/>
                    </a:lnTo>
                    <a:lnTo>
                      <a:pt x="3915" y="9191"/>
                    </a:lnTo>
                    <a:lnTo>
                      <a:pt x="3915" y="9766"/>
                    </a:lnTo>
                    <a:lnTo>
                      <a:pt x="4590" y="9766"/>
                    </a:lnTo>
                    <a:lnTo>
                      <a:pt x="4590" y="10455"/>
                    </a:lnTo>
                    <a:lnTo>
                      <a:pt x="4590" y="9766"/>
                    </a:lnTo>
                    <a:lnTo>
                      <a:pt x="4590" y="10455"/>
                    </a:lnTo>
                    <a:lnTo>
                      <a:pt x="3105" y="10455"/>
                    </a:lnTo>
                    <a:lnTo>
                      <a:pt x="3105" y="11145"/>
                    </a:lnTo>
                    <a:lnTo>
                      <a:pt x="1485" y="11145"/>
                    </a:lnTo>
                    <a:lnTo>
                      <a:pt x="1485" y="11834"/>
                    </a:lnTo>
                    <a:lnTo>
                      <a:pt x="810" y="11834"/>
                    </a:lnTo>
                    <a:lnTo>
                      <a:pt x="810" y="12409"/>
                    </a:lnTo>
                    <a:lnTo>
                      <a:pt x="1485" y="12409"/>
                    </a:lnTo>
                    <a:lnTo>
                      <a:pt x="1485" y="13098"/>
                    </a:lnTo>
                    <a:lnTo>
                      <a:pt x="810" y="13098"/>
                    </a:lnTo>
                    <a:lnTo>
                      <a:pt x="810" y="13787"/>
                    </a:lnTo>
                    <a:lnTo>
                      <a:pt x="1485" y="13787"/>
                    </a:lnTo>
                    <a:lnTo>
                      <a:pt x="1485" y="14362"/>
                    </a:lnTo>
                    <a:lnTo>
                      <a:pt x="810" y="14362"/>
                    </a:lnTo>
                    <a:lnTo>
                      <a:pt x="1485" y="14362"/>
                    </a:lnTo>
                    <a:lnTo>
                      <a:pt x="1485" y="15051"/>
                    </a:lnTo>
                    <a:lnTo>
                      <a:pt x="810" y="1505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91" name="Shape 3017"/>
              <p:cNvSpPr/>
              <p:nvPr/>
            </p:nvSpPr>
            <p:spPr>
              <a:xfrm>
                <a:off x="7485263" y="3753927"/>
                <a:ext cx="717800" cy="68458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863" y="2324"/>
                    </a:moveTo>
                    <a:lnTo>
                      <a:pt x="16863" y="2597"/>
                    </a:lnTo>
                    <a:lnTo>
                      <a:pt x="17124" y="2597"/>
                    </a:lnTo>
                    <a:lnTo>
                      <a:pt x="17124" y="3372"/>
                    </a:lnTo>
                    <a:lnTo>
                      <a:pt x="17384" y="3372"/>
                    </a:lnTo>
                    <a:lnTo>
                      <a:pt x="17384" y="3646"/>
                    </a:lnTo>
                    <a:lnTo>
                      <a:pt x="17645" y="3873"/>
                    </a:lnTo>
                    <a:lnTo>
                      <a:pt x="17645" y="4147"/>
                    </a:lnTo>
                    <a:lnTo>
                      <a:pt x="17862" y="4420"/>
                    </a:lnTo>
                    <a:lnTo>
                      <a:pt x="17862" y="4648"/>
                    </a:lnTo>
                    <a:lnTo>
                      <a:pt x="18123" y="4648"/>
                    </a:lnTo>
                    <a:lnTo>
                      <a:pt x="18384" y="4922"/>
                    </a:lnTo>
                    <a:lnTo>
                      <a:pt x="18601" y="5195"/>
                    </a:lnTo>
                    <a:lnTo>
                      <a:pt x="18601" y="5468"/>
                    </a:lnTo>
                    <a:lnTo>
                      <a:pt x="18862" y="5696"/>
                    </a:lnTo>
                    <a:lnTo>
                      <a:pt x="18862" y="5970"/>
                    </a:lnTo>
                    <a:lnTo>
                      <a:pt x="19123" y="6243"/>
                    </a:lnTo>
                    <a:lnTo>
                      <a:pt x="19123" y="6471"/>
                    </a:lnTo>
                    <a:lnTo>
                      <a:pt x="19601" y="6471"/>
                    </a:lnTo>
                    <a:lnTo>
                      <a:pt x="19601" y="6744"/>
                    </a:lnTo>
                    <a:lnTo>
                      <a:pt x="19862" y="6744"/>
                    </a:lnTo>
                    <a:lnTo>
                      <a:pt x="19862" y="6471"/>
                    </a:lnTo>
                    <a:lnTo>
                      <a:pt x="20122" y="6471"/>
                    </a:lnTo>
                    <a:lnTo>
                      <a:pt x="20122" y="6243"/>
                    </a:lnTo>
                    <a:lnTo>
                      <a:pt x="20600" y="6243"/>
                    </a:lnTo>
                    <a:lnTo>
                      <a:pt x="20600" y="5970"/>
                    </a:lnTo>
                    <a:lnTo>
                      <a:pt x="20600" y="6243"/>
                    </a:lnTo>
                    <a:lnTo>
                      <a:pt x="21122" y="6243"/>
                    </a:lnTo>
                    <a:lnTo>
                      <a:pt x="21122" y="6471"/>
                    </a:lnTo>
                    <a:lnTo>
                      <a:pt x="21339" y="6471"/>
                    </a:lnTo>
                    <a:lnTo>
                      <a:pt x="21600" y="6744"/>
                    </a:lnTo>
                    <a:lnTo>
                      <a:pt x="20340" y="9342"/>
                    </a:lnTo>
                    <a:lnTo>
                      <a:pt x="21122" y="9615"/>
                    </a:lnTo>
                    <a:lnTo>
                      <a:pt x="20861" y="11165"/>
                    </a:lnTo>
                    <a:lnTo>
                      <a:pt x="21339" y="11711"/>
                    </a:lnTo>
                    <a:lnTo>
                      <a:pt x="20600" y="12486"/>
                    </a:lnTo>
                    <a:lnTo>
                      <a:pt x="19862" y="11711"/>
                    </a:lnTo>
                    <a:lnTo>
                      <a:pt x="19601" y="11939"/>
                    </a:lnTo>
                    <a:lnTo>
                      <a:pt x="19123" y="11438"/>
                    </a:lnTo>
                    <a:lnTo>
                      <a:pt x="18601" y="11939"/>
                    </a:lnTo>
                    <a:lnTo>
                      <a:pt x="18384" y="11711"/>
                    </a:lnTo>
                    <a:lnTo>
                      <a:pt x="17862" y="11939"/>
                    </a:lnTo>
                    <a:lnTo>
                      <a:pt x="17645" y="11711"/>
                    </a:lnTo>
                    <a:lnTo>
                      <a:pt x="17645" y="11438"/>
                    </a:lnTo>
                    <a:lnTo>
                      <a:pt x="17862" y="11438"/>
                    </a:lnTo>
                    <a:lnTo>
                      <a:pt x="16863" y="10663"/>
                    </a:lnTo>
                    <a:lnTo>
                      <a:pt x="15907" y="10116"/>
                    </a:lnTo>
                    <a:lnTo>
                      <a:pt x="15385" y="10116"/>
                    </a:lnTo>
                    <a:lnTo>
                      <a:pt x="15124" y="9889"/>
                    </a:lnTo>
                    <a:lnTo>
                      <a:pt x="14386" y="9615"/>
                    </a:lnTo>
                    <a:lnTo>
                      <a:pt x="14386" y="10663"/>
                    </a:lnTo>
                    <a:lnTo>
                      <a:pt x="14646" y="10891"/>
                    </a:lnTo>
                    <a:lnTo>
                      <a:pt x="14907" y="10891"/>
                    </a:lnTo>
                    <a:lnTo>
                      <a:pt x="14646" y="11165"/>
                    </a:lnTo>
                    <a:lnTo>
                      <a:pt x="14907" y="11165"/>
                    </a:lnTo>
                    <a:lnTo>
                      <a:pt x="14907" y="11438"/>
                    </a:lnTo>
                    <a:lnTo>
                      <a:pt x="15124" y="11438"/>
                    </a:lnTo>
                    <a:lnTo>
                      <a:pt x="15124" y="12987"/>
                    </a:lnTo>
                    <a:lnTo>
                      <a:pt x="14907" y="12987"/>
                    </a:lnTo>
                    <a:lnTo>
                      <a:pt x="14907" y="13534"/>
                    </a:lnTo>
                    <a:lnTo>
                      <a:pt x="14646" y="13534"/>
                    </a:lnTo>
                    <a:lnTo>
                      <a:pt x="14646" y="13762"/>
                    </a:lnTo>
                    <a:lnTo>
                      <a:pt x="14907" y="13762"/>
                    </a:lnTo>
                    <a:lnTo>
                      <a:pt x="14907" y="14309"/>
                    </a:lnTo>
                    <a:lnTo>
                      <a:pt x="15124" y="14309"/>
                    </a:lnTo>
                    <a:lnTo>
                      <a:pt x="15124" y="14537"/>
                    </a:lnTo>
                    <a:lnTo>
                      <a:pt x="14907" y="14537"/>
                    </a:lnTo>
                    <a:lnTo>
                      <a:pt x="14907" y="14810"/>
                    </a:lnTo>
                    <a:lnTo>
                      <a:pt x="14168" y="14810"/>
                    </a:lnTo>
                    <a:lnTo>
                      <a:pt x="14168" y="15084"/>
                    </a:lnTo>
                    <a:lnTo>
                      <a:pt x="13907" y="15084"/>
                    </a:lnTo>
                    <a:lnTo>
                      <a:pt x="13907" y="15858"/>
                    </a:lnTo>
                    <a:lnTo>
                      <a:pt x="13647" y="15858"/>
                    </a:lnTo>
                    <a:lnTo>
                      <a:pt x="13647" y="16132"/>
                    </a:lnTo>
                    <a:lnTo>
                      <a:pt x="13386" y="16359"/>
                    </a:lnTo>
                    <a:lnTo>
                      <a:pt x="13647" y="16633"/>
                    </a:lnTo>
                    <a:lnTo>
                      <a:pt x="13386" y="16906"/>
                    </a:lnTo>
                    <a:lnTo>
                      <a:pt x="13647" y="17134"/>
                    </a:lnTo>
                    <a:lnTo>
                      <a:pt x="13907" y="16906"/>
                    </a:lnTo>
                    <a:lnTo>
                      <a:pt x="14646" y="17408"/>
                    </a:lnTo>
                    <a:lnTo>
                      <a:pt x="14907" y="16906"/>
                    </a:lnTo>
                    <a:lnTo>
                      <a:pt x="14907" y="16633"/>
                    </a:lnTo>
                    <a:lnTo>
                      <a:pt x="15124" y="16633"/>
                    </a:lnTo>
                    <a:lnTo>
                      <a:pt x="15124" y="16359"/>
                    </a:lnTo>
                    <a:lnTo>
                      <a:pt x="15385" y="16359"/>
                    </a:lnTo>
                    <a:lnTo>
                      <a:pt x="15385" y="16132"/>
                    </a:lnTo>
                    <a:lnTo>
                      <a:pt x="15907" y="16359"/>
                    </a:lnTo>
                    <a:lnTo>
                      <a:pt x="16124" y="16132"/>
                    </a:lnTo>
                    <a:lnTo>
                      <a:pt x="17124" y="16906"/>
                    </a:lnTo>
                    <a:lnTo>
                      <a:pt x="15907" y="18729"/>
                    </a:lnTo>
                    <a:lnTo>
                      <a:pt x="15646" y="18456"/>
                    </a:lnTo>
                    <a:lnTo>
                      <a:pt x="15646" y="18729"/>
                    </a:lnTo>
                    <a:lnTo>
                      <a:pt x="14646" y="19777"/>
                    </a:lnTo>
                    <a:lnTo>
                      <a:pt x="15124" y="20278"/>
                    </a:lnTo>
                    <a:lnTo>
                      <a:pt x="14168" y="21327"/>
                    </a:lnTo>
                    <a:lnTo>
                      <a:pt x="13907" y="21053"/>
                    </a:lnTo>
                    <a:lnTo>
                      <a:pt x="13647" y="21327"/>
                    </a:lnTo>
                    <a:lnTo>
                      <a:pt x="13647" y="21053"/>
                    </a:lnTo>
                    <a:lnTo>
                      <a:pt x="12908" y="21053"/>
                    </a:lnTo>
                    <a:lnTo>
                      <a:pt x="12647" y="21600"/>
                    </a:lnTo>
                    <a:lnTo>
                      <a:pt x="12430" y="21600"/>
                    </a:lnTo>
                    <a:lnTo>
                      <a:pt x="12430" y="21327"/>
                    </a:lnTo>
                    <a:lnTo>
                      <a:pt x="12169" y="21053"/>
                    </a:lnTo>
                    <a:lnTo>
                      <a:pt x="12169" y="20552"/>
                    </a:lnTo>
                    <a:lnTo>
                      <a:pt x="11908" y="20552"/>
                    </a:lnTo>
                    <a:lnTo>
                      <a:pt x="11908" y="20278"/>
                    </a:lnTo>
                    <a:lnTo>
                      <a:pt x="11647" y="20278"/>
                    </a:lnTo>
                    <a:lnTo>
                      <a:pt x="11430" y="20005"/>
                    </a:lnTo>
                    <a:lnTo>
                      <a:pt x="11169" y="20005"/>
                    </a:lnTo>
                    <a:lnTo>
                      <a:pt x="11169" y="20278"/>
                    </a:lnTo>
                    <a:lnTo>
                      <a:pt x="10909" y="20278"/>
                    </a:lnTo>
                    <a:lnTo>
                      <a:pt x="10909" y="20552"/>
                    </a:lnTo>
                    <a:lnTo>
                      <a:pt x="10691" y="20278"/>
                    </a:lnTo>
                    <a:lnTo>
                      <a:pt x="10691" y="19777"/>
                    </a:lnTo>
                    <a:lnTo>
                      <a:pt x="10431" y="19777"/>
                    </a:lnTo>
                    <a:lnTo>
                      <a:pt x="10431" y="19504"/>
                    </a:lnTo>
                    <a:lnTo>
                      <a:pt x="9909" y="19504"/>
                    </a:lnTo>
                    <a:lnTo>
                      <a:pt x="9431" y="18957"/>
                    </a:lnTo>
                    <a:lnTo>
                      <a:pt x="9692" y="18456"/>
                    </a:lnTo>
                    <a:lnTo>
                      <a:pt x="9170" y="17954"/>
                    </a:lnTo>
                    <a:lnTo>
                      <a:pt x="8431" y="18729"/>
                    </a:lnTo>
                    <a:lnTo>
                      <a:pt x="7432" y="17681"/>
                    </a:lnTo>
                    <a:lnTo>
                      <a:pt x="7432" y="17408"/>
                    </a:lnTo>
                    <a:lnTo>
                      <a:pt x="7214" y="17408"/>
                    </a:lnTo>
                    <a:lnTo>
                      <a:pt x="7214" y="17134"/>
                    </a:lnTo>
                    <a:lnTo>
                      <a:pt x="6954" y="17134"/>
                    </a:lnTo>
                    <a:lnTo>
                      <a:pt x="6954" y="17408"/>
                    </a:lnTo>
                    <a:lnTo>
                      <a:pt x="6432" y="17408"/>
                    </a:lnTo>
                    <a:lnTo>
                      <a:pt x="6432" y="17681"/>
                    </a:lnTo>
                    <a:lnTo>
                      <a:pt x="6432" y="17408"/>
                    </a:lnTo>
                    <a:lnTo>
                      <a:pt x="6215" y="17681"/>
                    </a:lnTo>
                    <a:lnTo>
                      <a:pt x="5954" y="17681"/>
                    </a:lnTo>
                    <a:lnTo>
                      <a:pt x="5954" y="17408"/>
                    </a:lnTo>
                    <a:lnTo>
                      <a:pt x="5693" y="17408"/>
                    </a:lnTo>
                    <a:lnTo>
                      <a:pt x="5693" y="17134"/>
                    </a:lnTo>
                    <a:lnTo>
                      <a:pt x="5693" y="17408"/>
                    </a:lnTo>
                    <a:lnTo>
                      <a:pt x="5476" y="17408"/>
                    </a:lnTo>
                    <a:lnTo>
                      <a:pt x="5476" y="16633"/>
                    </a:lnTo>
                    <a:lnTo>
                      <a:pt x="5215" y="16633"/>
                    </a:lnTo>
                    <a:lnTo>
                      <a:pt x="4955" y="16906"/>
                    </a:lnTo>
                    <a:lnTo>
                      <a:pt x="4955" y="16633"/>
                    </a:lnTo>
                    <a:lnTo>
                      <a:pt x="4694" y="16906"/>
                    </a:lnTo>
                    <a:lnTo>
                      <a:pt x="4694" y="16633"/>
                    </a:lnTo>
                    <a:lnTo>
                      <a:pt x="4476" y="16359"/>
                    </a:lnTo>
                    <a:lnTo>
                      <a:pt x="4694" y="16132"/>
                    </a:lnTo>
                    <a:lnTo>
                      <a:pt x="4476" y="16132"/>
                    </a:lnTo>
                    <a:lnTo>
                      <a:pt x="4476" y="15858"/>
                    </a:lnTo>
                    <a:lnTo>
                      <a:pt x="3955" y="15858"/>
                    </a:lnTo>
                    <a:lnTo>
                      <a:pt x="3955" y="15585"/>
                    </a:lnTo>
                    <a:lnTo>
                      <a:pt x="3694" y="15585"/>
                    </a:lnTo>
                    <a:lnTo>
                      <a:pt x="3694" y="15858"/>
                    </a:lnTo>
                    <a:lnTo>
                      <a:pt x="3477" y="15858"/>
                    </a:lnTo>
                    <a:lnTo>
                      <a:pt x="3216" y="16132"/>
                    </a:lnTo>
                    <a:lnTo>
                      <a:pt x="3216" y="15858"/>
                    </a:lnTo>
                    <a:lnTo>
                      <a:pt x="2955" y="15858"/>
                    </a:lnTo>
                    <a:lnTo>
                      <a:pt x="2955" y="15585"/>
                    </a:lnTo>
                    <a:lnTo>
                      <a:pt x="2738" y="15585"/>
                    </a:lnTo>
                    <a:lnTo>
                      <a:pt x="2738" y="15357"/>
                    </a:lnTo>
                    <a:lnTo>
                      <a:pt x="2477" y="15084"/>
                    </a:lnTo>
                    <a:lnTo>
                      <a:pt x="2477" y="15357"/>
                    </a:lnTo>
                    <a:lnTo>
                      <a:pt x="2477" y="14810"/>
                    </a:lnTo>
                    <a:lnTo>
                      <a:pt x="2216" y="14810"/>
                    </a:lnTo>
                    <a:lnTo>
                      <a:pt x="2216" y="15084"/>
                    </a:lnTo>
                    <a:lnTo>
                      <a:pt x="1956" y="15084"/>
                    </a:lnTo>
                    <a:lnTo>
                      <a:pt x="1956" y="14810"/>
                    </a:lnTo>
                    <a:lnTo>
                      <a:pt x="1478" y="14810"/>
                    </a:lnTo>
                    <a:lnTo>
                      <a:pt x="1478" y="14309"/>
                    </a:lnTo>
                    <a:lnTo>
                      <a:pt x="739" y="14309"/>
                    </a:lnTo>
                    <a:lnTo>
                      <a:pt x="739" y="14035"/>
                    </a:lnTo>
                    <a:lnTo>
                      <a:pt x="478" y="14035"/>
                    </a:lnTo>
                    <a:lnTo>
                      <a:pt x="217" y="13534"/>
                    </a:lnTo>
                    <a:lnTo>
                      <a:pt x="0" y="13534"/>
                    </a:lnTo>
                    <a:lnTo>
                      <a:pt x="0" y="13261"/>
                    </a:lnTo>
                    <a:lnTo>
                      <a:pt x="217" y="13261"/>
                    </a:lnTo>
                    <a:lnTo>
                      <a:pt x="0" y="12987"/>
                    </a:lnTo>
                    <a:lnTo>
                      <a:pt x="0" y="12714"/>
                    </a:lnTo>
                    <a:lnTo>
                      <a:pt x="217" y="12714"/>
                    </a:lnTo>
                    <a:lnTo>
                      <a:pt x="217" y="12486"/>
                    </a:lnTo>
                    <a:lnTo>
                      <a:pt x="0" y="12486"/>
                    </a:lnTo>
                    <a:lnTo>
                      <a:pt x="0" y="12714"/>
                    </a:lnTo>
                    <a:lnTo>
                      <a:pt x="0" y="12213"/>
                    </a:lnTo>
                    <a:lnTo>
                      <a:pt x="217" y="12213"/>
                    </a:lnTo>
                    <a:lnTo>
                      <a:pt x="217" y="11711"/>
                    </a:lnTo>
                    <a:lnTo>
                      <a:pt x="0" y="11711"/>
                    </a:lnTo>
                    <a:lnTo>
                      <a:pt x="217" y="11711"/>
                    </a:lnTo>
                    <a:lnTo>
                      <a:pt x="217" y="10663"/>
                    </a:lnTo>
                    <a:lnTo>
                      <a:pt x="478" y="10663"/>
                    </a:lnTo>
                    <a:lnTo>
                      <a:pt x="478" y="10390"/>
                    </a:lnTo>
                    <a:lnTo>
                      <a:pt x="739" y="10390"/>
                    </a:lnTo>
                    <a:lnTo>
                      <a:pt x="739" y="10116"/>
                    </a:lnTo>
                    <a:lnTo>
                      <a:pt x="1000" y="10116"/>
                    </a:lnTo>
                    <a:lnTo>
                      <a:pt x="1000" y="9889"/>
                    </a:lnTo>
                    <a:lnTo>
                      <a:pt x="1217" y="9889"/>
                    </a:lnTo>
                    <a:lnTo>
                      <a:pt x="1478" y="9615"/>
                    </a:lnTo>
                    <a:lnTo>
                      <a:pt x="1478" y="9068"/>
                    </a:lnTo>
                    <a:lnTo>
                      <a:pt x="1738" y="9068"/>
                    </a:lnTo>
                    <a:lnTo>
                      <a:pt x="1738" y="8567"/>
                    </a:lnTo>
                    <a:lnTo>
                      <a:pt x="1478" y="8567"/>
                    </a:lnTo>
                    <a:lnTo>
                      <a:pt x="1478" y="8294"/>
                    </a:lnTo>
                    <a:lnTo>
                      <a:pt x="2477" y="7291"/>
                    </a:lnTo>
                    <a:lnTo>
                      <a:pt x="2216" y="7291"/>
                    </a:lnTo>
                    <a:lnTo>
                      <a:pt x="2216" y="7018"/>
                    </a:lnTo>
                    <a:lnTo>
                      <a:pt x="1956" y="7018"/>
                    </a:lnTo>
                    <a:lnTo>
                      <a:pt x="1738" y="6744"/>
                    </a:lnTo>
                    <a:lnTo>
                      <a:pt x="1738" y="6471"/>
                    </a:lnTo>
                    <a:lnTo>
                      <a:pt x="1478" y="6471"/>
                    </a:lnTo>
                    <a:lnTo>
                      <a:pt x="1478" y="5468"/>
                    </a:lnTo>
                    <a:lnTo>
                      <a:pt x="1738" y="5195"/>
                    </a:lnTo>
                    <a:lnTo>
                      <a:pt x="1738" y="4922"/>
                    </a:lnTo>
                    <a:lnTo>
                      <a:pt x="2216" y="4922"/>
                    </a:lnTo>
                    <a:lnTo>
                      <a:pt x="2216" y="4648"/>
                    </a:lnTo>
                    <a:lnTo>
                      <a:pt x="1956" y="4648"/>
                    </a:lnTo>
                    <a:lnTo>
                      <a:pt x="2216" y="4420"/>
                    </a:lnTo>
                    <a:lnTo>
                      <a:pt x="2216" y="4147"/>
                    </a:lnTo>
                    <a:lnTo>
                      <a:pt x="2477" y="4147"/>
                    </a:lnTo>
                    <a:lnTo>
                      <a:pt x="2216" y="3873"/>
                    </a:lnTo>
                    <a:lnTo>
                      <a:pt x="2216" y="3372"/>
                    </a:lnTo>
                    <a:lnTo>
                      <a:pt x="2738" y="3372"/>
                    </a:lnTo>
                    <a:lnTo>
                      <a:pt x="2738" y="3646"/>
                    </a:lnTo>
                    <a:lnTo>
                      <a:pt x="2738" y="3372"/>
                    </a:lnTo>
                    <a:lnTo>
                      <a:pt x="2738" y="3646"/>
                    </a:lnTo>
                    <a:lnTo>
                      <a:pt x="3216" y="3646"/>
                    </a:lnTo>
                    <a:lnTo>
                      <a:pt x="3477" y="3372"/>
                    </a:lnTo>
                    <a:lnTo>
                      <a:pt x="3477" y="3099"/>
                    </a:lnTo>
                    <a:lnTo>
                      <a:pt x="3694" y="3099"/>
                    </a:lnTo>
                    <a:lnTo>
                      <a:pt x="3694" y="2825"/>
                    </a:lnTo>
                    <a:lnTo>
                      <a:pt x="3955" y="2825"/>
                    </a:lnTo>
                    <a:lnTo>
                      <a:pt x="3955" y="3372"/>
                    </a:lnTo>
                    <a:lnTo>
                      <a:pt x="4216" y="3372"/>
                    </a:lnTo>
                    <a:lnTo>
                      <a:pt x="4216" y="3646"/>
                    </a:lnTo>
                    <a:lnTo>
                      <a:pt x="4476" y="3646"/>
                    </a:lnTo>
                    <a:lnTo>
                      <a:pt x="4476" y="3873"/>
                    </a:lnTo>
                    <a:lnTo>
                      <a:pt x="4216" y="3873"/>
                    </a:lnTo>
                    <a:lnTo>
                      <a:pt x="4476" y="3873"/>
                    </a:lnTo>
                    <a:lnTo>
                      <a:pt x="4476" y="4147"/>
                    </a:lnTo>
                    <a:lnTo>
                      <a:pt x="5476" y="4147"/>
                    </a:lnTo>
                    <a:lnTo>
                      <a:pt x="5476" y="4420"/>
                    </a:lnTo>
                    <a:lnTo>
                      <a:pt x="5476" y="4147"/>
                    </a:lnTo>
                    <a:lnTo>
                      <a:pt x="5693" y="4147"/>
                    </a:lnTo>
                    <a:lnTo>
                      <a:pt x="5693" y="3646"/>
                    </a:lnTo>
                    <a:lnTo>
                      <a:pt x="5954" y="3646"/>
                    </a:lnTo>
                    <a:lnTo>
                      <a:pt x="5693" y="3646"/>
                    </a:lnTo>
                    <a:lnTo>
                      <a:pt x="5954" y="3372"/>
                    </a:lnTo>
                    <a:lnTo>
                      <a:pt x="6215" y="3372"/>
                    </a:lnTo>
                    <a:lnTo>
                      <a:pt x="6215" y="3099"/>
                    </a:lnTo>
                    <a:lnTo>
                      <a:pt x="5954" y="3099"/>
                    </a:lnTo>
                    <a:lnTo>
                      <a:pt x="6215" y="3099"/>
                    </a:lnTo>
                    <a:lnTo>
                      <a:pt x="5954" y="3099"/>
                    </a:lnTo>
                    <a:lnTo>
                      <a:pt x="5954" y="2825"/>
                    </a:lnTo>
                    <a:lnTo>
                      <a:pt x="6215" y="2825"/>
                    </a:lnTo>
                    <a:lnTo>
                      <a:pt x="6215" y="2597"/>
                    </a:lnTo>
                    <a:lnTo>
                      <a:pt x="5954" y="2597"/>
                    </a:lnTo>
                    <a:lnTo>
                      <a:pt x="5954" y="2825"/>
                    </a:lnTo>
                    <a:lnTo>
                      <a:pt x="5693" y="2825"/>
                    </a:lnTo>
                    <a:lnTo>
                      <a:pt x="5693" y="2597"/>
                    </a:lnTo>
                    <a:lnTo>
                      <a:pt x="5476" y="2597"/>
                    </a:lnTo>
                    <a:lnTo>
                      <a:pt x="5476" y="501"/>
                    </a:lnTo>
                    <a:lnTo>
                      <a:pt x="5693" y="228"/>
                    </a:lnTo>
                    <a:lnTo>
                      <a:pt x="5693" y="501"/>
                    </a:lnTo>
                    <a:lnTo>
                      <a:pt x="6215" y="501"/>
                    </a:lnTo>
                    <a:lnTo>
                      <a:pt x="6215" y="228"/>
                    </a:lnTo>
                    <a:lnTo>
                      <a:pt x="6432" y="228"/>
                    </a:lnTo>
                    <a:lnTo>
                      <a:pt x="6432" y="0"/>
                    </a:lnTo>
                    <a:lnTo>
                      <a:pt x="6693" y="0"/>
                    </a:lnTo>
                    <a:lnTo>
                      <a:pt x="6693" y="228"/>
                    </a:lnTo>
                    <a:lnTo>
                      <a:pt x="6954" y="228"/>
                    </a:lnTo>
                    <a:lnTo>
                      <a:pt x="6954" y="775"/>
                    </a:lnTo>
                    <a:lnTo>
                      <a:pt x="7214" y="775"/>
                    </a:lnTo>
                    <a:lnTo>
                      <a:pt x="7214" y="1823"/>
                    </a:lnTo>
                    <a:lnTo>
                      <a:pt x="7432" y="2051"/>
                    </a:lnTo>
                    <a:lnTo>
                      <a:pt x="7693" y="2051"/>
                    </a:lnTo>
                    <a:lnTo>
                      <a:pt x="7432" y="2051"/>
                    </a:lnTo>
                    <a:lnTo>
                      <a:pt x="7432" y="2324"/>
                    </a:lnTo>
                    <a:lnTo>
                      <a:pt x="7432" y="2051"/>
                    </a:lnTo>
                    <a:lnTo>
                      <a:pt x="7432" y="2324"/>
                    </a:lnTo>
                    <a:lnTo>
                      <a:pt x="7214" y="2051"/>
                    </a:lnTo>
                    <a:lnTo>
                      <a:pt x="6954" y="2051"/>
                    </a:lnTo>
                    <a:lnTo>
                      <a:pt x="6954" y="2324"/>
                    </a:lnTo>
                    <a:lnTo>
                      <a:pt x="6693" y="2324"/>
                    </a:lnTo>
                    <a:lnTo>
                      <a:pt x="6693" y="2597"/>
                    </a:lnTo>
                    <a:lnTo>
                      <a:pt x="6954" y="2324"/>
                    </a:lnTo>
                    <a:lnTo>
                      <a:pt x="7432" y="2324"/>
                    </a:lnTo>
                    <a:lnTo>
                      <a:pt x="7432" y="2597"/>
                    </a:lnTo>
                    <a:lnTo>
                      <a:pt x="7432" y="2324"/>
                    </a:lnTo>
                    <a:lnTo>
                      <a:pt x="7693" y="2324"/>
                    </a:lnTo>
                    <a:lnTo>
                      <a:pt x="7693" y="2597"/>
                    </a:lnTo>
                    <a:lnTo>
                      <a:pt x="7953" y="2825"/>
                    </a:lnTo>
                    <a:lnTo>
                      <a:pt x="7953" y="3099"/>
                    </a:lnTo>
                    <a:lnTo>
                      <a:pt x="8171" y="3099"/>
                    </a:lnTo>
                    <a:lnTo>
                      <a:pt x="8171" y="3873"/>
                    </a:lnTo>
                    <a:lnTo>
                      <a:pt x="8431" y="3873"/>
                    </a:lnTo>
                    <a:lnTo>
                      <a:pt x="8431" y="4147"/>
                    </a:lnTo>
                    <a:lnTo>
                      <a:pt x="8692" y="4147"/>
                    </a:lnTo>
                    <a:lnTo>
                      <a:pt x="8692" y="3873"/>
                    </a:lnTo>
                    <a:lnTo>
                      <a:pt x="8953" y="3873"/>
                    </a:lnTo>
                    <a:lnTo>
                      <a:pt x="8692" y="3873"/>
                    </a:lnTo>
                    <a:lnTo>
                      <a:pt x="8953" y="3873"/>
                    </a:lnTo>
                    <a:lnTo>
                      <a:pt x="8953" y="4147"/>
                    </a:lnTo>
                    <a:lnTo>
                      <a:pt x="9170" y="4147"/>
                    </a:lnTo>
                    <a:lnTo>
                      <a:pt x="8953" y="3873"/>
                    </a:lnTo>
                    <a:lnTo>
                      <a:pt x="9170" y="3873"/>
                    </a:lnTo>
                    <a:lnTo>
                      <a:pt x="9170" y="4420"/>
                    </a:lnTo>
                    <a:lnTo>
                      <a:pt x="9431" y="4420"/>
                    </a:lnTo>
                    <a:lnTo>
                      <a:pt x="9431" y="3873"/>
                    </a:lnTo>
                    <a:lnTo>
                      <a:pt x="9692" y="3873"/>
                    </a:lnTo>
                    <a:lnTo>
                      <a:pt x="9692" y="4147"/>
                    </a:lnTo>
                    <a:lnTo>
                      <a:pt x="9431" y="4147"/>
                    </a:lnTo>
                    <a:lnTo>
                      <a:pt x="9692" y="4147"/>
                    </a:lnTo>
                    <a:lnTo>
                      <a:pt x="9692" y="3873"/>
                    </a:lnTo>
                    <a:lnTo>
                      <a:pt x="9909" y="3873"/>
                    </a:lnTo>
                    <a:lnTo>
                      <a:pt x="9909" y="1823"/>
                    </a:lnTo>
                    <a:lnTo>
                      <a:pt x="10170" y="1823"/>
                    </a:lnTo>
                    <a:lnTo>
                      <a:pt x="10170" y="1549"/>
                    </a:lnTo>
                    <a:lnTo>
                      <a:pt x="10431" y="1549"/>
                    </a:lnTo>
                    <a:lnTo>
                      <a:pt x="10431" y="1276"/>
                    </a:lnTo>
                    <a:lnTo>
                      <a:pt x="11908" y="1276"/>
                    </a:lnTo>
                    <a:lnTo>
                      <a:pt x="11908" y="1048"/>
                    </a:lnTo>
                    <a:lnTo>
                      <a:pt x="12647" y="1048"/>
                    </a:lnTo>
                    <a:lnTo>
                      <a:pt x="12908" y="1276"/>
                    </a:lnTo>
                    <a:lnTo>
                      <a:pt x="13647" y="1276"/>
                    </a:lnTo>
                    <a:lnTo>
                      <a:pt x="13647" y="1048"/>
                    </a:lnTo>
                    <a:lnTo>
                      <a:pt x="14168" y="1048"/>
                    </a:lnTo>
                    <a:lnTo>
                      <a:pt x="14386" y="775"/>
                    </a:lnTo>
                    <a:lnTo>
                      <a:pt x="15124" y="775"/>
                    </a:lnTo>
                    <a:lnTo>
                      <a:pt x="15124" y="1276"/>
                    </a:lnTo>
                    <a:lnTo>
                      <a:pt x="14907" y="1276"/>
                    </a:lnTo>
                    <a:lnTo>
                      <a:pt x="15124" y="1276"/>
                    </a:lnTo>
                    <a:lnTo>
                      <a:pt x="15385" y="1549"/>
                    </a:lnTo>
                    <a:lnTo>
                      <a:pt x="15646" y="1549"/>
                    </a:lnTo>
                    <a:lnTo>
                      <a:pt x="15907" y="1823"/>
                    </a:lnTo>
                    <a:lnTo>
                      <a:pt x="15907" y="2597"/>
                    </a:lnTo>
                    <a:lnTo>
                      <a:pt x="15124" y="2597"/>
                    </a:lnTo>
                    <a:lnTo>
                      <a:pt x="15385" y="2825"/>
                    </a:lnTo>
                    <a:lnTo>
                      <a:pt x="15124" y="2825"/>
                    </a:lnTo>
                    <a:lnTo>
                      <a:pt x="15385" y="2825"/>
                    </a:lnTo>
                    <a:lnTo>
                      <a:pt x="15385" y="3099"/>
                    </a:lnTo>
                    <a:lnTo>
                      <a:pt x="15385" y="2597"/>
                    </a:lnTo>
                    <a:lnTo>
                      <a:pt x="15646" y="2597"/>
                    </a:lnTo>
                    <a:lnTo>
                      <a:pt x="15907" y="2825"/>
                    </a:lnTo>
                    <a:lnTo>
                      <a:pt x="16124" y="2825"/>
                    </a:lnTo>
                    <a:lnTo>
                      <a:pt x="16124" y="3372"/>
                    </a:lnTo>
                    <a:lnTo>
                      <a:pt x="15907" y="3372"/>
                    </a:lnTo>
                    <a:lnTo>
                      <a:pt x="15907" y="3646"/>
                    </a:lnTo>
                    <a:lnTo>
                      <a:pt x="16124" y="3646"/>
                    </a:lnTo>
                    <a:lnTo>
                      <a:pt x="16124" y="3372"/>
                    </a:lnTo>
                    <a:lnTo>
                      <a:pt x="16385" y="3099"/>
                    </a:lnTo>
                    <a:lnTo>
                      <a:pt x="16385" y="2825"/>
                    </a:lnTo>
                    <a:lnTo>
                      <a:pt x="16645" y="2825"/>
                    </a:lnTo>
                    <a:lnTo>
                      <a:pt x="16645" y="2597"/>
                    </a:lnTo>
                    <a:lnTo>
                      <a:pt x="16863" y="2597"/>
                    </a:lnTo>
                    <a:lnTo>
                      <a:pt x="16863" y="232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92" name="Shape 3018"/>
              <p:cNvSpPr/>
              <p:nvPr/>
            </p:nvSpPr>
            <p:spPr>
              <a:xfrm>
                <a:off x="7287399" y="4585822"/>
                <a:ext cx="437613" cy="31340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974" y="14234"/>
                    </a:moveTo>
                    <a:lnTo>
                      <a:pt x="12618" y="14234"/>
                    </a:lnTo>
                    <a:lnTo>
                      <a:pt x="12974" y="14234"/>
                    </a:lnTo>
                    <a:lnTo>
                      <a:pt x="12618" y="14234"/>
                    </a:lnTo>
                    <a:lnTo>
                      <a:pt x="12974" y="13637"/>
                    </a:lnTo>
                    <a:lnTo>
                      <a:pt x="12974" y="13139"/>
                    </a:lnTo>
                    <a:lnTo>
                      <a:pt x="12618" y="13139"/>
                    </a:lnTo>
                    <a:lnTo>
                      <a:pt x="12618" y="12542"/>
                    </a:lnTo>
                    <a:lnTo>
                      <a:pt x="12974" y="12542"/>
                    </a:lnTo>
                    <a:lnTo>
                      <a:pt x="12974" y="11945"/>
                    </a:lnTo>
                    <a:lnTo>
                      <a:pt x="13402" y="11945"/>
                    </a:lnTo>
                    <a:lnTo>
                      <a:pt x="13402" y="11447"/>
                    </a:lnTo>
                    <a:lnTo>
                      <a:pt x="12974" y="11447"/>
                    </a:lnTo>
                    <a:lnTo>
                      <a:pt x="12974" y="10850"/>
                    </a:lnTo>
                    <a:lnTo>
                      <a:pt x="12974" y="11447"/>
                    </a:lnTo>
                    <a:lnTo>
                      <a:pt x="12974" y="10253"/>
                    </a:lnTo>
                    <a:lnTo>
                      <a:pt x="13830" y="10253"/>
                    </a:lnTo>
                    <a:lnTo>
                      <a:pt x="13830" y="9655"/>
                    </a:lnTo>
                    <a:lnTo>
                      <a:pt x="14614" y="9655"/>
                    </a:lnTo>
                    <a:lnTo>
                      <a:pt x="14614" y="9158"/>
                    </a:lnTo>
                    <a:lnTo>
                      <a:pt x="15042" y="9158"/>
                    </a:lnTo>
                    <a:lnTo>
                      <a:pt x="15042" y="9655"/>
                    </a:lnTo>
                    <a:lnTo>
                      <a:pt x="15469" y="9655"/>
                    </a:lnTo>
                    <a:lnTo>
                      <a:pt x="15469" y="9158"/>
                    </a:lnTo>
                    <a:lnTo>
                      <a:pt x="15826" y="9655"/>
                    </a:lnTo>
                    <a:lnTo>
                      <a:pt x="16253" y="9655"/>
                    </a:lnTo>
                    <a:lnTo>
                      <a:pt x="15826" y="10253"/>
                    </a:lnTo>
                    <a:lnTo>
                      <a:pt x="16253" y="10253"/>
                    </a:lnTo>
                    <a:lnTo>
                      <a:pt x="16253" y="9655"/>
                    </a:lnTo>
                    <a:lnTo>
                      <a:pt x="16253" y="10253"/>
                    </a:lnTo>
                    <a:lnTo>
                      <a:pt x="16681" y="10253"/>
                    </a:lnTo>
                    <a:lnTo>
                      <a:pt x="16681" y="9655"/>
                    </a:lnTo>
                    <a:lnTo>
                      <a:pt x="16681" y="10253"/>
                    </a:lnTo>
                    <a:lnTo>
                      <a:pt x="16681" y="9655"/>
                    </a:lnTo>
                    <a:lnTo>
                      <a:pt x="17109" y="9655"/>
                    </a:lnTo>
                    <a:lnTo>
                      <a:pt x="17109" y="9158"/>
                    </a:lnTo>
                    <a:lnTo>
                      <a:pt x="17465" y="9158"/>
                    </a:lnTo>
                    <a:lnTo>
                      <a:pt x="17465" y="7963"/>
                    </a:lnTo>
                    <a:lnTo>
                      <a:pt x="17893" y="7963"/>
                    </a:lnTo>
                    <a:lnTo>
                      <a:pt x="17893" y="7465"/>
                    </a:lnTo>
                    <a:lnTo>
                      <a:pt x="17465" y="7465"/>
                    </a:lnTo>
                    <a:lnTo>
                      <a:pt x="17893" y="7465"/>
                    </a:lnTo>
                    <a:lnTo>
                      <a:pt x="18321" y="6868"/>
                    </a:lnTo>
                    <a:lnTo>
                      <a:pt x="17893" y="6868"/>
                    </a:lnTo>
                    <a:lnTo>
                      <a:pt x="18321" y="6868"/>
                    </a:lnTo>
                    <a:lnTo>
                      <a:pt x="18321" y="7465"/>
                    </a:lnTo>
                    <a:lnTo>
                      <a:pt x="19533" y="7465"/>
                    </a:lnTo>
                    <a:lnTo>
                      <a:pt x="19533" y="7963"/>
                    </a:lnTo>
                    <a:lnTo>
                      <a:pt x="20317" y="7963"/>
                    </a:lnTo>
                    <a:lnTo>
                      <a:pt x="20317" y="7465"/>
                    </a:lnTo>
                    <a:lnTo>
                      <a:pt x="20745" y="7465"/>
                    </a:lnTo>
                    <a:lnTo>
                      <a:pt x="20745" y="6868"/>
                    </a:lnTo>
                    <a:lnTo>
                      <a:pt x="21600" y="6868"/>
                    </a:lnTo>
                    <a:lnTo>
                      <a:pt x="21600" y="6271"/>
                    </a:lnTo>
                    <a:lnTo>
                      <a:pt x="21172" y="6271"/>
                    </a:lnTo>
                    <a:lnTo>
                      <a:pt x="21172" y="5674"/>
                    </a:lnTo>
                    <a:lnTo>
                      <a:pt x="20745" y="5674"/>
                    </a:lnTo>
                    <a:lnTo>
                      <a:pt x="20745" y="5176"/>
                    </a:lnTo>
                    <a:lnTo>
                      <a:pt x="19960" y="3982"/>
                    </a:lnTo>
                    <a:lnTo>
                      <a:pt x="19105" y="3484"/>
                    </a:lnTo>
                    <a:lnTo>
                      <a:pt x="18749" y="3484"/>
                    </a:lnTo>
                    <a:lnTo>
                      <a:pt x="18749" y="2887"/>
                    </a:lnTo>
                    <a:lnTo>
                      <a:pt x="17893" y="2289"/>
                    </a:lnTo>
                    <a:lnTo>
                      <a:pt x="17465" y="1692"/>
                    </a:lnTo>
                    <a:lnTo>
                      <a:pt x="17109" y="2289"/>
                    </a:lnTo>
                    <a:lnTo>
                      <a:pt x="17109" y="1692"/>
                    </a:lnTo>
                    <a:lnTo>
                      <a:pt x="17109" y="2289"/>
                    </a:lnTo>
                    <a:lnTo>
                      <a:pt x="16681" y="2289"/>
                    </a:lnTo>
                    <a:lnTo>
                      <a:pt x="16681" y="1194"/>
                    </a:lnTo>
                    <a:lnTo>
                      <a:pt x="16253" y="1194"/>
                    </a:lnTo>
                    <a:lnTo>
                      <a:pt x="16253" y="597"/>
                    </a:lnTo>
                    <a:lnTo>
                      <a:pt x="15826" y="0"/>
                    </a:lnTo>
                    <a:lnTo>
                      <a:pt x="15042" y="0"/>
                    </a:lnTo>
                    <a:lnTo>
                      <a:pt x="15042" y="597"/>
                    </a:lnTo>
                    <a:lnTo>
                      <a:pt x="14614" y="1194"/>
                    </a:lnTo>
                    <a:lnTo>
                      <a:pt x="14614" y="1692"/>
                    </a:lnTo>
                    <a:lnTo>
                      <a:pt x="12974" y="1692"/>
                    </a:lnTo>
                    <a:lnTo>
                      <a:pt x="12618" y="2289"/>
                    </a:lnTo>
                    <a:lnTo>
                      <a:pt x="12618" y="1692"/>
                    </a:lnTo>
                    <a:lnTo>
                      <a:pt x="11406" y="1692"/>
                    </a:lnTo>
                    <a:lnTo>
                      <a:pt x="10978" y="1194"/>
                    </a:lnTo>
                    <a:lnTo>
                      <a:pt x="10978" y="1692"/>
                    </a:lnTo>
                    <a:lnTo>
                      <a:pt x="11406" y="1692"/>
                    </a:lnTo>
                    <a:lnTo>
                      <a:pt x="11406" y="2289"/>
                    </a:lnTo>
                    <a:lnTo>
                      <a:pt x="10978" y="2289"/>
                    </a:lnTo>
                    <a:lnTo>
                      <a:pt x="10978" y="1692"/>
                    </a:lnTo>
                    <a:lnTo>
                      <a:pt x="10978" y="2289"/>
                    </a:lnTo>
                    <a:lnTo>
                      <a:pt x="10978" y="1692"/>
                    </a:lnTo>
                    <a:lnTo>
                      <a:pt x="10550" y="1692"/>
                    </a:lnTo>
                    <a:lnTo>
                      <a:pt x="10550" y="2289"/>
                    </a:lnTo>
                    <a:lnTo>
                      <a:pt x="10123" y="2289"/>
                    </a:lnTo>
                    <a:lnTo>
                      <a:pt x="10123" y="1692"/>
                    </a:lnTo>
                    <a:lnTo>
                      <a:pt x="10123" y="2289"/>
                    </a:lnTo>
                    <a:lnTo>
                      <a:pt x="9766" y="2289"/>
                    </a:lnTo>
                    <a:lnTo>
                      <a:pt x="9766" y="2887"/>
                    </a:lnTo>
                    <a:lnTo>
                      <a:pt x="10123" y="2887"/>
                    </a:lnTo>
                    <a:lnTo>
                      <a:pt x="9766" y="2887"/>
                    </a:lnTo>
                    <a:lnTo>
                      <a:pt x="9766" y="3484"/>
                    </a:lnTo>
                    <a:lnTo>
                      <a:pt x="10123" y="3484"/>
                    </a:lnTo>
                    <a:lnTo>
                      <a:pt x="9339" y="3484"/>
                    </a:lnTo>
                    <a:lnTo>
                      <a:pt x="9339" y="3982"/>
                    </a:lnTo>
                    <a:lnTo>
                      <a:pt x="8554" y="3982"/>
                    </a:lnTo>
                    <a:lnTo>
                      <a:pt x="8554" y="3484"/>
                    </a:lnTo>
                    <a:lnTo>
                      <a:pt x="7699" y="3484"/>
                    </a:lnTo>
                    <a:lnTo>
                      <a:pt x="7271" y="2887"/>
                    </a:lnTo>
                    <a:lnTo>
                      <a:pt x="7271" y="3484"/>
                    </a:lnTo>
                    <a:lnTo>
                      <a:pt x="6915" y="3484"/>
                    </a:lnTo>
                    <a:lnTo>
                      <a:pt x="6915" y="5176"/>
                    </a:lnTo>
                    <a:lnTo>
                      <a:pt x="6487" y="5176"/>
                    </a:lnTo>
                    <a:lnTo>
                      <a:pt x="6059" y="4579"/>
                    </a:lnTo>
                    <a:lnTo>
                      <a:pt x="6059" y="5176"/>
                    </a:lnTo>
                    <a:lnTo>
                      <a:pt x="5703" y="4579"/>
                    </a:lnTo>
                    <a:lnTo>
                      <a:pt x="5703" y="5674"/>
                    </a:lnTo>
                    <a:lnTo>
                      <a:pt x="6059" y="5674"/>
                    </a:lnTo>
                    <a:lnTo>
                      <a:pt x="5703" y="5674"/>
                    </a:lnTo>
                    <a:lnTo>
                      <a:pt x="5703" y="6868"/>
                    </a:lnTo>
                    <a:lnTo>
                      <a:pt x="6059" y="6868"/>
                    </a:lnTo>
                    <a:lnTo>
                      <a:pt x="5703" y="6868"/>
                    </a:lnTo>
                    <a:lnTo>
                      <a:pt x="5703" y="7465"/>
                    </a:lnTo>
                    <a:lnTo>
                      <a:pt x="5703" y="6868"/>
                    </a:lnTo>
                    <a:lnTo>
                      <a:pt x="4848" y="6868"/>
                    </a:lnTo>
                    <a:lnTo>
                      <a:pt x="4848" y="7465"/>
                    </a:lnTo>
                    <a:lnTo>
                      <a:pt x="4063" y="7465"/>
                    </a:lnTo>
                    <a:lnTo>
                      <a:pt x="4063" y="7963"/>
                    </a:lnTo>
                    <a:lnTo>
                      <a:pt x="2424" y="7963"/>
                    </a:lnTo>
                    <a:lnTo>
                      <a:pt x="2424" y="8560"/>
                    </a:lnTo>
                    <a:lnTo>
                      <a:pt x="1996" y="8560"/>
                    </a:lnTo>
                    <a:lnTo>
                      <a:pt x="1996" y="9655"/>
                    </a:lnTo>
                    <a:lnTo>
                      <a:pt x="1212" y="9655"/>
                    </a:lnTo>
                    <a:lnTo>
                      <a:pt x="1212" y="10253"/>
                    </a:lnTo>
                    <a:lnTo>
                      <a:pt x="356" y="10253"/>
                    </a:lnTo>
                    <a:lnTo>
                      <a:pt x="0" y="10850"/>
                    </a:lnTo>
                    <a:lnTo>
                      <a:pt x="784" y="10850"/>
                    </a:lnTo>
                    <a:lnTo>
                      <a:pt x="784" y="11447"/>
                    </a:lnTo>
                    <a:lnTo>
                      <a:pt x="356" y="11447"/>
                    </a:lnTo>
                    <a:lnTo>
                      <a:pt x="356" y="11945"/>
                    </a:lnTo>
                    <a:lnTo>
                      <a:pt x="784" y="11945"/>
                    </a:lnTo>
                    <a:lnTo>
                      <a:pt x="784" y="12542"/>
                    </a:lnTo>
                    <a:lnTo>
                      <a:pt x="1568" y="12542"/>
                    </a:lnTo>
                    <a:lnTo>
                      <a:pt x="1568" y="13139"/>
                    </a:lnTo>
                    <a:lnTo>
                      <a:pt x="1212" y="13139"/>
                    </a:lnTo>
                    <a:lnTo>
                      <a:pt x="784" y="13637"/>
                    </a:lnTo>
                    <a:lnTo>
                      <a:pt x="1212" y="13637"/>
                    </a:lnTo>
                    <a:lnTo>
                      <a:pt x="1212" y="14234"/>
                    </a:lnTo>
                    <a:lnTo>
                      <a:pt x="1568" y="14234"/>
                    </a:lnTo>
                    <a:lnTo>
                      <a:pt x="1568" y="14831"/>
                    </a:lnTo>
                    <a:lnTo>
                      <a:pt x="1996" y="14831"/>
                    </a:lnTo>
                    <a:lnTo>
                      <a:pt x="1996" y="15329"/>
                    </a:lnTo>
                    <a:lnTo>
                      <a:pt x="2424" y="15329"/>
                    </a:lnTo>
                    <a:lnTo>
                      <a:pt x="2424" y="14831"/>
                    </a:lnTo>
                    <a:lnTo>
                      <a:pt x="3208" y="14831"/>
                    </a:lnTo>
                    <a:lnTo>
                      <a:pt x="3208" y="15329"/>
                    </a:lnTo>
                    <a:lnTo>
                      <a:pt x="3636" y="15329"/>
                    </a:lnTo>
                    <a:lnTo>
                      <a:pt x="3636" y="15926"/>
                    </a:lnTo>
                    <a:lnTo>
                      <a:pt x="4063" y="16524"/>
                    </a:lnTo>
                    <a:lnTo>
                      <a:pt x="4063" y="17121"/>
                    </a:lnTo>
                    <a:lnTo>
                      <a:pt x="4420" y="17121"/>
                    </a:lnTo>
                    <a:lnTo>
                      <a:pt x="4063" y="17121"/>
                    </a:lnTo>
                    <a:lnTo>
                      <a:pt x="4420" y="17618"/>
                    </a:lnTo>
                    <a:lnTo>
                      <a:pt x="4420" y="18813"/>
                    </a:lnTo>
                    <a:lnTo>
                      <a:pt x="4848" y="19311"/>
                    </a:lnTo>
                    <a:lnTo>
                      <a:pt x="5275" y="19908"/>
                    </a:lnTo>
                    <a:lnTo>
                      <a:pt x="5275" y="20505"/>
                    </a:lnTo>
                    <a:lnTo>
                      <a:pt x="5703" y="20505"/>
                    </a:lnTo>
                    <a:lnTo>
                      <a:pt x="5703" y="21102"/>
                    </a:lnTo>
                    <a:lnTo>
                      <a:pt x="6059" y="21102"/>
                    </a:lnTo>
                    <a:lnTo>
                      <a:pt x="6059" y="21600"/>
                    </a:lnTo>
                    <a:lnTo>
                      <a:pt x="6487" y="21600"/>
                    </a:lnTo>
                    <a:lnTo>
                      <a:pt x="6487" y="20505"/>
                    </a:lnTo>
                    <a:lnTo>
                      <a:pt x="6059" y="20505"/>
                    </a:lnTo>
                    <a:lnTo>
                      <a:pt x="6915" y="20505"/>
                    </a:lnTo>
                    <a:lnTo>
                      <a:pt x="6915" y="19908"/>
                    </a:lnTo>
                    <a:lnTo>
                      <a:pt x="7271" y="19311"/>
                    </a:lnTo>
                    <a:lnTo>
                      <a:pt x="7271" y="19908"/>
                    </a:lnTo>
                    <a:lnTo>
                      <a:pt x="7699" y="19311"/>
                    </a:lnTo>
                    <a:lnTo>
                      <a:pt x="8127" y="19311"/>
                    </a:lnTo>
                    <a:lnTo>
                      <a:pt x="8127" y="19908"/>
                    </a:lnTo>
                    <a:lnTo>
                      <a:pt x="8127" y="19311"/>
                    </a:lnTo>
                    <a:lnTo>
                      <a:pt x="8554" y="19311"/>
                    </a:lnTo>
                    <a:lnTo>
                      <a:pt x="8554" y="18813"/>
                    </a:lnTo>
                    <a:lnTo>
                      <a:pt x="9339" y="18813"/>
                    </a:lnTo>
                    <a:lnTo>
                      <a:pt x="9339" y="18216"/>
                    </a:lnTo>
                    <a:lnTo>
                      <a:pt x="9766" y="18813"/>
                    </a:lnTo>
                    <a:lnTo>
                      <a:pt x="9339" y="18813"/>
                    </a:lnTo>
                    <a:lnTo>
                      <a:pt x="9766" y="18813"/>
                    </a:lnTo>
                    <a:lnTo>
                      <a:pt x="9766" y="19311"/>
                    </a:lnTo>
                    <a:lnTo>
                      <a:pt x="9339" y="19311"/>
                    </a:lnTo>
                    <a:lnTo>
                      <a:pt x="8911" y="19908"/>
                    </a:lnTo>
                    <a:lnTo>
                      <a:pt x="10123" y="19908"/>
                    </a:lnTo>
                    <a:lnTo>
                      <a:pt x="10123" y="19311"/>
                    </a:lnTo>
                    <a:lnTo>
                      <a:pt x="10978" y="19311"/>
                    </a:lnTo>
                    <a:lnTo>
                      <a:pt x="10978" y="18813"/>
                    </a:lnTo>
                    <a:lnTo>
                      <a:pt x="10978" y="19311"/>
                    </a:lnTo>
                    <a:lnTo>
                      <a:pt x="10978" y="18813"/>
                    </a:lnTo>
                    <a:lnTo>
                      <a:pt x="11406" y="18813"/>
                    </a:lnTo>
                    <a:lnTo>
                      <a:pt x="11406" y="18216"/>
                    </a:lnTo>
                    <a:lnTo>
                      <a:pt x="11406" y="18813"/>
                    </a:lnTo>
                    <a:lnTo>
                      <a:pt x="11762" y="18813"/>
                    </a:lnTo>
                    <a:lnTo>
                      <a:pt x="11762" y="17618"/>
                    </a:lnTo>
                    <a:lnTo>
                      <a:pt x="11406" y="17618"/>
                    </a:lnTo>
                    <a:lnTo>
                      <a:pt x="11406" y="15926"/>
                    </a:lnTo>
                    <a:lnTo>
                      <a:pt x="12190" y="15926"/>
                    </a:lnTo>
                    <a:lnTo>
                      <a:pt x="12190" y="15329"/>
                    </a:lnTo>
                    <a:lnTo>
                      <a:pt x="12618" y="15329"/>
                    </a:lnTo>
                    <a:lnTo>
                      <a:pt x="12618" y="14831"/>
                    </a:lnTo>
                    <a:lnTo>
                      <a:pt x="12974" y="1423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93" name="Shape 3019"/>
              <p:cNvSpPr/>
              <p:nvPr/>
            </p:nvSpPr>
            <p:spPr>
              <a:xfrm>
                <a:off x="7072203" y="4668146"/>
                <a:ext cx="246970" cy="19064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663" y="18818"/>
                    </a:moveTo>
                    <a:lnTo>
                      <a:pt x="3663" y="16855"/>
                    </a:lnTo>
                    <a:lnTo>
                      <a:pt x="2905" y="15873"/>
                    </a:lnTo>
                    <a:lnTo>
                      <a:pt x="3663" y="15873"/>
                    </a:lnTo>
                    <a:lnTo>
                      <a:pt x="3663" y="15055"/>
                    </a:lnTo>
                    <a:lnTo>
                      <a:pt x="2905" y="15055"/>
                    </a:lnTo>
                    <a:lnTo>
                      <a:pt x="3663" y="14073"/>
                    </a:lnTo>
                    <a:lnTo>
                      <a:pt x="2147" y="14073"/>
                    </a:lnTo>
                    <a:lnTo>
                      <a:pt x="2147" y="15055"/>
                    </a:lnTo>
                    <a:lnTo>
                      <a:pt x="1389" y="15055"/>
                    </a:lnTo>
                    <a:lnTo>
                      <a:pt x="758" y="14073"/>
                    </a:lnTo>
                    <a:lnTo>
                      <a:pt x="0" y="14073"/>
                    </a:lnTo>
                    <a:lnTo>
                      <a:pt x="0" y="10309"/>
                    </a:lnTo>
                    <a:lnTo>
                      <a:pt x="758" y="10309"/>
                    </a:lnTo>
                    <a:lnTo>
                      <a:pt x="758" y="7527"/>
                    </a:lnTo>
                    <a:lnTo>
                      <a:pt x="1389" y="7527"/>
                    </a:lnTo>
                    <a:lnTo>
                      <a:pt x="1389" y="5727"/>
                    </a:lnTo>
                    <a:lnTo>
                      <a:pt x="2147" y="5727"/>
                    </a:lnTo>
                    <a:lnTo>
                      <a:pt x="2147" y="3764"/>
                    </a:lnTo>
                    <a:lnTo>
                      <a:pt x="4295" y="3764"/>
                    </a:lnTo>
                    <a:lnTo>
                      <a:pt x="4295" y="2945"/>
                    </a:lnTo>
                    <a:lnTo>
                      <a:pt x="3663" y="2945"/>
                    </a:lnTo>
                    <a:lnTo>
                      <a:pt x="4295" y="1964"/>
                    </a:lnTo>
                    <a:lnTo>
                      <a:pt x="6442" y="1964"/>
                    </a:lnTo>
                    <a:lnTo>
                      <a:pt x="6442" y="2945"/>
                    </a:lnTo>
                    <a:lnTo>
                      <a:pt x="6442" y="1964"/>
                    </a:lnTo>
                    <a:lnTo>
                      <a:pt x="7958" y="1964"/>
                    </a:lnTo>
                    <a:lnTo>
                      <a:pt x="7958" y="982"/>
                    </a:lnTo>
                    <a:lnTo>
                      <a:pt x="11495" y="982"/>
                    </a:lnTo>
                    <a:lnTo>
                      <a:pt x="11495" y="0"/>
                    </a:lnTo>
                    <a:lnTo>
                      <a:pt x="10863" y="0"/>
                    </a:lnTo>
                    <a:lnTo>
                      <a:pt x="12253" y="0"/>
                    </a:lnTo>
                    <a:lnTo>
                      <a:pt x="13011" y="982"/>
                    </a:lnTo>
                    <a:lnTo>
                      <a:pt x="13768" y="982"/>
                    </a:lnTo>
                    <a:lnTo>
                      <a:pt x="13768" y="0"/>
                    </a:lnTo>
                    <a:lnTo>
                      <a:pt x="14400" y="0"/>
                    </a:lnTo>
                    <a:lnTo>
                      <a:pt x="14400" y="982"/>
                    </a:lnTo>
                    <a:lnTo>
                      <a:pt x="15158" y="982"/>
                    </a:lnTo>
                    <a:lnTo>
                      <a:pt x="15158" y="2945"/>
                    </a:lnTo>
                    <a:lnTo>
                      <a:pt x="15916" y="2945"/>
                    </a:lnTo>
                    <a:lnTo>
                      <a:pt x="15916" y="3764"/>
                    </a:lnTo>
                    <a:lnTo>
                      <a:pt x="16547" y="2945"/>
                    </a:lnTo>
                    <a:lnTo>
                      <a:pt x="16547" y="4745"/>
                    </a:lnTo>
                    <a:lnTo>
                      <a:pt x="18063" y="4745"/>
                    </a:lnTo>
                    <a:lnTo>
                      <a:pt x="18063" y="6545"/>
                    </a:lnTo>
                    <a:lnTo>
                      <a:pt x="18821" y="6545"/>
                    </a:lnTo>
                    <a:lnTo>
                      <a:pt x="18821" y="7527"/>
                    </a:lnTo>
                    <a:lnTo>
                      <a:pt x="19453" y="7527"/>
                    </a:lnTo>
                    <a:lnTo>
                      <a:pt x="18821" y="8509"/>
                    </a:lnTo>
                    <a:lnTo>
                      <a:pt x="20211" y="8509"/>
                    </a:lnTo>
                    <a:lnTo>
                      <a:pt x="20211" y="9491"/>
                    </a:lnTo>
                    <a:lnTo>
                      <a:pt x="19453" y="9491"/>
                    </a:lnTo>
                    <a:lnTo>
                      <a:pt x="19453" y="10309"/>
                    </a:lnTo>
                    <a:lnTo>
                      <a:pt x="20211" y="10309"/>
                    </a:lnTo>
                    <a:lnTo>
                      <a:pt x="20211" y="11291"/>
                    </a:lnTo>
                    <a:lnTo>
                      <a:pt x="21600" y="11291"/>
                    </a:lnTo>
                    <a:lnTo>
                      <a:pt x="21600" y="12273"/>
                    </a:lnTo>
                    <a:lnTo>
                      <a:pt x="20968" y="12273"/>
                    </a:lnTo>
                    <a:lnTo>
                      <a:pt x="20211" y="13091"/>
                    </a:lnTo>
                    <a:lnTo>
                      <a:pt x="20211" y="14073"/>
                    </a:lnTo>
                    <a:lnTo>
                      <a:pt x="19453" y="14073"/>
                    </a:lnTo>
                    <a:lnTo>
                      <a:pt x="20211" y="14073"/>
                    </a:lnTo>
                    <a:lnTo>
                      <a:pt x="20211" y="15873"/>
                    </a:lnTo>
                    <a:lnTo>
                      <a:pt x="19453" y="15873"/>
                    </a:lnTo>
                    <a:lnTo>
                      <a:pt x="19453" y="16855"/>
                    </a:lnTo>
                    <a:lnTo>
                      <a:pt x="18821" y="16855"/>
                    </a:lnTo>
                    <a:lnTo>
                      <a:pt x="18821" y="17836"/>
                    </a:lnTo>
                    <a:lnTo>
                      <a:pt x="16547" y="17836"/>
                    </a:lnTo>
                    <a:lnTo>
                      <a:pt x="16547" y="18818"/>
                    </a:lnTo>
                    <a:lnTo>
                      <a:pt x="18063" y="18818"/>
                    </a:lnTo>
                    <a:lnTo>
                      <a:pt x="18063" y="19636"/>
                    </a:lnTo>
                    <a:lnTo>
                      <a:pt x="17305" y="19636"/>
                    </a:lnTo>
                    <a:lnTo>
                      <a:pt x="17305" y="20618"/>
                    </a:lnTo>
                    <a:lnTo>
                      <a:pt x="16547" y="19636"/>
                    </a:lnTo>
                    <a:lnTo>
                      <a:pt x="16547" y="18818"/>
                    </a:lnTo>
                    <a:lnTo>
                      <a:pt x="15916" y="18818"/>
                    </a:lnTo>
                    <a:lnTo>
                      <a:pt x="15916" y="19636"/>
                    </a:lnTo>
                    <a:lnTo>
                      <a:pt x="16547" y="20618"/>
                    </a:lnTo>
                    <a:lnTo>
                      <a:pt x="15916" y="20618"/>
                    </a:lnTo>
                    <a:lnTo>
                      <a:pt x="15916" y="21600"/>
                    </a:lnTo>
                    <a:lnTo>
                      <a:pt x="13768" y="21600"/>
                    </a:lnTo>
                    <a:lnTo>
                      <a:pt x="13768" y="20618"/>
                    </a:lnTo>
                    <a:lnTo>
                      <a:pt x="13011" y="20618"/>
                    </a:lnTo>
                    <a:lnTo>
                      <a:pt x="13011" y="19636"/>
                    </a:lnTo>
                    <a:lnTo>
                      <a:pt x="11495" y="19636"/>
                    </a:lnTo>
                    <a:lnTo>
                      <a:pt x="11495" y="18818"/>
                    </a:lnTo>
                    <a:lnTo>
                      <a:pt x="10863" y="18818"/>
                    </a:lnTo>
                    <a:lnTo>
                      <a:pt x="10105" y="20618"/>
                    </a:lnTo>
                    <a:lnTo>
                      <a:pt x="8716" y="20618"/>
                    </a:lnTo>
                    <a:lnTo>
                      <a:pt x="7958" y="21600"/>
                    </a:lnTo>
                    <a:lnTo>
                      <a:pt x="7958" y="19636"/>
                    </a:lnTo>
                    <a:lnTo>
                      <a:pt x="7200" y="19636"/>
                    </a:lnTo>
                    <a:lnTo>
                      <a:pt x="7200" y="17836"/>
                    </a:lnTo>
                    <a:lnTo>
                      <a:pt x="6442" y="17836"/>
                    </a:lnTo>
                    <a:lnTo>
                      <a:pt x="6442" y="18818"/>
                    </a:lnTo>
                    <a:lnTo>
                      <a:pt x="6442" y="17836"/>
                    </a:lnTo>
                    <a:lnTo>
                      <a:pt x="6442" y="18818"/>
                    </a:lnTo>
                    <a:lnTo>
                      <a:pt x="5811" y="18818"/>
                    </a:lnTo>
                    <a:lnTo>
                      <a:pt x="5811" y="17836"/>
                    </a:lnTo>
                    <a:lnTo>
                      <a:pt x="5053" y="18818"/>
                    </a:lnTo>
                    <a:lnTo>
                      <a:pt x="4295" y="18818"/>
                    </a:lnTo>
                    <a:lnTo>
                      <a:pt x="4295" y="17836"/>
                    </a:lnTo>
                    <a:lnTo>
                      <a:pt x="4295" y="18818"/>
                    </a:lnTo>
                    <a:lnTo>
                      <a:pt x="3663" y="1881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/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94" name="Shape 3020"/>
              <p:cNvSpPr/>
              <p:nvPr/>
            </p:nvSpPr>
            <p:spPr>
              <a:xfrm>
                <a:off x="7196410" y="4858788"/>
                <a:ext cx="246970" cy="24697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063" y="21600"/>
                    </a:moveTo>
                    <a:lnTo>
                      <a:pt x="18063" y="20842"/>
                    </a:lnTo>
                    <a:lnTo>
                      <a:pt x="19453" y="20842"/>
                    </a:lnTo>
                    <a:lnTo>
                      <a:pt x="19453" y="19453"/>
                    </a:lnTo>
                    <a:lnTo>
                      <a:pt x="20211" y="19453"/>
                    </a:lnTo>
                    <a:lnTo>
                      <a:pt x="20211" y="18695"/>
                    </a:lnTo>
                    <a:lnTo>
                      <a:pt x="20842" y="17937"/>
                    </a:lnTo>
                    <a:lnTo>
                      <a:pt x="20842" y="17305"/>
                    </a:lnTo>
                    <a:lnTo>
                      <a:pt x="21600" y="17305"/>
                    </a:lnTo>
                    <a:lnTo>
                      <a:pt x="21600" y="15158"/>
                    </a:lnTo>
                    <a:lnTo>
                      <a:pt x="20842" y="15158"/>
                    </a:lnTo>
                    <a:lnTo>
                      <a:pt x="21600" y="15158"/>
                    </a:lnTo>
                    <a:lnTo>
                      <a:pt x="21600" y="14400"/>
                    </a:lnTo>
                    <a:lnTo>
                      <a:pt x="20211" y="14400"/>
                    </a:lnTo>
                    <a:lnTo>
                      <a:pt x="20211" y="13642"/>
                    </a:lnTo>
                    <a:lnTo>
                      <a:pt x="20842" y="13642"/>
                    </a:lnTo>
                    <a:lnTo>
                      <a:pt x="20842" y="11495"/>
                    </a:lnTo>
                    <a:lnTo>
                      <a:pt x="20211" y="10737"/>
                    </a:lnTo>
                    <a:lnTo>
                      <a:pt x="20842" y="10737"/>
                    </a:lnTo>
                    <a:lnTo>
                      <a:pt x="20842" y="9347"/>
                    </a:lnTo>
                    <a:lnTo>
                      <a:pt x="20211" y="9347"/>
                    </a:lnTo>
                    <a:lnTo>
                      <a:pt x="20211" y="8589"/>
                    </a:lnTo>
                    <a:lnTo>
                      <a:pt x="20211" y="9347"/>
                    </a:lnTo>
                    <a:lnTo>
                      <a:pt x="19453" y="8589"/>
                    </a:lnTo>
                    <a:lnTo>
                      <a:pt x="19453" y="9347"/>
                    </a:lnTo>
                    <a:lnTo>
                      <a:pt x="18695" y="8589"/>
                    </a:lnTo>
                    <a:lnTo>
                      <a:pt x="18063" y="8589"/>
                    </a:lnTo>
                    <a:lnTo>
                      <a:pt x="17305" y="7958"/>
                    </a:lnTo>
                    <a:lnTo>
                      <a:pt x="17305" y="8589"/>
                    </a:lnTo>
                    <a:lnTo>
                      <a:pt x="17305" y="7200"/>
                    </a:lnTo>
                    <a:lnTo>
                      <a:pt x="16547" y="7200"/>
                    </a:lnTo>
                    <a:lnTo>
                      <a:pt x="16547" y="6442"/>
                    </a:lnTo>
                    <a:lnTo>
                      <a:pt x="13642" y="6442"/>
                    </a:lnTo>
                    <a:lnTo>
                      <a:pt x="13642" y="7958"/>
                    </a:lnTo>
                    <a:lnTo>
                      <a:pt x="13011" y="7958"/>
                    </a:lnTo>
                    <a:lnTo>
                      <a:pt x="13011" y="7200"/>
                    </a:lnTo>
                    <a:lnTo>
                      <a:pt x="12253" y="7200"/>
                    </a:lnTo>
                    <a:lnTo>
                      <a:pt x="12253" y="6442"/>
                    </a:lnTo>
                    <a:lnTo>
                      <a:pt x="11495" y="6442"/>
                    </a:lnTo>
                    <a:lnTo>
                      <a:pt x="11495" y="5684"/>
                    </a:lnTo>
                    <a:lnTo>
                      <a:pt x="10737" y="5684"/>
                    </a:lnTo>
                    <a:lnTo>
                      <a:pt x="10737" y="4295"/>
                    </a:lnTo>
                    <a:lnTo>
                      <a:pt x="11495" y="4295"/>
                    </a:lnTo>
                    <a:lnTo>
                      <a:pt x="10737" y="3537"/>
                    </a:lnTo>
                    <a:lnTo>
                      <a:pt x="10737" y="2905"/>
                    </a:lnTo>
                    <a:lnTo>
                      <a:pt x="10105" y="2905"/>
                    </a:lnTo>
                    <a:lnTo>
                      <a:pt x="10105" y="2147"/>
                    </a:lnTo>
                    <a:lnTo>
                      <a:pt x="9347" y="2147"/>
                    </a:lnTo>
                    <a:lnTo>
                      <a:pt x="9347" y="1389"/>
                    </a:lnTo>
                    <a:lnTo>
                      <a:pt x="7958" y="1389"/>
                    </a:lnTo>
                    <a:lnTo>
                      <a:pt x="7958" y="2147"/>
                    </a:lnTo>
                    <a:lnTo>
                      <a:pt x="6442" y="2147"/>
                    </a:lnTo>
                    <a:lnTo>
                      <a:pt x="6442" y="1389"/>
                    </a:lnTo>
                    <a:lnTo>
                      <a:pt x="5684" y="1389"/>
                    </a:lnTo>
                    <a:lnTo>
                      <a:pt x="5684" y="2147"/>
                    </a:lnTo>
                    <a:lnTo>
                      <a:pt x="5684" y="1389"/>
                    </a:lnTo>
                    <a:lnTo>
                      <a:pt x="5053" y="1389"/>
                    </a:lnTo>
                    <a:lnTo>
                      <a:pt x="5053" y="632"/>
                    </a:lnTo>
                    <a:lnTo>
                      <a:pt x="5684" y="632"/>
                    </a:lnTo>
                    <a:lnTo>
                      <a:pt x="5053" y="632"/>
                    </a:lnTo>
                    <a:lnTo>
                      <a:pt x="5053" y="1389"/>
                    </a:lnTo>
                    <a:lnTo>
                      <a:pt x="4295" y="1389"/>
                    </a:lnTo>
                    <a:lnTo>
                      <a:pt x="4295" y="0"/>
                    </a:lnTo>
                    <a:lnTo>
                      <a:pt x="2905" y="0"/>
                    </a:lnTo>
                    <a:lnTo>
                      <a:pt x="2905" y="632"/>
                    </a:lnTo>
                    <a:lnTo>
                      <a:pt x="2147" y="632"/>
                    </a:lnTo>
                    <a:lnTo>
                      <a:pt x="2147" y="2905"/>
                    </a:lnTo>
                    <a:lnTo>
                      <a:pt x="1389" y="2905"/>
                    </a:lnTo>
                    <a:lnTo>
                      <a:pt x="1389" y="3537"/>
                    </a:lnTo>
                    <a:lnTo>
                      <a:pt x="2147" y="3537"/>
                    </a:lnTo>
                    <a:lnTo>
                      <a:pt x="2147" y="5684"/>
                    </a:lnTo>
                    <a:lnTo>
                      <a:pt x="1389" y="5684"/>
                    </a:lnTo>
                    <a:lnTo>
                      <a:pt x="2147" y="5684"/>
                    </a:lnTo>
                    <a:lnTo>
                      <a:pt x="2147" y="7958"/>
                    </a:lnTo>
                    <a:lnTo>
                      <a:pt x="2905" y="7958"/>
                    </a:lnTo>
                    <a:lnTo>
                      <a:pt x="2905" y="10737"/>
                    </a:lnTo>
                    <a:lnTo>
                      <a:pt x="2147" y="11495"/>
                    </a:lnTo>
                    <a:lnTo>
                      <a:pt x="1389" y="11495"/>
                    </a:lnTo>
                    <a:lnTo>
                      <a:pt x="1389" y="12253"/>
                    </a:lnTo>
                    <a:lnTo>
                      <a:pt x="632" y="12253"/>
                    </a:lnTo>
                    <a:lnTo>
                      <a:pt x="632" y="11495"/>
                    </a:lnTo>
                    <a:lnTo>
                      <a:pt x="632" y="12253"/>
                    </a:lnTo>
                    <a:lnTo>
                      <a:pt x="0" y="12253"/>
                    </a:lnTo>
                    <a:lnTo>
                      <a:pt x="632" y="12884"/>
                    </a:lnTo>
                    <a:lnTo>
                      <a:pt x="632" y="12253"/>
                    </a:lnTo>
                    <a:lnTo>
                      <a:pt x="632" y="12884"/>
                    </a:lnTo>
                    <a:lnTo>
                      <a:pt x="1389" y="12884"/>
                    </a:lnTo>
                    <a:lnTo>
                      <a:pt x="1389" y="12253"/>
                    </a:lnTo>
                    <a:lnTo>
                      <a:pt x="1389" y="12884"/>
                    </a:lnTo>
                    <a:lnTo>
                      <a:pt x="2147" y="12884"/>
                    </a:lnTo>
                    <a:lnTo>
                      <a:pt x="1389" y="13642"/>
                    </a:lnTo>
                    <a:lnTo>
                      <a:pt x="2905" y="13642"/>
                    </a:lnTo>
                    <a:lnTo>
                      <a:pt x="2905" y="14400"/>
                    </a:lnTo>
                    <a:lnTo>
                      <a:pt x="3537" y="14400"/>
                    </a:lnTo>
                    <a:lnTo>
                      <a:pt x="3537" y="15158"/>
                    </a:lnTo>
                    <a:lnTo>
                      <a:pt x="4295" y="15158"/>
                    </a:lnTo>
                    <a:lnTo>
                      <a:pt x="4295" y="15789"/>
                    </a:lnTo>
                    <a:lnTo>
                      <a:pt x="5053" y="15789"/>
                    </a:lnTo>
                    <a:lnTo>
                      <a:pt x="5053" y="16547"/>
                    </a:lnTo>
                    <a:lnTo>
                      <a:pt x="5053" y="15789"/>
                    </a:lnTo>
                    <a:lnTo>
                      <a:pt x="5053" y="16547"/>
                    </a:lnTo>
                    <a:lnTo>
                      <a:pt x="7200" y="16547"/>
                    </a:lnTo>
                    <a:lnTo>
                      <a:pt x="7200" y="15789"/>
                    </a:lnTo>
                    <a:lnTo>
                      <a:pt x="7958" y="15789"/>
                    </a:lnTo>
                    <a:lnTo>
                      <a:pt x="7958" y="16547"/>
                    </a:lnTo>
                    <a:lnTo>
                      <a:pt x="8589" y="16547"/>
                    </a:lnTo>
                    <a:lnTo>
                      <a:pt x="8589" y="17305"/>
                    </a:lnTo>
                    <a:lnTo>
                      <a:pt x="7958" y="17305"/>
                    </a:lnTo>
                    <a:lnTo>
                      <a:pt x="8589" y="17305"/>
                    </a:lnTo>
                    <a:lnTo>
                      <a:pt x="8589" y="18695"/>
                    </a:lnTo>
                    <a:lnTo>
                      <a:pt x="9347" y="18695"/>
                    </a:lnTo>
                    <a:lnTo>
                      <a:pt x="9347" y="17937"/>
                    </a:lnTo>
                    <a:lnTo>
                      <a:pt x="10105" y="17937"/>
                    </a:lnTo>
                    <a:lnTo>
                      <a:pt x="10105" y="18695"/>
                    </a:lnTo>
                    <a:lnTo>
                      <a:pt x="10737" y="18695"/>
                    </a:lnTo>
                    <a:lnTo>
                      <a:pt x="10737" y="19453"/>
                    </a:lnTo>
                    <a:lnTo>
                      <a:pt x="10737" y="18695"/>
                    </a:lnTo>
                    <a:lnTo>
                      <a:pt x="11495" y="19453"/>
                    </a:lnTo>
                    <a:lnTo>
                      <a:pt x="11495" y="18695"/>
                    </a:lnTo>
                    <a:lnTo>
                      <a:pt x="11495" y="19453"/>
                    </a:lnTo>
                    <a:lnTo>
                      <a:pt x="12253" y="19453"/>
                    </a:lnTo>
                    <a:lnTo>
                      <a:pt x="12253" y="18695"/>
                    </a:lnTo>
                    <a:lnTo>
                      <a:pt x="12253" y="19453"/>
                    </a:lnTo>
                    <a:lnTo>
                      <a:pt x="12253" y="18695"/>
                    </a:lnTo>
                    <a:lnTo>
                      <a:pt x="12253" y="20211"/>
                    </a:lnTo>
                    <a:lnTo>
                      <a:pt x="13011" y="20211"/>
                    </a:lnTo>
                    <a:lnTo>
                      <a:pt x="13011" y="20842"/>
                    </a:lnTo>
                    <a:lnTo>
                      <a:pt x="13642" y="20842"/>
                    </a:lnTo>
                    <a:lnTo>
                      <a:pt x="13642" y="20211"/>
                    </a:lnTo>
                    <a:lnTo>
                      <a:pt x="15158" y="20211"/>
                    </a:lnTo>
                    <a:lnTo>
                      <a:pt x="15158" y="19453"/>
                    </a:lnTo>
                    <a:lnTo>
                      <a:pt x="15158" y="20211"/>
                    </a:lnTo>
                    <a:lnTo>
                      <a:pt x="15789" y="20211"/>
                    </a:lnTo>
                    <a:lnTo>
                      <a:pt x="15789" y="19453"/>
                    </a:lnTo>
                    <a:lnTo>
                      <a:pt x="16547" y="19453"/>
                    </a:lnTo>
                    <a:lnTo>
                      <a:pt x="16547" y="20211"/>
                    </a:lnTo>
                    <a:lnTo>
                      <a:pt x="17305" y="20211"/>
                    </a:lnTo>
                    <a:lnTo>
                      <a:pt x="17305" y="20842"/>
                    </a:lnTo>
                    <a:lnTo>
                      <a:pt x="18063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95" name="Shape 3021"/>
              <p:cNvSpPr/>
              <p:nvPr/>
            </p:nvSpPr>
            <p:spPr>
              <a:xfrm>
                <a:off x="7056316" y="4825570"/>
                <a:ext cx="180534" cy="23108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762" y="16200"/>
                    </a:moveTo>
                    <a:lnTo>
                      <a:pt x="17626" y="16200"/>
                    </a:lnTo>
                    <a:lnTo>
                      <a:pt x="17626" y="15390"/>
                    </a:lnTo>
                    <a:lnTo>
                      <a:pt x="17626" y="16200"/>
                    </a:lnTo>
                    <a:lnTo>
                      <a:pt x="18662" y="16200"/>
                    </a:lnTo>
                    <a:lnTo>
                      <a:pt x="18662" y="15390"/>
                    </a:lnTo>
                    <a:lnTo>
                      <a:pt x="17626" y="15390"/>
                    </a:lnTo>
                    <a:lnTo>
                      <a:pt x="19699" y="15390"/>
                    </a:lnTo>
                    <a:lnTo>
                      <a:pt x="20736" y="14580"/>
                    </a:lnTo>
                    <a:lnTo>
                      <a:pt x="20736" y="11610"/>
                    </a:lnTo>
                    <a:lnTo>
                      <a:pt x="19699" y="11610"/>
                    </a:lnTo>
                    <a:lnTo>
                      <a:pt x="19699" y="9180"/>
                    </a:lnTo>
                    <a:lnTo>
                      <a:pt x="18662" y="9180"/>
                    </a:lnTo>
                    <a:lnTo>
                      <a:pt x="19699" y="9180"/>
                    </a:lnTo>
                    <a:lnTo>
                      <a:pt x="19699" y="6885"/>
                    </a:lnTo>
                    <a:lnTo>
                      <a:pt x="18662" y="6885"/>
                    </a:lnTo>
                    <a:lnTo>
                      <a:pt x="18662" y="6210"/>
                    </a:lnTo>
                    <a:lnTo>
                      <a:pt x="19699" y="6210"/>
                    </a:lnTo>
                    <a:lnTo>
                      <a:pt x="19699" y="3780"/>
                    </a:lnTo>
                    <a:lnTo>
                      <a:pt x="20736" y="3780"/>
                    </a:lnTo>
                    <a:lnTo>
                      <a:pt x="20736" y="3105"/>
                    </a:lnTo>
                    <a:lnTo>
                      <a:pt x="21600" y="3105"/>
                    </a:lnTo>
                    <a:lnTo>
                      <a:pt x="20736" y="3105"/>
                    </a:lnTo>
                    <a:lnTo>
                      <a:pt x="20736" y="2295"/>
                    </a:lnTo>
                    <a:lnTo>
                      <a:pt x="19699" y="2295"/>
                    </a:lnTo>
                    <a:lnTo>
                      <a:pt x="19699" y="1485"/>
                    </a:lnTo>
                    <a:lnTo>
                      <a:pt x="17626" y="1485"/>
                    </a:lnTo>
                    <a:lnTo>
                      <a:pt x="17626" y="810"/>
                    </a:lnTo>
                    <a:lnTo>
                      <a:pt x="16762" y="810"/>
                    </a:lnTo>
                    <a:lnTo>
                      <a:pt x="15725" y="2295"/>
                    </a:lnTo>
                    <a:lnTo>
                      <a:pt x="13824" y="2295"/>
                    </a:lnTo>
                    <a:lnTo>
                      <a:pt x="12787" y="3105"/>
                    </a:lnTo>
                    <a:lnTo>
                      <a:pt x="12787" y="1485"/>
                    </a:lnTo>
                    <a:lnTo>
                      <a:pt x="11750" y="1485"/>
                    </a:lnTo>
                    <a:lnTo>
                      <a:pt x="11750" y="0"/>
                    </a:lnTo>
                    <a:lnTo>
                      <a:pt x="10714" y="0"/>
                    </a:lnTo>
                    <a:lnTo>
                      <a:pt x="10714" y="810"/>
                    </a:lnTo>
                    <a:lnTo>
                      <a:pt x="10714" y="0"/>
                    </a:lnTo>
                    <a:lnTo>
                      <a:pt x="10714" y="810"/>
                    </a:lnTo>
                    <a:lnTo>
                      <a:pt x="9850" y="810"/>
                    </a:lnTo>
                    <a:lnTo>
                      <a:pt x="9850" y="0"/>
                    </a:lnTo>
                    <a:lnTo>
                      <a:pt x="8813" y="810"/>
                    </a:lnTo>
                    <a:lnTo>
                      <a:pt x="7776" y="810"/>
                    </a:lnTo>
                    <a:lnTo>
                      <a:pt x="7776" y="0"/>
                    </a:lnTo>
                    <a:lnTo>
                      <a:pt x="7776" y="810"/>
                    </a:lnTo>
                    <a:lnTo>
                      <a:pt x="5875" y="810"/>
                    </a:lnTo>
                    <a:lnTo>
                      <a:pt x="5875" y="1485"/>
                    </a:lnTo>
                    <a:lnTo>
                      <a:pt x="4838" y="1485"/>
                    </a:lnTo>
                    <a:lnTo>
                      <a:pt x="4838" y="2295"/>
                    </a:lnTo>
                    <a:lnTo>
                      <a:pt x="3802" y="2295"/>
                    </a:lnTo>
                    <a:lnTo>
                      <a:pt x="3802" y="3105"/>
                    </a:lnTo>
                    <a:lnTo>
                      <a:pt x="2938" y="3105"/>
                    </a:lnTo>
                    <a:lnTo>
                      <a:pt x="2938" y="3780"/>
                    </a:lnTo>
                    <a:lnTo>
                      <a:pt x="1901" y="3780"/>
                    </a:lnTo>
                    <a:lnTo>
                      <a:pt x="1901" y="4590"/>
                    </a:lnTo>
                    <a:lnTo>
                      <a:pt x="864" y="4590"/>
                    </a:lnTo>
                    <a:lnTo>
                      <a:pt x="864" y="6885"/>
                    </a:lnTo>
                    <a:lnTo>
                      <a:pt x="1901" y="6885"/>
                    </a:lnTo>
                    <a:lnTo>
                      <a:pt x="1901" y="7695"/>
                    </a:lnTo>
                    <a:lnTo>
                      <a:pt x="864" y="7695"/>
                    </a:lnTo>
                    <a:lnTo>
                      <a:pt x="1901" y="7695"/>
                    </a:lnTo>
                    <a:lnTo>
                      <a:pt x="1901" y="9180"/>
                    </a:lnTo>
                    <a:lnTo>
                      <a:pt x="2938" y="9180"/>
                    </a:lnTo>
                    <a:lnTo>
                      <a:pt x="2938" y="9990"/>
                    </a:lnTo>
                    <a:lnTo>
                      <a:pt x="1901" y="9990"/>
                    </a:lnTo>
                    <a:lnTo>
                      <a:pt x="1901" y="10800"/>
                    </a:lnTo>
                    <a:lnTo>
                      <a:pt x="864" y="10800"/>
                    </a:lnTo>
                    <a:lnTo>
                      <a:pt x="864" y="11610"/>
                    </a:lnTo>
                    <a:lnTo>
                      <a:pt x="0" y="11610"/>
                    </a:lnTo>
                    <a:lnTo>
                      <a:pt x="0" y="12285"/>
                    </a:lnTo>
                    <a:lnTo>
                      <a:pt x="864" y="13095"/>
                    </a:lnTo>
                    <a:lnTo>
                      <a:pt x="1901" y="13905"/>
                    </a:lnTo>
                    <a:lnTo>
                      <a:pt x="864" y="13905"/>
                    </a:lnTo>
                    <a:lnTo>
                      <a:pt x="864" y="14580"/>
                    </a:lnTo>
                    <a:lnTo>
                      <a:pt x="0" y="14580"/>
                    </a:lnTo>
                    <a:lnTo>
                      <a:pt x="864" y="14580"/>
                    </a:lnTo>
                    <a:lnTo>
                      <a:pt x="864" y="15390"/>
                    </a:lnTo>
                    <a:lnTo>
                      <a:pt x="1901" y="15390"/>
                    </a:lnTo>
                    <a:lnTo>
                      <a:pt x="2938" y="16200"/>
                    </a:lnTo>
                    <a:lnTo>
                      <a:pt x="2938" y="15390"/>
                    </a:lnTo>
                    <a:lnTo>
                      <a:pt x="3802" y="16200"/>
                    </a:lnTo>
                    <a:lnTo>
                      <a:pt x="3802" y="16875"/>
                    </a:lnTo>
                    <a:lnTo>
                      <a:pt x="4838" y="16875"/>
                    </a:lnTo>
                    <a:lnTo>
                      <a:pt x="4838" y="17685"/>
                    </a:lnTo>
                    <a:lnTo>
                      <a:pt x="5875" y="17685"/>
                    </a:lnTo>
                    <a:lnTo>
                      <a:pt x="5875" y="18495"/>
                    </a:lnTo>
                    <a:lnTo>
                      <a:pt x="5875" y="17685"/>
                    </a:lnTo>
                    <a:lnTo>
                      <a:pt x="5875" y="18495"/>
                    </a:lnTo>
                    <a:lnTo>
                      <a:pt x="6912" y="18495"/>
                    </a:lnTo>
                    <a:lnTo>
                      <a:pt x="6912" y="19305"/>
                    </a:lnTo>
                    <a:lnTo>
                      <a:pt x="6912" y="18495"/>
                    </a:lnTo>
                    <a:lnTo>
                      <a:pt x="7776" y="18495"/>
                    </a:lnTo>
                    <a:lnTo>
                      <a:pt x="7776" y="19305"/>
                    </a:lnTo>
                    <a:lnTo>
                      <a:pt x="7776" y="18495"/>
                    </a:lnTo>
                    <a:lnTo>
                      <a:pt x="7776" y="20790"/>
                    </a:lnTo>
                    <a:lnTo>
                      <a:pt x="8813" y="19980"/>
                    </a:lnTo>
                    <a:lnTo>
                      <a:pt x="8813" y="21600"/>
                    </a:lnTo>
                    <a:lnTo>
                      <a:pt x="10714" y="21600"/>
                    </a:lnTo>
                    <a:lnTo>
                      <a:pt x="10714" y="20790"/>
                    </a:lnTo>
                    <a:lnTo>
                      <a:pt x="11750" y="20790"/>
                    </a:lnTo>
                    <a:lnTo>
                      <a:pt x="11750" y="19980"/>
                    </a:lnTo>
                    <a:lnTo>
                      <a:pt x="12787" y="19980"/>
                    </a:lnTo>
                    <a:lnTo>
                      <a:pt x="12787" y="19305"/>
                    </a:lnTo>
                    <a:lnTo>
                      <a:pt x="13824" y="19305"/>
                    </a:lnTo>
                    <a:lnTo>
                      <a:pt x="13824" y="16875"/>
                    </a:lnTo>
                    <a:lnTo>
                      <a:pt x="16762" y="16875"/>
                    </a:lnTo>
                    <a:lnTo>
                      <a:pt x="16762" y="16200"/>
                    </a:lnTo>
                    <a:lnTo>
                      <a:pt x="16762" y="16875"/>
                    </a:lnTo>
                    <a:lnTo>
                      <a:pt x="16762" y="162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/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96" name="Shape 3022"/>
              <p:cNvSpPr/>
              <p:nvPr/>
            </p:nvSpPr>
            <p:spPr>
              <a:xfrm>
                <a:off x="7196410" y="4496278"/>
                <a:ext cx="213751" cy="23830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357" y="0"/>
                    </a:moveTo>
                    <a:lnTo>
                      <a:pt x="3357" y="1440"/>
                    </a:lnTo>
                    <a:lnTo>
                      <a:pt x="4086" y="1440"/>
                    </a:lnTo>
                    <a:lnTo>
                      <a:pt x="3357" y="1440"/>
                    </a:lnTo>
                    <a:lnTo>
                      <a:pt x="3357" y="2225"/>
                    </a:lnTo>
                    <a:lnTo>
                      <a:pt x="4962" y="2225"/>
                    </a:lnTo>
                    <a:lnTo>
                      <a:pt x="4962" y="2880"/>
                    </a:lnTo>
                    <a:lnTo>
                      <a:pt x="5838" y="2880"/>
                    </a:lnTo>
                    <a:lnTo>
                      <a:pt x="6568" y="3665"/>
                    </a:lnTo>
                    <a:lnTo>
                      <a:pt x="6568" y="4451"/>
                    </a:lnTo>
                    <a:lnTo>
                      <a:pt x="6568" y="3665"/>
                    </a:lnTo>
                    <a:lnTo>
                      <a:pt x="7443" y="3665"/>
                    </a:lnTo>
                    <a:lnTo>
                      <a:pt x="7443" y="2880"/>
                    </a:lnTo>
                    <a:lnTo>
                      <a:pt x="9924" y="2880"/>
                    </a:lnTo>
                    <a:lnTo>
                      <a:pt x="9924" y="3665"/>
                    </a:lnTo>
                    <a:lnTo>
                      <a:pt x="10800" y="3665"/>
                    </a:lnTo>
                    <a:lnTo>
                      <a:pt x="10800" y="4451"/>
                    </a:lnTo>
                    <a:lnTo>
                      <a:pt x="9924" y="4451"/>
                    </a:lnTo>
                    <a:lnTo>
                      <a:pt x="9924" y="5105"/>
                    </a:lnTo>
                    <a:lnTo>
                      <a:pt x="9195" y="5105"/>
                    </a:lnTo>
                    <a:lnTo>
                      <a:pt x="9924" y="5105"/>
                    </a:lnTo>
                    <a:lnTo>
                      <a:pt x="9924" y="5891"/>
                    </a:lnTo>
                    <a:lnTo>
                      <a:pt x="9195" y="5891"/>
                    </a:lnTo>
                    <a:lnTo>
                      <a:pt x="9195" y="6676"/>
                    </a:lnTo>
                    <a:lnTo>
                      <a:pt x="9924" y="6676"/>
                    </a:lnTo>
                    <a:lnTo>
                      <a:pt x="9924" y="7462"/>
                    </a:lnTo>
                    <a:lnTo>
                      <a:pt x="13281" y="7462"/>
                    </a:lnTo>
                    <a:lnTo>
                      <a:pt x="13281" y="8116"/>
                    </a:lnTo>
                    <a:lnTo>
                      <a:pt x="14157" y="8116"/>
                    </a:lnTo>
                    <a:lnTo>
                      <a:pt x="14157" y="8902"/>
                    </a:lnTo>
                    <a:lnTo>
                      <a:pt x="13281" y="8902"/>
                    </a:lnTo>
                    <a:lnTo>
                      <a:pt x="14157" y="8902"/>
                    </a:lnTo>
                    <a:lnTo>
                      <a:pt x="14157" y="9687"/>
                    </a:lnTo>
                    <a:lnTo>
                      <a:pt x="15032" y="9687"/>
                    </a:lnTo>
                    <a:lnTo>
                      <a:pt x="15032" y="10342"/>
                    </a:lnTo>
                    <a:lnTo>
                      <a:pt x="15762" y="10342"/>
                    </a:lnTo>
                    <a:lnTo>
                      <a:pt x="16638" y="11127"/>
                    </a:lnTo>
                    <a:lnTo>
                      <a:pt x="17514" y="11127"/>
                    </a:lnTo>
                    <a:lnTo>
                      <a:pt x="18243" y="11913"/>
                    </a:lnTo>
                    <a:lnTo>
                      <a:pt x="18243" y="13353"/>
                    </a:lnTo>
                    <a:lnTo>
                      <a:pt x="19995" y="13353"/>
                    </a:lnTo>
                    <a:lnTo>
                      <a:pt x="19995" y="14138"/>
                    </a:lnTo>
                    <a:lnTo>
                      <a:pt x="20870" y="14138"/>
                    </a:lnTo>
                    <a:lnTo>
                      <a:pt x="20870" y="15578"/>
                    </a:lnTo>
                    <a:lnTo>
                      <a:pt x="21600" y="15578"/>
                    </a:lnTo>
                    <a:lnTo>
                      <a:pt x="20870" y="15578"/>
                    </a:lnTo>
                    <a:lnTo>
                      <a:pt x="20870" y="17149"/>
                    </a:lnTo>
                    <a:lnTo>
                      <a:pt x="21600" y="17149"/>
                    </a:lnTo>
                    <a:lnTo>
                      <a:pt x="20870" y="17149"/>
                    </a:lnTo>
                    <a:lnTo>
                      <a:pt x="20870" y="17935"/>
                    </a:lnTo>
                    <a:lnTo>
                      <a:pt x="20870" y="17149"/>
                    </a:lnTo>
                    <a:lnTo>
                      <a:pt x="19119" y="17149"/>
                    </a:lnTo>
                    <a:lnTo>
                      <a:pt x="19119" y="17935"/>
                    </a:lnTo>
                    <a:lnTo>
                      <a:pt x="17514" y="17935"/>
                    </a:lnTo>
                    <a:lnTo>
                      <a:pt x="17514" y="18589"/>
                    </a:lnTo>
                    <a:lnTo>
                      <a:pt x="14157" y="18589"/>
                    </a:lnTo>
                    <a:lnTo>
                      <a:pt x="14157" y="19375"/>
                    </a:lnTo>
                    <a:lnTo>
                      <a:pt x="13281" y="19375"/>
                    </a:lnTo>
                    <a:lnTo>
                      <a:pt x="13281" y="20815"/>
                    </a:lnTo>
                    <a:lnTo>
                      <a:pt x="11676" y="20815"/>
                    </a:lnTo>
                    <a:lnTo>
                      <a:pt x="11676" y="21600"/>
                    </a:lnTo>
                    <a:lnTo>
                      <a:pt x="9195" y="21600"/>
                    </a:lnTo>
                    <a:lnTo>
                      <a:pt x="9195" y="20815"/>
                    </a:lnTo>
                    <a:lnTo>
                      <a:pt x="8319" y="20815"/>
                    </a:lnTo>
                    <a:lnTo>
                      <a:pt x="8319" y="19375"/>
                    </a:lnTo>
                    <a:lnTo>
                      <a:pt x="6568" y="19375"/>
                    </a:lnTo>
                    <a:lnTo>
                      <a:pt x="6568" y="17935"/>
                    </a:lnTo>
                    <a:lnTo>
                      <a:pt x="5838" y="18589"/>
                    </a:lnTo>
                    <a:lnTo>
                      <a:pt x="5838" y="17935"/>
                    </a:lnTo>
                    <a:lnTo>
                      <a:pt x="4962" y="17935"/>
                    </a:lnTo>
                    <a:lnTo>
                      <a:pt x="4962" y="16364"/>
                    </a:lnTo>
                    <a:lnTo>
                      <a:pt x="4086" y="16364"/>
                    </a:lnTo>
                    <a:lnTo>
                      <a:pt x="4086" y="15578"/>
                    </a:lnTo>
                    <a:lnTo>
                      <a:pt x="3357" y="15578"/>
                    </a:lnTo>
                    <a:lnTo>
                      <a:pt x="4086" y="14924"/>
                    </a:lnTo>
                    <a:lnTo>
                      <a:pt x="4086" y="14138"/>
                    </a:lnTo>
                    <a:lnTo>
                      <a:pt x="4962" y="14138"/>
                    </a:lnTo>
                    <a:lnTo>
                      <a:pt x="4086" y="14138"/>
                    </a:lnTo>
                    <a:lnTo>
                      <a:pt x="4086" y="13353"/>
                    </a:lnTo>
                    <a:lnTo>
                      <a:pt x="4962" y="13353"/>
                    </a:lnTo>
                    <a:lnTo>
                      <a:pt x="4962" y="10342"/>
                    </a:lnTo>
                    <a:lnTo>
                      <a:pt x="4086" y="11127"/>
                    </a:lnTo>
                    <a:lnTo>
                      <a:pt x="4086" y="10342"/>
                    </a:lnTo>
                    <a:lnTo>
                      <a:pt x="2481" y="10342"/>
                    </a:lnTo>
                    <a:lnTo>
                      <a:pt x="2481" y="8902"/>
                    </a:lnTo>
                    <a:lnTo>
                      <a:pt x="1605" y="8902"/>
                    </a:lnTo>
                    <a:lnTo>
                      <a:pt x="1605" y="7462"/>
                    </a:lnTo>
                    <a:lnTo>
                      <a:pt x="730" y="7462"/>
                    </a:lnTo>
                    <a:lnTo>
                      <a:pt x="730" y="6676"/>
                    </a:lnTo>
                    <a:lnTo>
                      <a:pt x="0" y="5891"/>
                    </a:lnTo>
                    <a:lnTo>
                      <a:pt x="730" y="5891"/>
                    </a:lnTo>
                    <a:lnTo>
                      <a:pt x="730" y="4451"/>
                    </a:lnTo>
                    <a:lnTo>
                      <a:pt x="1605" y="4451"/>
                    </a:lnTo>
                    <a:lnTo>
                      <a:pt x="730" y="3665"/>
                    </a:lnTo>
                    <a:lnTo>
                      <a:pt x="1605" y="2880"/>
                    </a:lnTo>
                    <a:lnTo>
                      <a:pt x="1605" y="2225"/>
                    </a:lnTo>
                    <a:lnTo>
                      <a:pt x="2481" y="2225"/>
                    </a:lnTo>
                    <a:lnTo>
                      <a:pt x="2481" y="1440"/>
                    </a:lnTo>
                    <a:lnTo>
                      <a:pt x="1605" y="1440"/>
                    </a:lnTo>
                    <a:lnTo>
                      <a:pt x="2481" y="1440"/>
                    </a:lnTo>
                    <a:lnTo>
                      <a:pt x="2481" y="655"/>
                    </a:lnTo>
                    <a:lnTo>
                      <a:pt x="3357" y="655"/>
                    </a:lnTo>
                    <a:lnTo>
                      <a:pt x="3357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/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97" name="Shape 3023"/>
              <p:cNvSpPr/>
              <p:nvPr/>
            </p:nvSpPr>
            <p:spPr>
              <a:xfrm>
                <a:off x="7278733" y="4503500"/>
                <a:ext cx="239749" cy="15742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190" y="21600"/>
                    </a:moveTo>
                    <a:lnTo>
                      <a:pt x="11190" y="20411"/>
                    </a:lnTo>
                    <a:lnTo>
                      <a:pt x="11841" y="21600"/>
                    </a:lnTo>
                    <a:lnTo>
                      <a:pt x="11841" y="20411"/>
                    </a:lnTo>
                    <a:lnTo>
                      <a:pt x="12622" y="21600"/>
                    </a:lnTo>
                    <a:lnTo>
                      <a:pt x="13402" y="21600"/>
                    </a:lnTo>
                    <a:lnTo>
                      <a:pt x="13402" y="18231"/>
                    </a:lnTo>
                    <a:lnTo>
                      <a:pt x="14053" y="18231"/>
                    </a:lnTo>
                    <a:lnTo>
                      <a:pt x="14053" y="17042"/>
                    </a:lnTo>
                    <a:lnTo>
                      <a:pt x="14834" y="18231"/>
                    </a:lnTo>
                    <a:lnTo>
                      <a:pt x="16395" y="18231"/>
                    </a:lnTo>
                    <a:lnTo>
                      <a:pt x="16395" y="19222"/>
                    </a:lnTo>
                    <a:lnTo>
                      <a:pt x="17827" y="19222"/>
                    </a:lnTo>
                    <a:lnTo>
                      <a:pt x="17827" y="18231"/>
                    </a:lnTo>
                    <a:lnTo>
                      <a:pt x="18607" y="18231"/>
                    </a:lnTo>
                    <a:lnTo>
                      <a:pt x="18607" y="17042"/>
                    </a:lnTo>
                    <a:lnTo>
                      <a:pt x="19258" y="17042"/>
                    </a:lnTo>
                    <a:lnTo>
                      <a:pt x="18607" y="17042"/>
                    </a:lnTo>
                    <a:lnTo>
                      <a:pt x="18607" y="15853"/>
                    </a:lnTo>
                    <a:lnTo>
                      <a:pt x="19258" y="15853"/>
                    </a:lnTo>
                    <a:lnTo>
                      <a:pt x="19258" y="14664"/>
                    </a:lnTo>
                    <a:lnTo>
                      <a:pt x="19258" y="15853"/>
                    </a:lnTo>
                    <a:lnTo>
                      <a:pt x="20039" y="15853"/>
                    </a:lnTo>
                    <a:lnTo>
                      <a:pt x="20039" y="14664"/>
                    </a:lnTo>
                    <a:lnTo>
                      <a:pt x="20819" y="14664"/>
                    </a:lnTo>
                    <a:lnTo>
                      <a:pt x="20819" y="15853"/>
                    </a:lnTo>
                    <a:lnTo>
                      <a:pt x="20819" y="14664"/>
                    </a:lnTo>
                    <a:lnTo>
                      <a:pt x="20819" y="15853"/>
                    </a:lnTo>
                    <a:lnTo>
                      <a:pt x="21600" y="15853"/>
                    </a:lnTo>
                    <a:lnTo>
                      <a:pt x="21600" y="14664"/>
                    </a:lnTo>
                    <a:lnTo>
                      <a:pt x="20819" y="14664"/>
                    </a:lnTo>
                    <a:lnTo>
                      <a:pt x="20819" y="13673"/>
                    </a:lnTo>
                    <a:lnTo>
                      <a:pt x="21600" y="13673"/>
                    </a:lnTo>
                    <a:lnTo>
                      <a:pt x="20819" y="13673"/>
                    </a:lnTo>
                    <a:lnTo>
                      <a:pt x="20819" y="11295"/>
                    </a:lnTo>
                    <a:lnTo>
                      <a:pt x="19258" y="11295"/>
                    </a:lnTo>
                    <a:lnTo>
                      <a:pt x="19258" y="12484"/>
                    </a:lnTo>
                    <a:lnTo>
                      <a:pt x="18607" y="12484"/>
                    </a:lnTo>
                    <a:lnTo>
                      <a:pt x="18607" y="11295"/>
                    </a:lnTo>
                    <a:lnTo>
                      <a:pt x="19258" y="11295"/>
                    </a:lnTo>
                    <a:lnTo>
                      <a:pt x="19258" y="10305"/>
                    </a:lnTo>
                    <a:lnTo>
                      <a:pt x="20039" y="10305"/>
                    </a:lnTo>
                    <a:lnTo>
                      <a:pt x="19258" y="10305"/>
                    </a:lnTo>
                    <a:lnTo>
                      <a:pt x="19258" y="11295"/>
                    </a:lnTo>
                    <a:lnTo>
                      <a:pt x="18607" y="11295"/>
                    </a:lnTo>
                    <a:lnTo>
                      <a:pt x="18607" y="12484"/>
                    </a:lnTo>
                    <a:lnTo>
                      <a:pt x="17827" y="12484"/>
                    </a:lnTo>
                    <a:lnTo>
                      <a:pt x="17827" y="11295"/>
                    </a:lnTo>
                    <a:lnTo>
                      <a:pt x="17046" y="11295"/>
                    </a:lnTo>
                    <a:lnTo>
                      <a:pt x="17046" y="10305"/>
                    </a:lnTo>
                    <a:lnTo>
                      <a:pt x="17827" y="10305"/>
                    </a:lnTo>
                    <a:lnTo>
                      <a:pt x="17827" y="9116"/>
                    </a:lnTo>
                    <a:lnTo>
                      <a:pt x="18607" y="9116"/>
                    </a:lnTo>
                    <a:lnTo>
                      <a:pt x="18607" y="6738"/>
                    </a:lnTo>
                    <a:lnTo>
                      <a:pt x="17827" y="7927"/>
                    </a:lnTo>
                    <a:lnTo>
                      <a:pt x="16395" y="5747"/>
                    </a:lnTo>
                    <a:lnTo>
                      <a:pt x="16395" y="6738"/>
                    </a:lnTo>
                    <a:lnTo>
                      <a:pt x="15614" y="6738"/>
                    </a:lnTo>
                    <a:lnTo>
                      <a:pt x="15614" y="5747"/>
                    </a:lnTo>
                    <a:lnTo>
                      <a:pt x="14834" y="5747"/>
                    </a:lnTo>
                    <a:lnTo>
                      <a:pt x="14834" y="2378"/>
                    </a:lnTo>
                    <a:lnTo>
                      <a:pt x="14053" y="2378"/>
                    </a:lnTo>
                    <a:lnTo>
                      <a:pt x="14053" y="1189"/>
                    </a:lnTo>
                    <a:lnTo>
                      <a:pt x="14053" y="2378"/>
                    </a:lnTo>
                    <a:lnTo>
                      <a:pt x="13402" y="2378"/>
                    </a:lnTo>
                    <a:lnTo>
                      <a:pt x="13402" y="4558"/>
                    </a:lnTo>
                    <a:lnTo>
                      <a:pt x="12622" y="4558"/>
                    </a:lnTo>
                    <a:lnTo>
                      <a:pt x="11841" y="3369"/>
                    </a:lnTo>
                    <a:lnTo>
                      <a:pt x="11841" y="4558"/>
                    </a:lnTo>
                    <a:lnTo>
                      <a:pt x="11190" y="4558"/>
                    </a:lnTo>
                    <a:lnTo>
                      <a:pt x="11190" y="3369"/>
                    </a:lnTo>
                    <a:lnTo>
                      <a:pt x="8848" y="3369"/>
                    </a:lnTo>
                    <a:lnTo>
                      <a:pt x="8848" y="2378"/>
                    </a:lnTo>
                    <a:lnTo>
                      <a:pt x="6636" y="2378"/>
                    </a:lnTo>
                    <a:lnTo>
                      <a:pt x="6636" y="1189"/>
                    </a:lnTo>
                    <a:lnTo>
                      <a:pt x="5986" y="1189"/>
                    </a:lnTo>
                    <a:lnTo>
                      <a:pt x="5986" y="2378"/>
                    </a:lnTo>
                    <a:lnTo>
                      <a:pt x="5205" y="2378"/>
                    </a:lnTo>
                    <a:lnTo>
                      <a:pt x="5205" y="1189"/>
                    </a:lnTo>
                    <a:lnTo>
                      <a:pt x="4424" y="1189"/>
                    </a:lnTo>
                    <a:lnTo>
                      <a:pt x="4424" y="0"/>
                    </a:lnTo>
                    <a:lnTo>
                      <a:pt x="3643" y="1189"/>
                    </a:lnTo>
                    <a:lnTo>
                      <a:pt x="2212" y="1189"/>
                    </a:lnTo>
                    <a:lnTo>
                      <a:pt x="2212" y="2378"/>
                    </a:lnTo>
                    <a:lnTo>
                      <a:pt x="1431" y="1189"/>
                    </a:lnTo>
                    <a:lnTo>
                      <a:pt x="1431" y="2378"/>
                    </a:lnTo>
                    <a:lnTo>
                      <a:pt x="1431" y="1189"/>
                    </a:lnTo>
                    <a:lnTo>
                      <a:pt x="781" y="2378"/>
                    </a:lnTo>
                    <a:lnTo>
                      <a:pt x="1431" y="2378"/>
                    </a:lnTo>
                    <a:lnTo>
                      <a:pt x="0" y="2378"/>
                    </a:lnTo>
                    <a:lnTo>
                      <a:pt x="0" y="3369"/>
                    </a:lnTo>
                    <a:lnTo>
                      <a:pt x="1431" y="3369"/>
                    </a:lnTo>
                    <a:lnTo>
                      <a:pt x="1431" y="4558"/>
                    </a:lnTo>
                    <a:lnTo>
                      <a:pt x="2212" y="4558"/>
                    </a:lnTo>
                    <a:lnTo>
                      <a:pt x="2212" y="5747"/>
                    </a:lnTo>
                    <a:lnTo>
                      <a:pt x="1431" y="5747"/>
                    </a:lnTo>
                    <a:lnTo>
                      <a:pt x="1431" y="6738"/>
                    </a:lnTo>
                    <a:lnTo>
                      <a:pt x="781" y="6738"/>
                    </a:lnTo>
                    <a:lnTo>
                      <a:pt x="1431" y="6738"/>
                    </a:lnTo>
                    <a:lnTo>
                      <a:pt x="1431" y="7927"/>
                    </a:lnTo>
                    <a:lnTo>
                      <a:pt x="781" y="7927"/>
                    </a:lnTo>
                    <a:lnTo>
                      <a:pt x="781" y="9116"/>
                    </a:lnTo>
                    <a:lnTo>
                      <a:pt x="1431" y="9116"/>
                    </a:lnTo>
                    <a:lnTo>
                      <a:pt x="1431" y="10305"/>
                    </a:lnTo>
                    <a:lnTo>
                      <a:pt x="4424" y="10305"/>
                    </a:lnTo>
                    <a:lnTo>
                      <a:pt x="4424" y="11295"/>
                    </a:lnTo>
                    <a:lnTo>
                      <a:pt x="5205" y="11295"/>
                    </a:lnTo>
                    <a:lnTo>
                      <a:pt x="5205" y="12484"/>
                    </a:lnTo>
                    <a:lnTo>
                      <a:pt x="4424" y="12484"/>
                    </a:lnTo>
                    <a:lnTo>
                      <a:pt x="5205" y="12484"/>
                    </a:lnTo>
                    <a:lnTo>
                      <a:pt x="5205" y="13673"/>
                    </a:lnTo>
                    <a:lnTo>
                      <a:pt x="5986" y="13673"/>
                    </a:lnTo>
                    <a:lnTo>
                      <a:pt x="5986" y="14664"/>
                    </a:lnTo>
                    <a:lnTo>
                      <a:pt x="6636" y="14664"/>
                    </a:lnTo>
                    <a:lnTo>
                      <a:pt x="7417" y="15853"/>
                    </a:lnTo>
                    <a:lnTo>
                      <a:pt x="8198" y="15853"/>
                    </a:lnTo>
                    <a:lnTo>
                      <a:pt x="8848" y="17042"/>
                    </a:lnTo>
                    <a:lnTo>
                      <a:pt x="8848" y="19222"/>
                    </a:lnTo>
                    <a:lnTo>
                      <a:pt x="10410" y="19222"/>
                    </a:lnTo>
                    <a:lnTo>
                      <a:pt x="10410" y="20411"/>
                    </a:lnTo>
                    <a:lnTo>
                      <a:pt x="11190" y="20411"/>
                    </a:lnTo>
                    <a:lnTo>
                      <a:pt x="11190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98" name="Shape 3024"/>
              <p:cNvSpPr/>
              <p:nvPr/>
            </p:nvSpPr>
            <p:spPr>
              <a:xfrm>
                <a:off x="7361056" y="4387959"/>
                <a:ext cx="421726" cy="23974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619" y="19388"/>
                    </a:moveTo>
                    <a:lnTo>
                      <a:pt x="8063" y="20039"/>
                    </a:lnTo>
                    <a:lnTo>
                      <a:pt x="9321" y="20039"/>
                    </a:lnTo>
                    <a:lnTo>
                      <a:pt x="9321" y="20819"/>
                    </a:lnTo>
                    <a:lnTo>
                      <a:pt x="9690" y="20039"/>
                    </a:lnTo>
                    <a:lnTo>
                      <a:pt x="11392" y="20039"/>
                    </a:lnTo>
                    <a:lnTo>
                      <a:pt x="11392" y="19388"/>
                    </a:lnTo>
                    <a:lnTo>
                      <a:pt x="11836" y="18607"/>
                    </a:lnTo>
                    <a:lnTo>
                      <a:pt x="11836" y="17827"/>
                    </a:lnTo>
                    <a:lnTo>
                      <a:pt x="12649" y="17827"/>
                    </a:lnTo>
                    <a:lnTo>
                      <a:pt x="13093" y="18607"/>
                    </a:lnTo>
                    <a:lnTo>
                      <a:pt x="13093" y="19388"/>
                    </a:lnTo>
                    <a:lnTo>
                      <a:pt x="13537" y="19388"/>
                    </a:lnTo>
                    <a:lnTo>
                      <a:pt x="13537" y="20819"/>
                    </a:lnTo>
                    <a:lnTo>
                      <a:pt x="13981" y="20819"/>
                    </a:lnTo>
                    <a:lnTo>
                      <a:pt x="13981" y="20039"/>
                    </a:lnTo>
                    <a:lnTo>
                      <a:pt x="13981" y="20819"/>
                    </a:lnTo>
                    <a:lnTo>
                      <a:pt x="14351" y="20039"/>
                    </a:lnTo>
                    <a:lnTo>
                      <a:pt x="14795" y="20819"/>
                    </a:lnTo>
                    <a:lnTo>
                      <a:pt x="15682" y="21600"/>
                    </a:lnTo>
                    <a:lnTo>
                      <a:pt x="15682" y="20819"/>
                    </a:lnTo>
                    <a:lnTo>
                      <a:pt x="16052" y="20819"/>
                    </a:lnTo>
                    <a:lnTo>
                      <a:pt x="16052" y="20039"/>
                    </a:lnTo>
                    <a:lnTo>
                      <a:pt x="16496" y="20039"/>
                    </a:lnTo>
                    <a:lnTo>
                      <a:pt x="16496" y="19388"/>
                    </a:lnTo>
                    <a:lnTo>
                      <a:pt x="17310" y="19388"/>
                    </a:lnTo>
                    <a:lnTo>
                      <a:pt x="17310" y="18607"/>
                    </a:lnTo>
                    <a:lnTo>
                      <a:pt x="18197" y="18607"/>
                    </a:lnTo>
                    <a:lnTo>
                      <a:pt x="18641" y="19388"/>
                    </a:lnTo>
                    <a:lnTo>
                      <a:pt x="18641" y="17827"/>
                    </a:lnTo>
                    <a:lnTo>
                      <a:pt x="19011" y="18607"/>
                    </a:lnTo>
                    <a:lnTo>
                      <a:pt x="19455" y="17827"/>
                    </a:lnTo>
                    <a:lnTo>
                      <a:pt x="19455" y="18607"/>
                    </a:lnTo>
                    <a:lnTo>
                      <a:pt x="19899" y="18607"/>
                    </a:lnTo>
                    <a:lnTo>
                      <a:pt x="19899" y="17176"/>
                    </a:lnTo>
                    <a:lnTo>
                      <a:pt x="20268" y="17176"/>
                    </a:lnTo>
                    <a:lnTo>
                      <a:pt x="20268" y="17827"/>
                    </a:lnTo>
                    <a:lnTo>
                      <a:pt x="20712" y="17827"/>
                    </a:lnTo>
                    <a:lnTo>
                      <a:pt x="20712" y="17176"/>
                    </a:lnTo>
                    <a:lnTo>
                      <a:pt x="21156" y="17176"/>
                    </a:lnTo>
                    <a:lnTo>
                      <a:pt x="21156" y="16395"/>
                    </a:lnTo>
                    <a:lnTo>
                      <a:pt x="20712" y="16395"/>
                    </a:lnTo>
                    <a:lnTo>
                      <a:pt x="21156" y="15614"/>
                    </a:lnTo>
                    <a:lnTo>
                      <a:pt x="20712" y="15614"/>
                    </a:lnTo>
                    <a:lnTo>
                      <a:pt x="20712" y="14183"/>
                    </a:lnTo>
                    <a:lnTo>
                      <a:pt x="21156" y="14183"/>
                    </a:lnTo>
                    <a:lnTo>
                      <a:pt x="21156" y="13402"/>
                    </a:lnTo>
                    <a:lnTo>
                      <a:pt x="20712" y="12622"/>
                    </a:lnTo>
                    <a:lnTo>
                      <a:pt x="21600" y="11190"/>
                    </a:lnTo>
                    <a:lnTo>
                      <a:pt x="20712" y="10410"/>
                    </a:lnTo>
                    <a:lnTo>
                      <a:pt x="20268" y="10410"/>
                    </a:lnTo>
                    <a:lnTo>
                      <a:pt x="19899" y="9759"/>
                    </a:lnTo>
                    <a:lnTo>
                      <a:pt x="19455" y="10410"/>
                    </a:lnTo>
                    <a:lnTo>
                      <a:pt x="19011" y="11971"/>
                    </a:lnTo>
                    <a:lnTo>
                      <a:pt x="18641" y="11190"/>
                    </a:lnTo>
                    <a:lnTo>
                      <a:pt x="18197" y="11190"/>
                    </a:lnTo>
                    <a:lnTo>
                      <a:pt x="17753" y="11971"/>
                    </a:lnTo>
                    <a:lnTo>
                      <a:pt x="17310" y="11190"/>
                    </a:lnTo>
                    <a:lnTo>
                      <a:pt x="16940" y="11190"/>
                    </a:lnTo>
                    <a:lnTo>
                      <a:pt x="16496" y="10410"/>
                    </a:lnTo>
                    <a:lnTo>
                      <a:pt x="16052" y="10410"/>
                    </a:lnTo>
                    <a:lnTo>
                      <a:pt x="15682" y="9759"/>
                    </a:lnTo>
                    <a:lnTo>
                      <a:pt x="15682" y="10410"/>
                    </a:lnTo>
                    <a:lnTo>
                      <a:pt x="13981" y="8198"/>
                    </a:lnTo>
                    <a:lnTo>
                      <a:pt x="13537" y="7417"/>
                    </a:lnTo>
                    <a:lnTo>
                      <a:pt x="13981" y="7417"/>
                    </a:lnTo>
                    <a:lnTo>
                      <a:pt x="13981" y="6766"/>
                    </a:lnTo>
                    <a:lnTo>
                      <a:pt x="13093" y="6766"/>
                    </a:lnTo>
                    <a:lnTo>
                      <a:pt x="13093" y="5986"/>
                    </a:lnTo>
                    <a:lnTo>
                      <a:pt x="12649" y="5205"/>
                    </a:lnTo>
                    <a:lnTo>
                      <a:pt x="12649" y="5986"/>
                    </a:lnTo>
                    <a:lnTo>
                      <a:pt x="12279" y="5986"/>
                    </a:lnTo>
                    <a:lnTo>
                      <a:pt x="12279" y="5205"/>
                    </a:lnTo>
                    <a:lnTo>
                      <a:pt x="12649" y="5205"/>
                    </a:lnTo>
                    <a:lnTo>
                      <a:pt x="12279" y="5205"/>
                    </a:lnTo>
                    <a:lnTo>
                      <a:pt x="12649" y="5205"/>
                    </a:lnTo>
                    <a:lnTo>
                      <a:pt x="12649" y="4554"/>
                    </a:lnTo>
                    <a:lnTo>
                      <a:pt x="11836" y="4554"/>
                    </a:lnTo>
                    <a:lnTo>
                      <a:pt x="11836" y="5205"/>
                    </a:lnTo>
                    <a:lnTo>
                      <a:pt x="11836" y="3773"/>
                    </a:lnTo>
                    <a:lnTo>
                      <a:pt x="11392" y="4554"/>
                    </a:lnTo>
                    <a:lnTo>
                      <a:pt x="11392" y="3773"/>
                    </a:lnTo>
                    <a:lnTo>
                      <a:pt x="11392" y="4554"/>
                    </a:lnTo>
                    <a:lnTo>
                      <a:pt x="11022" y="4554"/>
                    </a:lnTo>
                    <a:lnTo>
                      <a:pt x="11022" y="3773"/>
                    </a:lnTo>
                    <a:lnTo>
                      <a:pt x="11022" y="4554"/>
                    </a:lnTo>
                    <a:lnTo>
                      <a:pt x="10578" y="4554"/>
                    </a:lnTo>
                    <a:lnTo>
                      <a:pt x="10578" y="2212"/>
                    </a:lnTo>
                    <a:lnTo>
                      <a:pt x="10134" y="1561"/>
                    </a:lnTo>
                    <a:lnTo>
                      <a:pt x="9690" y="1561"/>
                    </a:lnTo>
                    <a:lnTo>
                      <a:pt x="9690" y="2212"/>
                    </a:lnTo>
                    <a:lnTo>
                      <a:pt x="9690" y="781"/>
                    </a:lnTo>
                    <a:lnTo>
                      <a:pt x="10134" y="781"/>
                    </a:lnTo>
                    <a:lnTo>
                      <a:pt x="9690" y="0"/>
                    </a:lnTo>
                    <a:lnTo>
                      <a:pt x="9321" y="0"/>
                    </a:lnTo>
                    <a:lnTo>
                      <a:pt x="9321" y="781"/>
                    </a:lnTo>
                    <a:lnTo>
                      <a:pt x="8877" y="781"/>
                    </a:lnTo>
                    <a:lnTo>
                      <a:pt x="9321" y="1561"/>
                    </a:lnTo>
                    <a:lnTo>
                      <a:pt x="8877" y="2212"/>
                    </a:lnTo>
                    <a:lnTo>
                      <a:pt x="8063" y="2212"/>
                    </a:lnTo>
                    <a:lnTo>
                      <a:pt x="8063" y="1561"/>
                    </a:lnTo>
                    <a:lnTo>
                      <a:pt x="6362" y="1561"/>
                    </a:lnTo>
                    <a:lnTo>
                      <a:pt x="6362" y="2212"/>
                    </a:lnTo>
                    <a:lnTo>
                      <a:pt x="5918" y="2212"/>
                    </a:lnTo>
                    <a:lnTo>
                      <a:pt x="5918" y="2993"/>
                    </a:lnTo>
                    <a:lnTo>
                      <a:pt x="5474" y="2993"/>
                    </a:lnTo>
                    <a:lnTo>
                      <a:pt x="5474" y="3773"/>
                    </a:lnTo>
                    <a:lnTo>
                      <a:pt x="5104" y="2993"/>
                    </a:lnTo>
                    <a:lnTo>
                      <a:pt x="5104" y="3773"/>
                    </a:lnTo>
                    <a:lnTo>
                      <a:pt x="4660" y="3773"/>
                    </a:lnTo>
                    <a:lnTo>
                      <a:pt x="4660" y="5986"/>
                    </a:lnTo>
                    <a:lnTo>
                      <a:pt x="3403" y="5986"/>
                    </a:lnTo>
                    <a:lnTo>
                      <a:pt x="3403" y="6766"/>
                    </a:lnTo>
                    <a:lnTo>
                      <a:pt x="2959" y="6766"/>
                    </a:lnTo>
                    <a:lnTo>
                      <a:pt x="2515" y="7417"/>
                    </a:lnTo>
                    <a:lnTo>
                      <a:pt x="2145" y="7417"/>
                    </a:lnTo>
                    <a:lnTo>
                      <a:pt x="2145" y="8198"/>
                    </a:lnTo>
                    <a:lnTo>
                      <a:pt x="1701" y="8198"/>
                    </a:lnTo>
                    <a:lnTo>
                      <a:pt x="1701" y="8978"/>
                    </a:lnTo>
                    <a:lnTo>
                      <a:pt x="1701" y="8198"/>
                    </a:lnTo>
                    <a:lnTo>
                      <a:pt x="1701" y="8978"/>
                    </a:lnTo>
                    <a:lnTo>
                      <a:pt x="1258" y="8978"/>
                    </a:lnTo>
                    <a:lnTo>
                      <a:pt x="1258" y="9759"/>
                    </a:lnTo>
                    <a:lnTo>
                      <a:pt x="814" y="9759"/>
                    </a:lnTo>
                    <a:lnTo>
                      <a:pt x="444" y="10410"/>
                    </a:lnTo>
                    <a:lnTo>
                      <a:pt x="444" y="9759"/>
                    </a:lnTo>
                    <a:lnTo>
                      <a:pt x="444" y="10410"/>
                    </a:lnTo>
                    <a:lnTo>
                      <a:pt x="0" y="10410"/>
                    </a:lnTo>
                    <a:lnTo>
                      <a:pt x="0" y="11971"/>
                    </a:lnTo>
                    <a:lnTo>
                      <a:pt x="814" y="11971"/>
                    </a:lnTo>
                    <a:lnTo>
                      <a:pt x="814" y="12622"/>
                    </a:lnTo>
                    <a:lnTo>
                      <a:pt x="2145" y="12622"/>
                    </a:lnTo>
                    <a:lnTo>
                      <a:pt x="2145" y="13402"/>
                    </a:lnTo>
                    <a:lnTo>
                      <a:pt x="2515" y="13402"/>
                    </a:lnTo>
                    <a:lnTo>
                      <a:pt x="2515" y="12622"/>
                    </a:lnTo>
                    <a:lnTo>
                      <a:pt x="2959" y="13402"/>
                    </a:lnTo>
                    <a:lnTo>
                      <a:pt x="3403" y="13402"/>
                    </a:lnTo>
                    <a:lnTo>
                      <a:pt x="3403" y="11971"/>
                    </a:lnTo>
                    <a:lnTo>
                      <a:pt x="3773" y="11971"/>
                    </a:lnTo>
                    <a:lnTo>
                      <a:pt x="3773" y="11190"/>
                    </a:lnTo>
                    <a:lnTo>
                      <a:pt x="3773" y="11971"/>
                    </a:lnTo>
                    <a:lnTo>
                      <a:pt x="4216" y="11971"/>
                    </a:lnTo>
                    <a:lnTo>
                      <a:pt x="4216" y="14183"/>
                    </a:lnTo>
                    <a:lnTo>
                      <a:pt x="4660" y="14183"/>
                    </a:lnTo>
                    <a:lnTo>
                      <a:pt x="4660" y="14834"/>
                    </a:lnTo>
                    <a:lnTo>
                      <a:pt x="5104" y="14834"/>
                    </a:lnTo>
                    <a:lnTo>
                      <a:pt x="5104" y="14183"/>
                    </a:lnTo>
                    <a:lnTo>
                      <a:pt x="5918" y="15614"/>
                    </a:lnTo>
                    <a:lnTo>
                      <a:pt x="6362" y="14834"/>
                    </a:lnTo>
                    <a:lnTo>
                      <a:pt x="6362" y="16395"/>
                    </a:lnTo>
                    <a:lnTo>
                      <a:pt x="5918" y="16395"/>
                    </a:lnTo>
                    <a:lnTo>
                      <a:pt x="5918" y="17176"/>
                    </a:lnTo>
                    <a:lnTo>
                      <a:pt x="5474" y="17176"/>
                    </a:lnTo>
                    <a:lnTo>
                      <a:pt x="5474" y="17827"/>
                    </a:lnTo>
                    <a:lnTo>
                      <a:pt x="5918" y="17827"/>
                    </a:lnTo>
                    <a:lnTo>
                      <a:pt x="5918" y="18607"/>
                    </a:lnTo>
                    <a:lnTo>
                      <a:pt x="6362" y="18607"/>
                    </a:lnTo>
                    <a:lnTo>
                      <a:pt x="6362" y="17827"/>
                    </a:lnTo>
                    <a:lnTo>
                      <a:pt x="6732" y="17827"/>
                    </a:lnTo>
                    <a:lnTo>
                      <a:pt x="6732" y="17176"/>
                    </a:lnTo>
                    <a:lnTo>
                      <a:pt x="7175" y="17176"/>
                    </a:lnTo>
                    <a:lnTo>
                      <a:pt x="6732" y="17176"/>
                    </a:lnTo>
                    <a:lnTo>
                      <a:pt x="6732" y="17827"/>
                    </a:lnTo>
                    <a:lnTo>
                      <a:pt x="6362" y="17827"/>
                    </a:lnTo>
                    <a:lnTo>
                      <a:pt x="6362" y="18607"/>
                    </a:lnTo>
                    <a:lnTo>
                      <a:pt x="6732" y="18607"/>
                    </a:lnTo>
                    <a:lnTo>
                      <a:pt x="6732" y="17827"/>
                    </a:lnTo>
                    <a:lnTo>
                      <a:pt x="7619" y="17827"/>
                    </a:lnTo>
                    <a:lnTo>
                      <a:pt x="7619" y="19388"/>
                    </a:lnTo>
                    <a:lnTo>
                      <a:pt x="8063" y="19388"/>
                    </a:lnTo>
                    <a:lnTo>
                      <a:pt x="7619" y="1938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699" name="Shape 3025"/>
              <p:cNvSpPr/>
              <p:nvPr/>
            </p:nvSpPr>
            <p:spPr>
              <a:xfrm>
                <a:off x="7229628" y="4050002"/>
                <a:ext cx="618146" cy="4708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148" y="795"/>
                    </a:moveTo>
                    <a:lnTo>
                      <a:pt x="4290" y="795"/>
                    </a:lnTo>
                    <a:lnTo>
                      <a:pt x="4290" y="1126"/>
                    </a:lnTo>
                    <a:lnTo>
                      <a:pt x="4037" y="1524"/>
                    </a:lnTo>
                    <a:lnTo>
                      <a:pt x="4037" y="1921"/>
                    </a:lnTo>
                    <a:lnTo>
                      <a:pt x="3735" y="1921"/>
                    </a:lnTo>
                    <a:lnTo>
                      <a:pt x="3735" y="2253"/>
                    </a:lnTo>
                    <a:lnTo>
                      <a:pt x="3432" y="2253"/>
                    </a:lnTo>
                    <a:lnTo>
                      <a:pt x="3432" y="2650"/>
                    </a:lnTo>
                    <a:lnTo>
                      <a:pt x="3129" y="2650"/>
                    </a:lnTo>
                    <a:lnTo>
                      <a:pt x="3129" y="3048"/>
                    </a:lnTo>
                    <a:lnTo>
                      <a:pt x="2877" y="3048"/>
                    </a:lnTo>
                    <a:lnTo>
                      <a:pt x="2877" y="3445"/>
                    </a:lnTo>
                    <a:lnTo>
                      <a:pt x="2574" y="3445"/>
                    </a:lnTo>
                    <a:lnTo>
                      <a:pt x="2877" y="3777"/>
                    </a:lnTo>
                    <a:lnTo>
                      <a:pt x="2574" y="3777"/>
                    </a:lnTo>
                    <a:lnTo>
                      <a:pt x="2877" y="4174"/>
                    </a:lnTo>
                    <a:lnTo>
                      <a:pt x="2877" y="4572"/>
                    </a:lnTo>
                    <a:lnTo>
                      <a:pt x="2877" y="4174"/>
                    </a:lnTo>
                    <a:lnTo>
                      <a:pt x="2574" y="4174"/>
                    </a:lnTo>
                    <a:lnTo>
                      <a:pt x="2574" y="4572"/>
                    </a:lnTo>
                    <a:lnTo>
                      <a:pt x="2271" y="4572"/>
                    </a:lnTo>
                    <a:lnTo>
                      <a:pt x="2271" y="5301"/>
                    </a:lnTo>
                    <a:lnTo>
                      <a:pt x="2574" y="5301"/>
                    </a:lnTo>
                    <a:lnTo>
                      <a:pt x="2574" y="5698"/>
                    </a:lnTo>
                    <a:lnTo>
                      <a:pt x="2271" y="5698"/>
                    </a:lnTo>
                    <a:lnTo>
                      <a:pt x="2271" y="5301"/>
                    </a:lnTo>
                    <a:lnTo>
                      <a:pt x="2271" y="5698"/>
                    </a:lnTo>
                    <a:lnTo>
                      <a:pt x="1716" y="5698"/>
                    </a:lnTo>
                    <a:lnTo>
                      <a:pt x="1716" y="6427"/>
                    </a:lnTo>
                    <a:lnTo>
                      <a:pt x="1413" y="6427"/>
                    </a:lnTo>
                    <a:lnTo>
                      <a:pt x="1413" y="6096"/>
                    </a:lnTo>
                    <a:lnTo>
                      <a:pt x="1413" y="6427"/>
                    </a:lnTo>
                    <a:lnTo>
                      <a:pt x="1413" y="6096"/>
                    </a:lnTo>
                    <a:lnTo>
                      <a:pt x="1110" y="6427"/>
                    </a:lnTo>
                    <a:lnTo>
                      <a:pt x="1413" y="6427"/>
                    </a:lnTo>
                    <a:lnTo>
                      <a:pt x="858" y="6427"/>
                    </a:lnTo>
                    <a:lnTo>
                      <a:pt x="555" y="6096"/>
                    </a:lnTo>
                    <a:lnTo>
                      <a:pt x="252" y="6096"/>
                    </a:lnTo>
                    <a:lnTo>
                      <a:pt x="252" y="6427"/>
                    </a:lnTo>
                    <a:lnTo>
                      <a:pt x="0" y="6427"/>
                    </a:lnTo>
                    <a:lnTo>
                      <a:pt x="0" y="7553"/>
                    </a:lnTo>
                    <a:lnTo>
                      <a:pt x="252" y="7553"/>
                    </a:lnTo>
                    <a:lnTo>
                      <a:pt x="0" y="7553"/>
                    </a:lnTo>
                    <a:lnTo>
                      <a:pt x="0" y="8348"/>
                    </a:lnTo>
                    <a:lnTo>
                      <a:pt x="555" y="8348"/>
                    </a:lnTo>
                    <a:lnTo>
                      <a:pt x="555" y="8746"/>
                    </a:lnTo>
                    <a:lnTo>
                      <a:pt x="858" y="8746"/>
                    </a:lnTo>
                    <a:lnTo>
                      <a:pt x="858" y="9077"/>
                    </a:lnTo>
                    <a:lnTo>
                      <a:pt x="555" y="9077"/>
                    </a:lnTo>
                    <a:lnTo>
                      <a:pt x="858" y="9077"/>
                    </a:lnTo>
                    <a:lnTo>
                      <a:pt x="858" y="9872"/>
                    </a:lnTo>
                    <a:lnTo>
                      <a:pt x="1110" y="9872"/>
                    </a:lnTo>
                    <a:lnTo>
                      <a:pt x="858" y="9872"/>
                    </a:lnTo>
                    <a:lnTo>
                      <a:pt x="858" y="10999"/>
                    </a:lnTo>
                    <a:lnTo>
                      <a:pt x="1716" y="10999"/>
                    </a:lnTo>
                    <a:lnTo>
                      <a:pt x="1716" y="10601"/>
                    </a:lnTo>
                    <a:lnTo>
                      <a:pt x="2877" y="10601"/>
                    </a:lnTo>
                    <a:lnTo>
                      <a:pt x="2877" y="10999"/>
                    </a:lnTo>
                    <a:lnTo>
                      <a:pt x="2574" y="11330"/>
                    </a:lnTo>
                    <a:lnTo>
                      <a:pt x="2574" y="12523"/>
                    </a:lnTo>
                    <a:lnTo>
                      <a:pt x="2877" y="12854"/>
                    </a:lnTo>
                    <a:lnTo>
                      <a:pt x="2574" y="12854"/>
                    </a:lnTo>
                    <a:lnTo>
                      <a:pt x="3129" y="12854"/>
                    </a:lnTo>
                    <a:lnTo>
                      <a:pt x="3432" y="12523"/>
                    </a:lnTo>
                    <a:lnTo>
                      <a:pt x="4037" y="12854"/>
                    </a:lnTo>
                    <a:lnTo>
                      <a:pt x="4290" y="13252"/>
                    </a:lnTo>
                    <a:lnTo>
                      <a:pt x="4895" y="13252"/>
                    </a:lnTo>
                    <a:lnTo>
                      <a:pt x="4895" y="13649"/>
                    </a:lnTo>
                    <a:lnTo>
                      <a:pt x="5753" y="13649"/>
                    </a:lnTo>
                    <a:lnTo>
                      <a:pt x="5753" y="13252"/>
                    </a:lnTo>
                    <a:lnTo>
                      <a:pt x="5450" y="13252"/>
                    </a:lnTo>
                    <a:lnTo>
                      <a:pt x="5753" y="12854"/>
                    </a:lnTo>
                    <a:lnTo>
                      <a:pt x="5753" y="13252"/>
                    </a:lnTo>
                    <a:lnTo>
                      <a:pt x="6056" y="13252"/>
                    </a:lnTo>
                    <a:lnTo>
                      <a:pt x="6056" y="13649"/>
                    </a:lnTo>
                    <a:lnTo>
                      <a:pt x="6308" y="13980"/>
                    </a:lnTo>
                    <a:lnTo>
                      <a:pt x="6611" y="13980"/>
                    </a:lnTo>
                    <a:lnTo>
                      <a:pt x="6611" y="15173"/>
                    </a:lnTo>
                    <a:lnTo>
                      <a:pt x="6914" y="15173"/>
                    </a:lnTo>
                    <a:lnTo>
                      <a:pt x="6611" y="15504"/>
                    </a:lnTo>
                    <a:lnTo>
                      <a:pt x="6914" y="15902"/>
                    </a:lnTo>
                    <a:lnTo>
                      <a:pt x="6611" y="15902"/>
                    </a:lnTo>
                    <a:lnTo>
                      <a:pt x="6611" y="16299"/>
                    </a:lnTo>
                    <a:lnTo>
                      <a:pt x="6914" y="16299"/>
                    </a:lnTo>
                    <a:lnTo>
                      <a:pt x="6914" y="16631"/>
                    </a:lnTo>
                    <a:lnTo>
                      <a:pt x="7166" y="16631"/>
                    </a:lnTo>
                    <a:lnTo>
                      <a:pt x="7469" y="17028"/>
                    </a:lnTo>
                    <a:lnTo>
                      <a:pt x="7772" y="17028"/>
                    </a:lnTo>
                    <a:lnTo>
                      <a:pt x="7469" y="17426"/>
                    </a:lnTo>
                    <a:lnTo>
                      <a:pt x="8075" y="17426"/>
                    </a:lnTo>
                    <a:lnTo>
                      <a:pt x="8075" y="17028"/>
                    </a:lnTo>
                    <a:lnTo>
                      <a:pt x="8327" y="17426"/>
                    </a:lnTo>
                    <a:lnTo>
                      <a:pt x="8327" y="17028"/>
                    </a:lnTo>
                    <a:lnTo>
                      <a:pt x="8630" y="17028"/>
                    </a:lnTo>
                    <a:lnTo>
                      <a:pt x="8630" y="16631"/>
                    </a:lnTo>
                    <a:lnTo>
                      <a:pt x="8933" y="16631"/>
                    </a:lnTo>
                    <a:lnTo>
                      <a:pt x="8933" y="16299"/>
                    </a:lnTo>
                    <a:lnTo>
                      <a:pt x="10093" y="16299"/>
                    </a:lnTo>
                    <a:lnTo>
                      <a:pt x="10093" y="16631"/>
                    </a:lnTo>
                    <a:lnTo>
                      <a:pt x="10649" y="16631"/>
                    </a:lnTo>
                    <a:lnTo>
                      <a:pt x="10951" y="16299"/>
                    </a:lnTo>
                    <a:lnTo>
                      <a:pt x="10649" y="15902"/>
                    </a:lnTo>
                    <a:lnTo>
                      <a:pt x="10951" y="15902"/>
                    </a:lnTo>
                    <a:lnTo>
                      <a:pt x="10951" y="15504"/>
                    </a:lnTo>
                    <a:lnTo>
                      <a:pt x="11204" y="15504"/>
                    </a:lnTo>
                    <a:lnTo>
                      <a:pt x="11507" y="15902"/>
                    </a:lnTo>
                    <a:lnTo>
                      <a:pt x="11204" y="15902"/>
                    </a:lnTo>
                    <a:lnTo>
                      <a:pt x="11204" y="16299"/>
                    </a:lnTo>
                    <a:lnTo>
                      <a:pt x="11507" y="16299"/>
                    </a:lnTo>
                    <a:lnTo>
                      <a:pt x="11809" y="16631"/>
                    </a:lnTo>
                    <a:lnTo>
                      <a:pt x="11809" y="17823"/>
                    </a:lnTo>
                    <a:lnTo>
                      <a:pt x="12112" y="17823"/>
                    </a:lnTo>
                    <a:lnTo>
                      <a:pt x="12112" y="17426"/>
                    </a:lnTo>
                    <a:lnTo>
                      <a:pt x="12112" y="17823"/>
                    </a:lnTo>
                    <a:lnTo>
                      <a:pt x="12364" y="17823"/>
                    </a:lnTo>
                    <a:lnTo>
                      <a:pt x="12364" y="17426"/>
                    </a:lnTo>
                    <a:lnTo>
                      <a:pt x="12364" y="17823"/>
                    </a:lnTo>
                    <a:lnTo>
                      <a:pt x="12667" y="17426"/>
                    </a:lnTo>
                    <a:lnTo>
                      <a:pt x="12667" y="17823"/>
                    </a:lnTo>
                    <a:lnTo>
                      <a:pt x="13222" y="17823"/>
                    </a:lnTo>
                    <a:lnTo>
                      <a:pt x="13222" y="18155"/>
                    </a:lnTo>
                    <a:lnTo>
                      <a:pt x="12970" y="18155"/>
                    </a:lnTo>
                    <a:lnTo>
                      <a:pt x="13222" y="18155"/>
                    </a:lnTo>
                    <a:lnTo>
                      <a:pt x="12970" y="18155"/>
                    </a:lnTo>
                    <a:lnTo>
                      <a:pt x="12970" y="18552"/>
                    </a:lnTo>
                    <a:lnTo>
                      <a:pt x="13222" y="18552"/>
                    </a:lnTo>
                    <a:lnTo>
                      <a:pt x="13222" y="18155"/>
                    </a:lnTo>
                    <a:lnTo>
                      <a:pt x="13525" y="18552"/>
                    </a:lnTo>
                    <a:lnTo>
                      <a:pt x="13525" y="18950"/>
                    </a:lnTo>
                    <a:lnTo>
                      <a:pt x="14131" y="18950"/>
                    </a:lnTo>
                    <a:lnTo>
                      <a:pt x="14131" y="19281"/>
                    </a:lnTo>
                    <a:lnTo>
                      <a:pt x="13828" y="19281"/>
                    </a:lnTo>
                    <a:lnTo>
                      <a:pt x="14131" y="19679"/>
                    </a:lnTo>
                    <a:lnTo>
                      <a:pt x="15292" y="20805"/>
                    </a:lnTo>
                    <a:lnTo>
                      <a:pt x="15292" y="20474"/>
                    </a:lnTo>
                    <a:lnTo>
                      <a:pt x="15544" y="20805"/>
                    </a:lnTo>
                    <a:lnTo>
                      <a:pt x="15847" y="20805"/>
                    </a:lnTo>
                    <a:lnTo>
                      <a:pt x="16150" y="21202"/>
                    </a:lnTo>
                    <a:lnTo>
                      <a:pt x="16402" y="21202"/>
                    </a:lnTo>
                    <a:lnTo>
                      <a:pt x="16705" y="21600"/>
                    </a:lnTo>
                    <a:lnTo>
                      <a:pt x="17007" y="21202"/>
                    </a:lnTo>
                    <a:lnTo>
                      <a:pt x="17310" y="21202"/>
                    </a:lnTo>
                    <a:lnTo>
                      <a:pt x="17563" y="21600"/>
                    </a:lnTo>
                    <a:lnTo>
                      <a:pt x="17865" y="20805"/>
                    </a:lnTo>
                    <a:lnTo>
                      <a:pt x="18168" y="20474"/>
                    </a:lnTo>
                    <a:lnTo>
                      <a:pt x="18421" y="20805"/>
                    </a:lnTo>
                    <a:lnTo>
                      <a:pt x="18723" y="20805"/>
                    </a:lnTo>
                    <a:lnTo>
                      <a:pt x="19329" y="21202"/>
                    </a:lnTo>
                    <a:lnTo>
                      <a:pt x="19581" y="20805"/>
                    </a:lnTo>
                    <a:lnTo>
                      <a:pt x="19329" y="20474"/>
                    </a:lnTo>
                    <a:lnTo>
                      <a:pt x="19884" y="19281"/>
                    </a:lnTo>
                    <a:lnTo>
                      <a:pt x="20187" y="18950"/>
                    </a:lnTo>
                    <a:lnTo>
                      <a:pt x="19329" y="18950"/>
                    </a:lnTo>
                    <a:lnTo>
                      <a:pt x="19329" y="18552"/>
                    </a:lnTo>
                    <a:lnTo>
                      <a:pt x="19026" y="18552"/>
                    </a:lnTo>
                    <a:lnTo>
                      <a:pt x="19026" y="18155"/>
                    </a:lnTo>
                    <a:lnTo>
                      <a:pt x="19329" y="18155"/>
                    </a:lnTo>
                    <a:lnTo>
                      <a:pt x="19329" y="17823"/>
                    </a:lnTo>
                    <a:lnTo>
                      <a:pt x="19884" y="17823"/>
                    </a:lnTo>
                    <a:lnTo>
                      <a:pt x="19884" y="18155"/>
                    </a:lnTo>
                    <a:lnTo>
                      <a:pt x="20187" y="18155"/>
                    </a:lnTo>
                    <a:lnTo>
                      <a:pt x="20187" y="17823"/>
                    </a:lnTo>
                    <a:lnTo>
                      <a:pt x="20439" y="17823"/>
                    </a:lnTo>
                    <a:lnTo>
                      <a:pt x="20187" y="17823"/>
                    </a:lnTo>
                    <a:lnTo>
                      <a:pt x="20439" y="17823"/>
                    </a:lnTo>
                    <a:lnTo>
                      <a:pt x="20439" y="17426"/>
                    </a:lnTo>
                    <a:lnTo>
                      <a:pt x="20742" y="17426"/>
                    </a:lnTo>
                    <a:lnTo>
                      <a:pt x="20742" y="17028"/>
                    </a:lnTo>
                    <a:lnTo>
                      <a:pt x="21045" y="17426"/>
                    </a:lnTo>
                    <a:lnTo>
                      <a:pt x="21045" y="16631"/>
                    </a:lnTo>
                    <a:lnTo>
                      <a:pt x="21348" y="16631"/>
                    </a:lnTo>
                    <a:lnTo>
                      <a:pt x="21348" y="16299"/>
                    </a:lnTo>
                    <a:lnTo>
                      <a:pt x="21600" y="16299"/>
                    </a:lnTo>
                    <a:lnTo>
                      <a:pt x="21348" y="15902"/>
                    </a:lnTo>
                    <a:lnTo>
                      <a:pt x="21348" y="15173"/>
                    </a:lnTo>
                    <a:lnTo>
                      <a:pt x="21045" y="15173"/>
                    </a:lnTo>
                    <a:lnTo>
                      <a:pt x="21045" y="14775"/>
                    </a:lnTo>
                    <a:lnTo>
                      <a:pt x="20439" y="14775"/>
                    </a:lnTo>
                    <a:lnTo>
                      <a:pt x="19884" y="13980"/>
                    </a:lnTo>
                    <a:lnTo>
                      <a:pt x="20187" y="13252"/>
                    </a:lnTo>
                    <a:lnTo>
                      <a:pt x="19581" y="12523"/>
                    </a:lnTo>
                    <a:lnTo>
                      <a:pt x="18723" y="13649"/>
                    </a:lnTo>
                    <a:lnTo>
                      <a:pt x="17563" y="12125"/>
                    </a:lnTo>
                    <a:lnTo>
                      <a:pt x="17563" y="11728"/>
                    </a:lnTo>
                    <a:lnTo>
                      <a:pt x="17310" y="11728"/>
                    </a:lnTo>
                    <a:lnTo>
                      <a:pt x="17310" y="11330"/>
                    </a:lnTo>
                    <a:lnTo>
                      <a:pt x="17007" y="11330"/>
                    </a:lnTo>
                    <a:lnTo>
                      <a:pt x="17007" y="11728"/>
                    </a:lnTo>
                    <a:lnTo>
                      <a:pt x="16402" y="11728"/>
                    </a:lnTo>
                    <a:lnTo>
                      <a:pt x="16402" y="12125"/>
                    </a:lnTo>
                    <a:lnTo>
                      <a:pt x="16402" y="11728"/>
                    </a:lnTo>
                    <a:lnTo>
                      <a:pt x="16150" y="12125"/>
                    </a:lnTo>
                    <a:lnTo>
                      <a:pt x="15847" y="12125"/>
                    </a:lnTo>
                    <a:lnTo>
                      <a:pt x="15847" y="11728"/>
                    </a:lnTo>
                    <a:lnTo>
                      <a:pt x="15544" y="11728"/>
                    </a:lnTo>
                    <a:lnTo>
                      <a:pt x="15544" y="11330"/>
                    </a:lnTo>
                    <a:lnTo>
                      <a:pt x="15544" y="11728"/>
                    </a:lnTo>
                    <a:lnTo>
                      <a:pt x="15292" y="11728"/>
                    </a:lnTo>
                    <a:lnTo>
                      <a:pt x="15292" y="10601"/>
                    </a:lnTo>
                    <a:lnTo>
                      <a:pt x="14989" y="10601"/>
                    </a:lnTo>
                    <a:lnTo>
                      <a:pt x="14686" y="10999"/>
                    </a:lnTo>
                    <a:lnTo>
                      <a:pt x="14686" y="10601"/>
                    </a:lnTo>
                    <a:lnTo>
                      <a:pt x="14383" y="10999"/>
                    </a:lnTo>
                    <a:lnTo>
                      <a:pt x="14383" y="10601"/>
                    </a:lnTo>
                    <a:lnTo>
                      <a:pt x="14131" y="10204"/>
                    </a:lnTo>
                    <a:lnTo>
                      <a:pt x="14383" y="9872"/>
                    </a:lnTo>
                    <a:lnTo>
                      <a:pt x="14131" y="9872"/>
                    </a:lnTo>
                    <a:lnTo>
                      <a:pt x="14131" y="9475"/>
                    </a:lnTo>
                    <a:lnTo>
                      <a:pt x="13525" y="9475"/>
                    </a:lnTo>
                    <a:lnTo>
                      <a:pt x="13525" y="9077"/>
                    </a:lnTo>
                    <a:lnTo>
                      <a:pt x="13222" y="9077"/>
                    </a:lnTo>
                    <a:lnTo>
                      <a:pt x="13222" y="9475"/>
                    </a:lnTo>
                    <a:lnTo>
                      <a:pt x="12970" y="9475"/>
                    </a:lnTo>
                    <a:lnTo>
                      <a:pt x="12667" y="9872"/>
                    </a:lnTo>
                    <a:lnTo>
                      <a:pt x="12667" y="9475"/>
                    </a:lnTo>
                    <a:lnTo>
                      <a:pt x="12364" y="9475"/>
                    </a:lnTo>
                    <a:lnTo>
                      <a:pt x="12364" y="9077"/>
                    </a:lnTo>
                    <a:lnTo>
                      <a:pt x="12112" y="9077"/>
                    </a:lnTo>
                    <a:lnTo>
                      <a:pt x="12112" y="8746"/>
                    </a:lnTo>
                    <a:lnTo>
                      <a:pt x="11809" y="8348"/>
                    </a:lnTo>
                    <a:lnTo>
                      <a:pt x="11809" y="8746"/>
                    </a:lnTo>
                    <a:lnTo>
                      <a:pt x="11809" y="7951"/>
                    </a:lnTo>
                    <a:lnTo>
                      <a:pt x="11507" y="7951"/>
                    </a:lnTo>
                    <a:lnTo>
                      <a:pt x="11507" y="8348"/>
                    </a:lnTo>
                    <a:lnTo>
                      <a:pt x="11204" y="8348"/>
                    </a:lnTo>
                    <a:lnTo>
                      <a:pt x="11204" y="7951"/>
                    </a:lnTo>
                    <a:lnTo>
                      <a:pt x="10649" y="7951"/>
                    </a:lnTo>
                    <a:lnTo>
                      <a:pt x="10649" y="7222"/>
                    </a:lnTo>
                    <a:lnTo>
                      <a:pt x="9791" y="7222"/>
                    </a:lnTo>
                    <a:lnTo>
                      <a:pt x="9791" y="6825"/>
                    </a:lnTo>
                    <a:lnTo>
                      <a:pt x="9488" y="6825"/>
                    </a:lnTo>
                    <a:lnTo>
                      <a:pt x="9185" y="6096"/>
                    </a:lnTo>
                    <a:lnTo>
                      <a:pt x="8933" y="6096"/>
                    </a:lnTo>
                    <a:lnTo>
                      <a:pt x="8933" y="5698"/>
                    </a:lnTo>
                    <a:lnTo>
                      <a:pt x="9185" y="5698"/>
                    </a:lnTo>
                    <a:lnTo>
                      <a:pt x="8933" y="5301"/>
                    </a:lnTo>
                    <a:lnTo>
                      <a:pt x="8933" y="4903"/>
                    </a:lnTo>
                    <a:lnTo>
                      <a:pt x="9185" y="4903"/>
                    </a:lnTo>
                    <a:lnTo>
                      <a:pt x="9185" y="4572"/>
                    </a:lnTo>
                    <a:lnTo>
                      <a:pt x="8933" y="4572"/>
                    </a:lnTo>
                    <a:lnTo>
                      <a:pt x="8933" y="4903"/>
                    </a:lnTo>
                    <a:lnTo>
                      <a:pt x="8933" y="4174"/>
                    </a:lnTo>
                    <a:lnTo>
                      <a:pt x="9185" y="4174"/>
                    </a:lnTo>
                    <a:lnTo>
                      <a:pt x="9185" y="3445"/>
                    </a:lnTo>
                    <a:lnTo>
                      <a:pt x="8933" y="3445"/>
                    </a:lnTo>
                    <a:lnTo>
                      <a:pt x="9185" y="3445"/>
                    </a:lnTo>
                    <a:lnTo>
                      <a:pt x="9185" y="1921"/>
                    </a:lnTo>
                    <a:lnTo>
                      <a:pt x="9488" y="1921"/>
                    </a:lnTo>
                    <a:lnTo>
                      <a:pt x="9488" y="1524"/>
                    </a:lnTo>
                    <a:lnTo>
                      <a:pt x="9185" y="1524"/>
                    </a:lnTo>
                    <a:lnTo>
                      <a:pt x="9185" y="1126"/>
                    </a:lnTo>
                    <a:lnTo>
                      <a:pt x="8933" y="1126"/>
                    </a:lnTo>
                    <a:lnTo>
                      <a:pt x="8933" y="795"/>
                    </a:lnTo>
                    <a:lnTo>
                      <a:pt x="8630" y="795"/>
                    </a:lnTo>
                    <a:lnTo>
                      <a:pt x="8630" y="398"/>
                    </a:lnTo>
                    <a:lnTo>
                      <a:pt x="8327" y="398"/>
                    </a:lnTo>
                    <a:lnTo>
                      <a:pt x="8075" y="0"/>
                    </a:lnTo>
                    <a:lnTo>
                      <a:pt x="7772" y="0"/>
                    </a:lnTo>
                    <a:lnTo>
                      <a:pt x="7469" y="398"/>
                    </a:lnTo>
                    <a:lnTo>
                      <a:pt x="5148" y="79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00" name="Shape 3026"/>
              <p:cNvSpPr/>
              <p:nvPr/>
            </p:nvSpPr>
            <p:spPr>
              <a:xfrm>
                <a:off x="7550255" y="3192108"/>
                <a:ext cx="463610" cy="5531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047" y="12915"/>
                    </a:moveTo>
                    <a:lnTo>
                      <a:pt x="4643" y="12577"/>
                    </a:lnTo>
                    <a:lnTo>
                      <a:pt x="4643" y="12915"/>
                    </a:lnTo>
                    <a:lnTo>
                      <a:pt x="3903" y="12915"/>
                    </a:lnTo>
                    <a:lnTo>
                      <a:pt x="3499" y="13253"/>
                    </a:lnTo>
                    <a:lnTo>
                      <a:pt x="3499" y="12915"/>
                    </a:lnTo>
                    <a:lnTo>
                      <a:pt x="3095" y="12915"/>
                    </a:lnTo>
                    <a:lnTo>
                      <a:pt x="3095" y="12238"/>
                    </a:lnTo>
                    <a:lnTo>
                      <a:pt x="3499" y="11956"/>
                    </a:lnTo>
                    <a:lnTo>
                      <a:pt x="3095" y="11956"/>
                    </a:lnTo>
                    <a:lnTo>
                      <a:pt x="3499" y="11279"/>
                    </a:lnTo>
                    <a:lnTo>
                      <a:pt x="2692" y="10997"/>
                    </a:lnTo>
                    <a:lnTo>
                      <a:pt x="0" y="9023"/>
                    </a:lnTo>
                    <a:lnTo>
                      <a:pt x="0" y="8742"/>
                    </a:lnTo>
                    <a:lnTo>
                      <a:pt x="404" y="8403"/>
                    </a:lnTo>
                    <a:lnTo>
                      <a:pt x="0" y="8403"/>
                    </a:lnTo>
                    <a:lnTo>
                      <a:pt x="0" y="8065"/>
                    </a:lnTo>
                    <a:lnTo>
                      <a:pt x="404" y="8065"/>
                    </a:lnTo>
                    <a:lnTo>
                      <a:pt x="404" y="7726"/>
                    </a:lnTo>
                    <a:lnTo>
                      <a:pt x="807" y="7726"/>
                    </a:lnTo>
                    <a:lnTo>
                      <a:pt x="807" y="7444"/>
                    </a:lnTo>
                    <a:lnTo>
                      <a:pt x="1951" y="7444"/>
                    </a:lnTo>
                    <a:lnTo>
                      <a:pt x="2355" y="7106"/>
                    </a:lnTo>
                    <a:lnTo>
                      <a:pt x="3499" y="7106"/>
                    </a:lnTo>
                    <a:lnTo>
                      <a:pt x="3499" y="6768"/>
                    </a:lnTo>
                    <a:lnTo>
                      <a:pt x="4239" y="6768"/>
                    </a:lnTo>
                    <a:lnTo>
                      <a:pt x="4239" y="6486"/>
                    </a:lnTo>
                    <a:lnTo>
                      <a:pt x="4643" y="6486"/>
                    </a:lnTo>
                    <a:lnTo>
                      <a:pt x="4643" y="4850"/>
                    </a:lnTo>
                    <a:lnTo>
                      <a:pt x="5047" y="4850"/>
                    </a:lnTo>
                    <a:lnTo>
                      <a:pt x="5047" y="4230"/>
                    </a:lnTo>
                    <a:lnTo>
                      <a:pt x="4643" y="3891"/>
                    </a:lnTo>
                    <a:lnTo>
                      <a:pt x="4643" y="2933"/>
                    </a:lnTo>
                    <a:lnTo>
                      <a:pt x="5047" y="2594"/>
                    </a:lnTo>
                    <a:lnTo>
                      <a:pt x="5047" y="2256"/>
                    </a:lnTo>
                    <a:lnTo>
                      <a:pt x="5450" y="1974"/>
                    </a:lnTo>
                    <a:lnTo>
                      <a:pt x="5787" y="1636"/>
                    </a:lnTo>
                    <a:lnTo>
                      <a:pt x="6594" y="1636"/>
                    </a:lnTo>
                    <a:lnTo>
                      <a:pt x="6931" y="1297"/>
                    </a:lnTo>
                    <a:lnTo>
                      <a:pt x="6931" y="1015"/>
                    </a:lnTo>
                    <a:lnTo>
                      <a:pt x="6594" y="1015"/>
                    </a:lnTo>
                    <a:lnTo>
                      <a:pt x="6594" y="677"/>
                    </a:lnTo>
                    <a:lnTo>
                      <a:pt x="7335" y="677"/>
                    </a:lnTo>
                    <a:lnTo>
                      <a:pt x="8142" y="1015"/>
                    </a:lnTo>
                    <a:lnTo>
                      <a:pt x="8882" y="1015"/>
                    </a:lnTo>
                    <a:lnTo>
                      <a:pt x="8882" y="677"/>
                    </a:lnTo>
                    <a:lnTo>
                      <a:pt x="9286" y="677"/>
                    </a:lnTo>
                    <a:lnTo>
                      <a:pt x="9286" y="338"/>
                    </a:lnTo>
                    <a:lnTo>
                      <a:pt x="9622" y="338"/>
                    </a:lnTo>
                    <a:lnTo>
                      <a:pt x="9622" y="677"/>
                    </a:lnTo>
                    <a:lnTo>
                      <a:pt x="11170" y="677"/>
                    </a:lnTo>
                    <a:lnTo>
                      <a:pt x="11170" y="338"/>
                    </a:lnTo>
                    <a:lnTo>
                      <a:pt x="11574" y="338"/>
                    </a:lnTo>
                    <a:lnTo>
                      <a:pt x="11574" y="0"/>
                    </a:lnTo>
                    <a:lnTo>
                      <a:pt x="11978" y="0"/>
                    </a:lnTo>
                    <a:lnTo>
                      <a:pt x="11978" y="1015"/>
                    </a:lnTo>
                    <a:lnTo>
                      <a:pt x="12314" y="1297"/>
                    </a:lnTo>
                    <a:lnTo>
                      <a:pt x="12718" y="1297"/>
                    </a:lnTo>
                    <a:lnTo>
                      <a:pt x="12718" y="677"/>
                    </a:lnTo>
                    <a:lnTo>
                      <a:pt x="13121" y="338"/>
                    </a:lnTo>
                    <a:lnTo>
                      <a:pt x="13121" y="677"/>
                    </a:lnTo>
                    <a:lnTo>
                      <a:pt x="13525" y="677"/>
                    </a:lnTo>
                    <a:lnTo>
                      <a:pt x="13525" y="1636"/>
                    </a:lnTo>
                    <a:lnTo>
                      <a:pt x="13121" y="1636"/>
                    </a:lnTo>
                    <a:lnTo>
                      <a:pt x="13525" y="1636"/>
                    </a:lnTo>
                    <a:lnTo>
                      <a:pt x="13525" y="1297"/>
                    </a:lnTo>
                    <a:lnTo>
                      <a:pt x="13525" y="1636"/>
                    </a:lnTo>
                    <a:lnTo>
                      <a:pt x="13862" y="1636"/>
                    </a:lnTo>
                    <a:lnTo>
                      <a:pt x="13862" y="1974"/>
                    </a:lnTo>
                    <a:lnTo>
                      <a:pt x="13862" y="1636"/>
                    </a:lnTo>
                    <a:lnTo>
                      <a:pt x="14265" y="1636"/>
                    </a:lnTo>
                    <a:lnTo>
                      <a:pt x="14265" y="1297"/>
                    </a:lnTo>
                    <a:lnTo>
                      <a:pt x="14669" y="1297"/>
                    </a:lnTo>
                    <a:lnTo>
                      <a:pt x="14669" y="1636"/>
                    </a:lnTo>
                    <a:lnTo>
                      <a:pt x="14669" y="1297"/>
                    </a:lnTo>
                    <a:lnTo>
                      <a:pt x="15006" y="1297"/>
                    </a:lnTo>
                    <a:lnTo>
                      <a:pt x="15006" y="1015"/>
                    </a:lnTo>
                    <a:lnTo>
                      <a:pt x="15006" y="1297"/>
                    </a:lnTo>
                    <a:lnTo>
                      <a:pt x="15409" y="1297"/>
                    </a:lnTo>
                    <a:lnTo>
                      <a:pt x="15409" y="2256"/>
                    </a:lnTo>
                    <a:lnTo>
                      <a:pt x="15813" y="2256"/>
                    </a:lnTo>
                    <a:lnTo>
                      <a:pt x="15813" y="2933"/>
                    </a:lnTo>
                    <a:lnTo>
                      <a:pt x="16217" y="2933"/>
                    </a:lnTo>
                    <a:lnTo>
                      <a:pt x="15813" y="2933"/>
                    </a:lnTo>
                    <a:lnTo>
                      <a:pt x="15813" y="3271"/>
                    </a:lnTo>
                    <a:lnTo>
                      <a:pt x="15006" y="3271"/>
                    </a:lnTo>
                    <a:lnTo>
                      <a:pt x="15006" y="2933"/>
                    </a:lnTo>
                    <a:lnTo>
                      <a:pt x="14669" y="2594"/>
                    </a:lnTo>
                    <a:lnTo>
                      <a:pt x="14669" y="2256"/>
                    </a:lnTo>
                    <a:lnTo>
                      <a:pt x="14265" y="2256"/>
                    </a:lnTo>
                    <a:lnTo>
                      <a:pt x="14669" y="2256"/>
                    </a:lnTo>
                    <a:lnTo>
                      <a:pt x="14669" y="1974"/>
                    </a:lnTo>
                    <a:lnTo>
                      <a:pt x="14265" y="1974"/>
                    </a:lnTo>
                    <a:lnTo>
                      <a:pt x="14265" y="2256"/>
                    </a:lnTo>
                    <a:lnTo>
                      <a:pt x="14265" y="1974"/>
                    </a:lnTo>
                    <a:lnTo>
                      <a:pt x="13862" y="2256"/>
                    </a:lnTo>
                    <a:lnTo>
                      <a:pt x="14265" y="2256"/>
                    </a:lnTo>
                    <a:lnTo>
                      <a:pt x="13862" y="2256"/>
                    </a:lnTo>
                    <a:lnTo>
                      <a:pt x="14265" y="2256"/>
                    </a:lnTo>
                    <a:lnTo>
                      <a:pt x="14265" y="2594"/>
                    </a:lnTo>
                    <a:lnTo>
                      <a:pt x="14669" y="2594"/>
                    </a:lnTo>
                    <a:lnTo>
                      <a:pt x="14265" y="2933"/>
                    </a:lnTo>
                    <a:lnTo>
                      <a:pt x="14265" y="3271"/>
                    </a:lnTo>
                    <a:lnTo>
                      <a:pt x="13862" y="2933"/>
                    </a:lnTo>
                    <a:lnTo>
                      <a:pt x="13525" y="2933"/>
                    </a:lnTo>
                    <a:lnTo>
                      <a:pt x="13862" y="2933"/>
                    </a:lnTo>
                    <a:lnTo>
                      <a:pt x="13862" y="3271"/>
                    </a:lnTo>
                    <a:lnTo>
                      <a:pt x="14669" y="3271"/>
                    </a:lnTo>
                    <a:lnTo>
                      <a:pt x="14669" y="3553"/>
                    </a:lnTo>
                    <a:lnTo>
                      <a:pt x="14265" y="3553"/>
                    </a:lnTo>
                    <a:lnTo>
                      <a:pt x="15006" y="3553"/>
                    </a:lnTo>
                    <a:lnTo>
                      <a:pt x="15006" y="3891"/>
                    </a:lnTo>
                    <a:lnTo>
                      <a:pt x="14265" y="3891"/>
                    </a:lnTo>
                    <a:lnTo>
                      <a:pt x="14265" y="4230"/>
                    </a:lnTo>
                    <a:lnTo>
                      <a:pt x="14669" y="4230"/>
                    </a:lnTo>
                    <a:lnTo>
                      <a:pt x="14669" y="3891"/>
                    </a:lnTo>
                    <a:lnTo>
                      <a:pt x="14669" y="4230"/>
                    </a:lnTo>
                    <a:lnTo>
                      <a:pt x="15006" y="3891"/>
                    </a:lnTo>
                    <a:lnTo>
                      <a:pt x="15006" y="4230"/>
                    </a:lnTo>
                    <a:lnTo>
                      <a:pt x="15409" y="4230"/>
                    </a:lnTo>
                    <a:lnTo>
                      <a:pt x="15409" y="4512"/>
                    </a:lnTo>
                    <a:lnTo>
                      <a:pt x="15006" y="4512"/>
                    </a:lnTo>
                    <a:lnTo>
                      <a:pt x="15006" y="4850"/>
                    </a:lnTo>
                    <a:lnTo>
                      <a:pt x="14669" y="4850"/>
                    </a:lnTo>
                    <a:lnTo>
                      <a:pt x="14669" y="5189"/>
                    </a:lnTo>
                    <a:lnTo>
                      <a:pt x="14669" y="4850"/>
                    </a:lnTo>
                    <a:lnTo>
                      <a:pt x="14669" y="5189"/>
                    </a:lnTo>
                    <a:lnTo>
                      <a:pt x="13525" y="5189"/>
                    </a:lnTo>
                    <a:lnTo>
                      <a:pt x="13121" y="5470"/>
                    </a:lnTo>
                    <a:lnTo>
                      <a:pt x="13121" y="5809"/>
                    </a:lnTo>
                    <a:lnTo>
                      <a:pt x="13121" y="5470"/>
                    </a:lnTo>
                    <a:lnTo>
                      <a:pt x="13525" y="5470"/>
                    </a:lnTo>
                    <a:lnTo>
                      <a:pt x="13525" y="5189"/>
                    </a:lnTo>
                    <a:lnTo>
                      <a:pt x="14265" y="5189"/>
                    </a:lnTo>
                    <a:lnTo>
                      <a:pt x="14265" y="5470"/>
                    </a:lnTo>
                    <a:lnTo>
                      <a:pt x="14265" y="5189"/>
                    </a:lnTo>
                    <a:lnTo>
                      <a:pt x="14669" y="5189"/>
                    </a:lnTo>
                    <a:lnTo>
                      <a:pt x="14669" y="5470"/>
                    </a:lnTo>
                    <a:lnTo>
                      <a:pt x="14669" y="5189"/>
                    </a:lnTo>
                    <a:lnTo>
                      <a:pt x="15006" y="5189"/>
                    </a:lnTo>
                    <a:lnTo>
                      <a:pt x="15006" y="4850"/>
                    </a:lnTo>
                    <a:lnTo>
                      <a:pt x="15409" y="4850"/>
                    </a:lnTo>
                    <a:lnTo>
                      <a:pt x="15409" y="5189"/>
                    </a:lnTo>
                    <a:lnTo>
                      <a:pt x="16217" y="5189"/>
                    </a:lnTo>
                    <a:lnTo>
                      <a:pt x="16217" y="5470"/>
                    </a:lnTo>
                    <a:lnTo>
                      <a:pt x="16553" y="5470"/>
                    </a:lnTo>
                    <a:lnTo>
                      <a:pt x="16217" y="5809"/>
                    </a:lnTo>
                    <a:lnTo>
                      <a:pt x="16553" y="5809"/>
                    </a:lnTo>
                    <a:lnTo>
                      <a:pt x="16553" y="6147"/>
                    </a:lnTo>
                    <a:lnTo>
                      <a:pt x="16957" y="6147"/>
                    </a:lnTo>
                    <a:lnTo>
                      <a:pt x="16957" y="6486"/>
                    </a:lnTo>
                    <a:lnTo>
                      <a:pt x="17361" y="6486"/>
                    </a:lnTo>
                    <a:lnTo>
                      <a:pt x="17361" y="6768"/>
                    </a:lnTo>
                    <a:lnTo>
                      <a:pt x="16957" y="6768"/>
                    </a:lnTo>
                    <a:lnTo>
                      <a:pt x="17361" y="6768"/>
                    </a:lnTo>
                    <a:lnTo>
                      <a:pt x="17361" y="6486"/>
                    </a:lnTo>
                    <a:lnTo>
                      <a:pt x="17697" y="6768"/>
                    </a:lnTo>
                    <a:lnTo>
                      <a:pt x="17697" y="7106"/>
                    </a:lnTo>
                    <a:lnTo>
                      <a:pt x="18101" y="7106"/>
                    </a:lnTo>
                    <a:lnTo>
                      <a:pt x="18101" y="7726"/>
                    </a:lnTo>
                    <a:lnTo>
                      <a:pt x="18505" y="8065"/>
                    </a:lnTo>
                    <a:lnTo>
                      <a:pt x="18505" y="8742"/>
                    </a:lnTo>
                    <a:lnTo>
                      <a:pt x="18908" y="8742"/>
                    </a:lnTo>
                    <a:lnTo>
                      <a:pt x="18505" y="8742"/>
                    </a:lnTo>
                    <a:lnTo>
                      <a:pt x="18505" y="9023"/>
                    </a:lnTo>
                    <a:lnTo>
                      <a:pt x="18908" y="9023"/>
                    </a:lnTo>
                    <a:lnTo>
                      <a:pt x="18908" y="10321"/>
                    </a:lnTo>
                    <a:lnTo>
                      <a:pt x="19245" y="10321"/>
                    </a:lnTo>
                    <a:lnTo>
                      <a:pt x="19245" y="12238"/>
                    </a:lnTo>
                    <a:lnTo>
                      <a:pt x="19649" y="12238"/>
                    </a:lnTo>
                    <a:lnTo>
                      <a:pt x="19649" y="12577"/>
                    </a:lnTo>
                    <a:lnTo>
                      <a:pt x="19245" y="12577"/>
                    </a:lnTo>
                    <a:lnTo>
                      <a:pt x="19649" y="12577"/>
                    </a:lnTo>
                    <a:lnTo>
                      <a:pt x="19245" y="12915"/>
                    </a:lnTo>
                    <a:lnTo>
                      <a:pt x="19649" y="12915"/>
                    </a:lnTo>
                    <a:lnTo>
                      <a:pt x="19649" y="13253"/>
                    </a:lnTo>
                    <a:lnTo>
                      <a:pt x="19649" y="12915"/>
                    </a:lnTo>
                    <a:lnTo>
                      <a:pt x="19649" y="13253"/>
                    </a:lnTo>
                    <a:lnTo>
                      <a:pt x="20052" y="13253"/>
                    </a:lnTo>
                    <a:lnTo>
                      <a:pt x="20052" y="14832"/>
                    </a:lnTo>
                    <a:lnTo>
                      <a:pt x="20389" y="15171"/>
                    </a:lnTo>
                    <a:lnTo>
                      <a:pt x="20389" y="14832"/>
                    </a:lnTo>
                    <a:lnTo>
                      <a:pt x="20389" y="15171"/>
                    </a:lnTo>
                    <a:lnTo>
                      <a:pt x="20793" y="15171"/>
                    </a:lnTo>
                    <a:lnTo>
                      <a:pt x="20793" y="14832"/>
                    </a:lnTo>
                    <a:lnTo>
                      <a:pt x="20793" y="16750"/>
                    </a:lnTo>
                    <a:lnTo>
                      <a:pt x="21196" y="16750"/>
                    </a:lnTo>
                    <a:lnTo>
                      <a:pt x="21196" y="17427"/>
                    </a:lnTo>
                    <a:lnTo>
                      <a:pt x="21600" y="17427"/>
                    </a:lnTo>
                    <a:lnTo>
                      <a:pt x="21196" y="17427"/>
                    </a:lnTo>
                    <a:lnTo>
                      <a:pt x="21600" y="17427"/>
                    </a:lnTo>
                    <a:lnTo>
                      <a:pt x="21196" y="17427"/>
                    </a:lnTo>
                    <a:lnTo>
                      <a:pt x="21196" y="18047"/>
                    </a:lnTo>
                    <a:lnTo>
                      <a:pt x="20793" y="18047"/>
                    </a:lnTo>
                    <a:lnTo>
                      <a:pt x="20793" y="19006"/>
                    </a:lnTo>
                    <a:lnTo>
                      <a:pt x="20389" y="19006"/>
                    </a:lnTo>
                    <a:lnTo>
                      <a:pt x="20389" y="19964"/>
                    </a:lnTo>
                    <a:lnTo>
                      <a:pt x="20052" y="19964"/>
                    </a:lnTo>
                    <a:lnTo>
                      <a:pt x="20052" y="20303"/>
                    </a:lnTo>
                    <a:lnTo>
                      <a:pt x="19649" y="20303"/>
                    </a:lnTo>
                    <a:lnTo>
                      <a:pt x="19649" y="19964"/>
                    </a:lnTo>
                    <a:lnTo>
                      <a:pt x="19649" y="20641"/>
                    </a:lnTo>
                    <a:lnTo>
                      <a:pt x="19245" y="20641"/>
                    </a:lnTo>
                    <a:lnTo>
                      <a:pt x="18908" y="20980"/>
                    </a:lnTo>
                    <a:lnTo>
                      <a:pt x="17697" y="20980"/>
                    </a:lnTo>
                    <a:lnTo>
                      <a:pt x="17697" y="21262"/>
                    </a:lnTo>
                    <a:lnTo>
                      <a:pt x="16957" y="21262"/>
                    </a:lnTo>
                    <a:lnTo>
                      <a:pt x="16957" y="21600"/>
                    </a:lnTo>
                    <a:lnTo>
                      <a:pt x="16553" y="21600"/>
                    </a:lnTo>
                    <a:lnTo>
                      <a:pt x="16553" y="21262"/>
                    </a:lnTo>
                    <a:lnTo>
                      <a:pt x="16217" y="21262"/>
                    </a:lnTo>
                    <a:lnTo>
                      <a:pt x="16217" y="21600"/>
                    </a:lnTo>
                    <a:lnTo>
                      <a:pt x="15409" y="21600"/>
                    </a:lnTo>
                    <a:lnTo>
                      <a:pt x="15409" y="21262"/>
                    </a:lnTo>
                    <a:lnTo>
                      <a:pt x="15409" y="21600"/>
                    </a:lnTo>
                    <a:lnTo>
                      <a:pt x="15006" y="21600"/>
                    </a:lnTo>
                    <a:lnTo>
                      <a:pt x="15006" y="21262"/>
                    </a:lnTo>
                    <a:lnTo>
                      <a:pt x="15006" y="21600"/>
                    </a:lnTo>
                    <a:lnTo>
                      <a:pt x="15006" y="21262"/>
                    </a:lnTo>
                    <a:lnTo>
                      <a:pt x="13525" y="21262"/>
                    </a:lnTo>
                    <a:lnTo>
                      <a:pt x="13525" y="20980"/>
                    </a:lnTo>
                    <a:lnTo>
                      <a:pt x="12718" y="20980"/>
                    </a:lnTo>
                    <a:lnTo>
                      <a:pt x="12718" y="20641"/>
                    </a:lnTo>
                    <a:lnTo>
                      <a:pt x="12314" y="20641"/>
                    </a:lnTo>
                    <a:lnTo>
                      <a:pt x="12314" y="20303"/>
                    </a:lnTo>
                    <a:lnTo>
                      <a:pt x="11978" y="20303"/>
                    </a:lnTo>
                    <a:lnTo>
                      <a:pt x="11978" y="19964"/>
                    </a:lnTo>
                    <a:lnTo>
                      <a:pt x="11574" y="19964"/>
                    </a:lnTo>
                    <a:lnTo>
                      <a:pt x="11574" y="19683"/>
                    </a:lnTo>
                    <a:lnTo>
                      <a:pt x="11170" y="19683"/>
                    </a:lnTo>
                    <a:lnTo>
                      <a:pt x="11170" y="19006"/>
                    </a:lnTo>
                    <a:lnTo>
                      <a:pt x="10834" y="18724"/>
                    </a:lnTo>
                    <a:lnTo>
                      <a:pt x="10834" y="18385"/>
                    </a:lnTo>
                    <a:lnTo>
                      <a:pt x="10430" y="18385"/>
                    </a:lnTo>
                    <a:lnTo>
                      <a:pt x="10430" y="18047"/>
                    </a:lnTo>
                    <a:lnTo>
                      <a:pt x="10026" y="18047"/>
                    </a:lnTo>
                    <a:lnTo>
                      <a:pt x="10026" y="17709"/>
                    </a:lnTo>
                    <a:lnTo>
                      <a:pt x="9622" y="17709"/>
                    </a:lnTo>
                    <a:lnTo>
                      <a:pt x="9622" y="17427"/>
                    </a:lnTo>
                    <a:lnTo>
                      <a:pt x="9286" y="17088"/>
                    </a:lnTo>
                    <a:lnTo>
                      <a:pt x="9286" y="16750"/>
                    </a:lnTo>
                    <a:lnTo>
                      <a:pt x="8882" y="16750"/>
                    </a:lnTo>
                    <a:lnTo>
                      <a:pt x="8882" y="16468"/>
                    </a:lnTo>
                    <a:lnTo>
                      <a:pt x="8479" y="16130"/>
                    </a:lnTo>
                    <a:lnTo>
                      <a:pt x="8882" y="16130"/>
                    </a:lnTo>
                    <a:lnTo>
                      <a:pt x="8479" y="16130"/>
                    </a:lnTo>
                    <a:lnTo>
                      <a:pt x="8479" y="15171"/>
                    </a:lnTo>
                    <a:lnTo>
                      <a:pt x="8142" y="15171"/>
                    </a:lnTo>
                    <a:lnTo>
                      <a:pt x="8142" y="14832"/>
                    </a:lnTo>
                    <a:lnTo>
                      <a:pt x="8142" y="15171"/>
                    </a:lnTo>
                    <a:lnTo>
                      <a:pt x="7738" y="14832"/>
                    </a:lnTo>
                    <a:lnTo>
                      <a:pt x="7738" y="14212"/>
                    </a:lnTo>
                    <a:lnTo>
                      <a:pt x="7335" y="14212"/>
                    </a:lnTo>
                    <a:lnTo>
                      <a:pt x="7738" y="13874"/>
                    </a:lnTo>
                    <a:lnTo>
                      <a:pt x="7335" y="13874"/>
                    </a:lnTo>
                    <a:lnTo>
                      <a:pt x="7738" y="13874"/>
                    </a:lnTo>
                    <a:lnTo>
                      <a:pt x="7335" y="13874"/>
                    </a:lnTo>
                    <a:lnTo>
                      <a:pt x="7335" y="13535"/>
                    </a:lnTo>
                    <a:lnTo>
                      <a:pt x="7335" y="13874"/>
                    </a:lnTo>
                    <a:lnTo>
                      <a:pt x="7335" y="12915"/>
                    </a:lnTo>
                    <a:lnTo>
                      <a:pt x="6931" y="12915"/>
                    </a:lnTo>
                    <a:lnTo>
                      <a:pt x="6931" y="13253"/>
                    </a:lnTo>
                    <a:lnTo>
                      <a:pt x="6931" y="12915"/>
                    </a:lnTo>
                    <a:lnTo>
                      <a:pt x="6931" y="13535"/>
                    </a:lnTo>
                    <a:lnTo>
                      <a:pt x="6594" y="13253"/>
                    </a:lnTo>
                    <a:lnTo>
                      <a:pt x="6594" y="12915"/>
                    </a:lnTo>
                    <a:lnTo>
                      <a:pt x="6594" y="13253"/>
                    </a:lnTo>
                    <a:lnTo>
                      <a:pt x="6594" y="11279"/>
                    </a:lnTo>
                    <a:lnTo>
                      <a:pt x="6931" y="11618"/>
                    </a:lnTo>
                    <a:lnTo>
                      <a:pt x="6931" y="11279"/>
                    </a:lnTo>
                    <a:lnTo>
                      <a:pt x="6594" y="11279"/>
                    </a:lnTo>
                    <a:lnTo>
                      <a:pt x="6594" y="10997"/>
                    </a:lnTo>
                    <a:lnTo>
                      <a:pt x="6191" y="10997"/>
                    </a:lnTo>
                    <a:lnTo>
                      <a:pt x="6191" y="10659"/>
                    </a:lnTo>
                    <a:lnTo>
                      <a:pt x="5787" y="10321"/>
                    </a:lnTo>
                    <a:lnTo>
                      <a:pt x="5450" y="9982"/>
                    </a:lnTo>
                    <a:lnTo>
                      <a:pt x="5450" y="10321"/>
                    </a:lnTo>
                    <a:lnTo>
                      <a:pt x="5787" y="10321"/>
                    </a:lnTo>
                    <a:lnTo>
                      <a:pt x="5787" y="10659"/>
                    </a:lnTo>
                    <a:lnTo>
                      <a:pt x="6191" y="10659"/>
                    </a:lnTo>
                    <a:lnTo>
                      <a:pt x="6191" y="10997"/>
                    </a:lnTo>
                    <a:lnTo>
                      <a:pt x="5787" y="10997"/>
                    </a:lnTo>
                    <a:lnTo>
                      <a:pt x="6191" y="10997"/>
                    </a:lnTo>
                    <a:lnTo>
                      <a:pt x="6191" y="11279"/>
                    </a:lnTo>
                    <a:lnTo>
                      <a:pt x="5787" y="11279"/>
                    </a:lnTo>
                    <a:lnTo>
                      <a:pt x="5787" y="11618"/>
                    </a:lnTo>
                    <a:lnTo>
                      <a:pt x="5787" y="11279"/>
                    </a:lnTo>
                    <a:lnTo>
                      <a:pt x="5787" y="11618"/>
                    </a:lnTo>
                    <a:lnTo>
                      <a:pt x="5450" y="11618"/>
                    </a:lnTo>
                    <a:lnTo>
                      <a:pt x="5787" y="11618"/>
                    </a:lnTo>
                    <a:lnTo>
                      <a:pt x="5787" y="12238"/>
                    </a:lnTo>
                    <a:lnTo>
                      <a:pt x="5450" y="12238"/>
                    </a:lnTo>
                    <a:lnTo>
                      <a:pt x="5450" y="12577"/>
                    </a:lnTo>
                    <a:lnTo>
                      <a:pt x="5787" y="12577"/>
                    </a:lnTo>
                    <a:lnTo>
                      <a:pt x="5787" y="12915"/>
                    </a:lnTo>
                    <a:lnTo>
                      <a:pt x="6191" y="12915"/>
                    </a:lnTo>
                    <a:lnTo>
                      <a:pt x="6191" y="13535"/>
                    </a:lnTo>
                    <a:lnTo>
                      <a:pt x="5787" y="13535"/>
                    </a:lnTo>
                    <a:lnTo>
                      <a:pt x="5787" y="13253"/>
                    </a:lnTo>
                    <a:lnTo>
                      <a:pt x="6191" y="13253"/>
                    </a:lnTo>
                    <a:lnTo>
                      <a:pt x="5450" y="13253"/>
                    </a:lnTo>
                    <a:lnTo>
                      <a:pt x="5450" y="12915"/>
                    </a:lnTo>
                    <a:lnTo>
                      <a:pt x="5047" y="1291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01" name="Shape 3027"/>
              <p:cNvSpPr/>
              <p:nvPr/>
            </p:nvSpPr>
            <p:spPr>
              <a:xfrm>
                <a:off x="7163192" y="3423191"/>
                <a:ext cx="519935" cy="668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60" y="14136"/>
                    </a:moveTo>
                    <a:lnTo>
                      <a:pt x="360" y="13856"/>
                    </a:lnTo>
                    <a:lnTo>
                      <a:pt x="360" y="13576"/>
                    </a:lnTo>
                    <a:lnTo>
                      <a:pt x="0" y="13576"/>
                    </a:lnTo>
                    <a:lnTo>
                      <a:pt x="0" y="13343"/>
                    </a:lnTo>
                    <a:lnTo>
                      <a:pt x="360" y="13343"/>
                    </a:lnTo>
                    <a:lnTo>
                      <a:pt x="660" y="13063"/>
                    </a:lnTo>
                    <a:lnTo>
                      <a:pt x="2760" y="13063"/>
                    </a:lnTo>
                    <a:lnTo>
                      <a:pt x="2760" y="12783"/>
                    </a:lnTo>
                    <a:lnTo>
                      <a:pt x="4080" y="12783"/>
                    </a:lnTo>
                    <a:lnTo>
                      <a:pt x="4440" y="12549"/>
                    </a:lnTo>
                    <a:lnTo>
                      <a:pt x="6180" y="12549"/>
                    </a:lnTo>
                    <a:lnTo>
                      <a:pt x="6480" y="12270"/>
                    </a:lnTo>
                    <a:lnTo>
                      <a:pt x="7200" y="12270"/>
                    </a:lnTo>
                    <a:lnTo>
                      <a:pt x="7200" y="11990"/>
                    </a:lnTo>
                    <a:lnTo>
                      <a:pt x="7560" y="11990"/>
                    </a:lnTo>
                    <a:lnTo>
                      <a:pt x="7860" y="11756"/>
                    </a:lnTo>
                    <a:lnTo>
                      <a:pt x="8220" y="11756"/>
                    </a:lnTo>
                    <a:lnTo>
                      <a:pt x="8220" y="11197"/>
                    </a:lnTo>
                    <a:lnTo>
                      <a:pt x="8580" y="11197"/>
                    </a:lnTo>
                    <a:lnTo>
                      <a:pt x="8220" y="11197"/>
                    </a:lnTo>
                    <a:lnTo>
                      <a:pt x="8220" y="10683"/>
                    </a:lnTo>
                    <a:lnTo>
                      <a:pt x="8580" y="10683"/>
                    </a:lnTo>
                    <a:lnTo>
                      <a:pt x="8580" y="9330"/>
                    </a:lnTo>
                    <a:lnTo>
                      <a:pt x="8220" y="9330"/>
                    </a:lnTo>
                    <a:lnTo>
                      <a:pt x="8220" y="8257"/>
                    </a:lnTo>
                    <a:lnTo>
                      <a:pt x="8580" y="8024"/>
                    </a:lnTo>
                    <a:lnTo>
                      <a:pt x="9240" y="8024"/>
                    </a:lnTo>
                    <a:lnTo>
                      <a:pt x="9240" y="7744"/>
                    </a:lnTo>
                    <a:lnTo>
                      <a:pt x="10260" y="7744"/>
                    </a:lnTo>
                    <a:lnTo>
                      <a:pt x="10260" y="7184"/>
                    </a:lnTo>
                    <a:lnTo>
                      <a:pt x="10620" y="7184"/>
                    </a:lnTo>
                    <a:lnTo>
                      <a:pt x="10620" y="6671"/>
                    </a:lnTo>
                    <a:lnTo>
                      <a:pt x="10260" y="6391"/>
                    </a:lnTo>
                    <a:lnTo>
                      <a:pt x="10620" y="6391"/>
                    </a:lnTo>
                    <a:lnTo>
                      <a:pt x="10620" y="6158"/>
                    </a:lnTo>
                    <a:lnTo>
                      <a:pt x="10980" y="5878"/>
                    </a:lnTo>
                    <a:lnTo>
                      <a:pt x="11280" y="5878"/>
                    </a:lnTo>
                    <a:lnTo>
                      <a:pt x="11280" y="5318"/>
                    </a:lnTo>
                    <a:lnTo>
                      <a:pt x="11640" y="5318"/>
                    </a:lnTo>
                    <a:lnTo>
                      <a:pt x="11280" y="5318"/>
                    </a:lnTo>
                    <a:lnTo>
                      <a:pt x="11280" y="4525"/>
                    </a:lnTo>
                    <a:lnTo>
                      <a:pt x="11640" y="4525"/>
                    </a:lnTo>
                    <a:lnTo>
                      <a:pt x="11640" y="4292"/>
                    </a:lnTo>
                    <a:lnTo>
                      <a:pt x="12660" y="4292"/>
                    </a:lnTo>
                    <a:lnTo>
                      <a:pt x="12660" y="4012"/>
                    </a:lnTo>
                    <a:lnTo>
                      <a:pt x="12360" y="3732"/>
                    </a:lnTo>
                    <a:lnTo>
                      <a:pt x="13020" y="3732"/>
                    </a:lnTo>
                    <a:lnTo>
                      <a:pt x="13020" y="3219"/>
                    </a:lnTo>
                    <a:lnTo>
                      <a:pt x="13680" y="3219"/>
                    </a:lnTo>
                    <a:lnTo>
                      <a:pt x="13680" y="2939"/>
                    </a:lnTo>
                    <a:lnTo>
                      <a:pt x="14040" y="2939"/>
                    </a:lnTo>
                    <a:lnTo>
                      <a:pt x="14400" y="3219"/>
                    </a:lnTo>
                    <a:lnTo>
                      <a:pt x="14400" y="2939"/>
                    </a:lnTo>
                    <a:lnTo>
                      <a:pt x="14760" y="2939"/>
                    </a:lnTo>
                    <a:lnTo>
                      <a:pt x="14760" y="2426"/>
                    </a:lnTo>
                    <a:lnTo>
                      <a:pt x="15060" y="2426"/>
                    </a:lnTo>
                    <a:lnTo>
                      <a:pt x="15060" y="2146"/>
                    </a:lnTo>
                    <a:lnTo>
                      <a:pt x="15420" y="1866"/>
                    </a:lnTo>
                    <a:lnTo>
                      <a:pt x="15420" y="1073"/>
                    </a:lnTo>
                    <a:lnTo>
                      <a:pt x="15780" y="1073"/>
                    </a:lnTo>
                    <a:lnTo>
                      <a:pt x="15780" y="560"/>
                    </a:lnTo>
                    <a:lnTo>
                      <a:pt x="16080" y="560"/>
                    </a:lnTo>
                    <a:lnTo>
                      <a:pt x="16080" y="0"/>
                    </a:lnTo>
                    <a:lnTo>
                      <a:pt x="18480" y="1633"/>
                    </a:lnTo>
                    <a:lnTo>
                      <a:pt x="19200" y="1866"/>
                    </a:lnTo>
                    <a:lnTo>
                      <a:pt x="18840" y="2426"/>
                    </a:lnTo>
                    <a:lnTo>
                      <a:pt x="19200" y="2426"/>
                    </a:lnTo>
                    <a:lnTo>
                      <a:pt x="18840" y="2659"/>
                    </a:lnTo>
                    <a:lnTo>
                      <a:pt x="18840" y="3219"/>
                    </a:lnTo>
                    <a:lnTo>
                      <a:pt x="19200" y="3219"/>
                    </a:lnTo>
                    <a:lnTo>
                      <a:pt x="19200" y="3499"/>
                    </a:lnTo>
                    <a:lnTo>
                      <a:pt x="19560" y="3219"/>
                    </a:lnTo>
                    <a:lnTo>
                      <a:pt x="20220" y="3219"/>
                    </a:lnTo>
                    <a:lnTo>
                      <a:pt x="20220" y="2939"/>
                    </a:lnTo>
                    <a:lnTo>
                      <a:pt x="20940" y="3499"/>
                    </a:lnTo>
                    <a:lnTo>
                      <a:pt x="20940" y="3732"/>
                    </a:lnTo>
                    <a:lnTo>
                      <a:pt x="20940" y="3499"/>
                    </a:lnTo>
                    <a:lnTo>
                      <a:pt x="20580" y="3499"/>
                    </a:lnTo>
                    <a:lnTo>
                      <a:pt x="20580" y="3732"/>
                    </a:lnTo>
                    <a:lnTo>
                      <a:pt x="20940" y="3732"/>
                    </a:lnTo>
                    <a:lnTo>
                      <a:pt x="21240" y="4012"/>
                    </a:lnTo>
                    <a:lnTo>
                      <a:pt x="20940" y="4012"/>
                    </a:lnTo>
                    <a:lnTo>
                      <a:pt x="21240" y="4012"/>
                    </a:lnTo>
                    <a:lnTo>
                      <a:pt x="20940" y="4012"/>
                    </a:lnTo>
                    <a:lnTo>
                      <a:pt x="21240" y="4012"/>
                    </a:lnTo>
                    <a:lnTo>
                      <a:pt x="21240" y="4525"/>
                    </a:lnTo>
                    <a:lnTo>
                      <a:pt x="21600" y="4525"/>
                    </a:lnTo>
                    <a:lnTo>
                      <a:pt x="21240" y="4525"/>
                    </a:lnTo>
                    <a:lnTo>
                      <a:pt x="21240" y="4292"/>
                    </a:lnTo>
                    <a:lnTo>
                      <a:pt x="20940" y="4292"/>
                    </a:lnTo>
                    <a:lnTo>
                      <a:pt x="20940" y="4525"/>
                    </a:lnTo>
                    <a:lnTo>
                      <a:pt x="21240" y="4525"/>
                    </a:lnTo>
                    <a:lnTo>
                      <a:pt x="21240" y="4805"/>
                    </a:lnTo>
                    <a:lnTo>
                      <a:pt x="21240" y="4525"/>
                    </a:lnTo>
                    <a:lnTo>
                      <a:pt x="20580" y="4525"/>
                    </a:lnTo>
                    <a:lnTo>
                      <a:pt x="20220" y="4292"/>
                    </a:lnTo>
                    <a:lnTo>
                      <a:pt x="19860" y="4292"/>
                    </a:lnTo>
                    <a:lnTo>
                      <a:pt x="20220" y="4292"/>
                    </a:lnTo>
                    <a:lnTo>
                      <a:pt x="20220" y="4525"/>
                    </a:lnTo>
                    <a:lnTo>
                      <a:pt x="20940" y="4525"/>
                    </a:lnTo>
                    <a:lnTo>
                      <a:pt x="20940" y="4805"/>
                    </a:lnTo>
                    <a:lnTo>
                      <a:pt x="21240" y="4805"/>
                    </a:lnTo>
                    <a:lnTo>
                      <a:pt x="21240" y="5318"/>
                    </a:lnTo>
                    <a:lnTo>
                      <a:pt x="20940" y="5318"/>
                    </a:lnTo>
                    <a:lnTo>
                      <a:pt x="21600" y="5318"/>
                    </a:lnTo>
                    <a:lnTo>
                      <a:pt x="21600" y="5598"/>
                    </a:lnTo>
                    <a:lnTo>
                      <a:pt x="21240" y="5598"/>
                    </a:lnTo>
                    <a:lnTo>
                      <a:pt x="21600" y="5878"/>
                    </a:lnTo>
                    <a:lnTo>
                      <a:pt x="21600" y="6671"/>
                    </a:lnTo>
                    <a:lnTo>
                      <a:pt x="21240" y="6671"/>
                    </a:lnTo>
                    <a:lnTo>
                      <a:pt x="21240" y="6951"/>
                    </a:lnTo>
                    <a:lnTo>
                      <a:pt x="21600" y="6951"/>
                    </a:lnTo>
                    <a:lnTo>
                      <a:pt x="21240" y="6951"/>
                    </a:lnTo>
                    <a:lnTo>
                      <a:pt x="21240" y="7464"/>
                    </a:lnTo>
                    <a:lnTo>
                      <a:pt x="20940" y="7744"/>
                    </a:lnTo>
                    <a:lnTo>
                      <a:pt x="20940" y="7184"/>
                    </a:lnTo>
                    <a:lnTo>
                      <a:pt x="21240" y="7184"/>
                    </a:lnTo>
                    <a:lnTo>
                      <a:pt x="21240" y="6951"/>
                    </a:lnTo>
                    <a:lnTo>
                      <a:pt x="20940" y="6951"/>
                    </a:lnTo>
                    <a:lnTo>
                      <a:pt x="20940" y="7464"/>
                    </a:lnTo>
                    <a:lnTo>
                      <a:pt x="20580" y="7464"/>
                    </a:lnTo>
                    <a:lnTo>
                      <a:pt x="20580" y="7744"/>
                    </a:lnTo>
                    <a:lnTo>
                      <a:pt x="20220" y="7744"/>
                    </a:lnTo>
                    <a:lnTo>
                      <a:pt x="20580" y="7744"/>
                    </a:lnTo>
                    <a:lnTo>
                      <a:pt x="20220" y="7744"/>
                    </a:lnTo>
                    <a:lnTo>
                      <a:pt x="19860" y="8024"/>
                    </a:lnTo>
                    <a:lnTo>
                      <a:pt x="20220" y="8024"/>
                    </a:lnTo>
                    <a:lnTo>
                      <a:pt x="19860" y="8024"/>
                    </a:lnTo>
                    <a:lnTo>
                      <a:pt x="19860" y="7744"/>
                    </a:lnTo>
                    <a:lnTo>
                      <a:pt x="19560" y="7744"/>
                    </a:lnTo>
                    <a:lnTo>
                      <a:pt x="19560" y="8024"/>
                    </a:lnTo>
                    <a:lnTo>
                      <a:pt x="19560" y="7744"/>
                    </a:lnTo>
                    <a:lnTo>
                      <a:pt x="19560" y="8024"/>
                    </a:lnTo>
                    <a:lnTo>
                      <a:pt x="19560" y="7744"/>
                    </a:lnTo>
                    <a:lnTo>
                      <a:pt x="19560" y="8024"/>
                    </a:lnTo>
                    <a:lnTo>
                      <a:pt x="19200" y="7744"/>
                    </a:lnTo>
                    <a:lnTo>
                      <a:pt x="19200" y="8024"/>
                    </a:lnTo>
                    <a:lnTo>
                      <a:pt x="19560" y="8024"/>
                    </a:lnTo>
                    <a:lnTo>
                      <a:pt x="19560" y="8257"/>
                    </a:lnTo>
                    <a:lnTo>
                      <a:pt x="19200" y="8257"/>
                    </a:lnTo>
                    <a:lnTo>
                      <a:pt x="19200" y="8817"/>
                    </a:lnTo>
                    <a:lnTo>
                      <a:pt x="18840" y="8817"/>
                    </a:lnTo>
                    <a:lnTo>
                      <a:pt x="18840" y="9051"/>
                    </a:lnTo>
                    <a:lnTo>
                      <a:pt x="19200" y="9051"/>
                    </a:lnTo>
                    <a:lnTo>
                      <a:pt x="18840" y="9051"/>
                    </a:lnTo>
                    <a:lnTo>
                      <a:pt x="18840" y="9330"/>
                    </a:lnTo>
                    <a:lnTo>
                      <a:pt x="18480" y="9330"/>
                    </a:lnTo>
                    <a:lnTo>
                      <a:pt x="18840" y="9330"/>
                    </a:lnTo>
                    <a:lnTo>
                      <a:pt x="18840" y="9890"/>
                    </a:lnTo>
                    <a:lnTo>
                      <a:pt x="18480" y="9890"/>
                    </a:lnTo>
                    <a:lnTo>
                      <a:pt x="18840" y="9890"/>
                    </a:lnTo>
                    <a:lnTo>
                      <a:pt x="18180" y="9890"/>
                    </a:lnTo>
                    <a:lnTo>
                      <a:pt x="18180" y="10403"/>
                    </a:lnTo>
                    <a:lnTo>
                      <a:pt x="17820" y="10683"/>
                    </a:lnTo>
                    <a:lnTo>
                      <a:pt x="17820" y="10403"/>
                    </a:lnTo>
                    <a:lnTo>
                      <a:pt x="17820" y="10683"/>
                    </a:lnTo>
                    <a:lnTo>
                      <a:pt x="17460" y="10683"/>
                    </a:lnTo>
                    <a:lnTo>
                      <a:pt x="17460" y="10403"/>
                    </a:lnTo>
                    <a:lnTo>
                      <a:pt x="17460" y="10683"/>
                    </a:lnTo>
                    <a:lnTo>
                      <a:pt x="17820" y="10683"/>
                    </a:lnTo>
                    <a:lnTo>
                      <a:pt x="17820" y="10917"/>
                    </a:lnTo>
                    <a:lnTo>
                      <a:pt x="17460" y="10917"/>
                    </a:lnTo>
                    <a:lnTo>
                      <a:pt x="17460" y="11197"/>
                    </a:lnTo>
                    <a:lnTo>
                      <a:pt x="17820" y="11197"/>
                    </a:lnTo>
                    <a:lnTo>
                      <a:pt x="17460" y="11476"/>
                    </a:lnTo>
                    <a:lnTo>
                      <a:pt x="17820" y="11476"/>
                    </a:lnTo>
                    <a:lnTo>
                      <a:pt x="17460" y="11476"/>
                    </a:lnTo>
                    <a:lnTo>
                      <a:pt x="17820" y="11476"/>
                    </a:lnTo>
                    <a:lnTo>
                      <a:pt x="17820" y="11756"/>
                    </a:lnTo>
                    <a:lnTo>
                      <a:pt x="18180" y="11756"/>
                    </a:lnTo>
                    <a:lnTo>
                      <a:pt x="18180" y="11990"/>
                    </a:lnTo>
                    <a:lnTo>
                      <a:pt x="18180" y="11756"/>
                    </a:lnTo>
                    <a:lnTo>
                      <a:pt x="18480" y="11756"/>
                    </a:lnTo>
                    <a:lnTo>
                      <a:pt x="18480" y="12783"/>
                    </a:lnTo>
                    <a:lnTo>
                      <a:pt x="18840" y="12783"/>
                    </a:lnTo>
                    <a:lnTo>
                      <a:pt x="18480" y="12783"/>
                    </a:lnTo>
                    <a:lnTo>
                      <a:pt x="18480" y="13856"/>
                    </a:lnTo>
                    <a:lnTo>
                      <a:pt x="18180" y="13856"/>
                    </a:lnTo>
                    <a:lnTo>
                      <a:pt x="18180" y="14136"/>
                    </a:lnTo>
                    <a:lnTo>
                      <a:pt x="17820" y="14416"/>
                    </a:lnTo>
                    <a:lnTo>
                      <a:pt x="17160" y="14416"/>
                    </a:lnTo>
                    <a:lnTo>
                      <a:pt x="17160" y="14136"/>
                    </a:lnTo>
                    <a:lnTo>
                      <a:pt x="17160" y="14416"/>
                    </a:lnTo>
                    <a:lnTo>
                      <a:pt x="17160" y="14136"/>
                    </a:lnTo>
                    <a:lnTo>
                      <a:pt x="16440" y="14136"/>
                    </a:lnTo>
                    <a:lnTo>
                      <a:pt x="16440" y="14649"/>
                    </a:lnTo>
                    <a:lnTo>
                      <a:pt x="16800" y="14929"/>
                    </a:lnTo>
                    <a:lnTo>
                      <a:pt x="16440" y="14929"/>
                    </a:lnTo>
                    <a:lnTo>
                      <a:pt x="16440" y="15209"/>
                    </a:lnTo>
                    <a:lnTo>
                      <a:pt x="16080" y="15442"/>
                    </a:lnTo>
                    <a:lnTo>
                      <a:pt x="16440" y="15442"/>
                    </a:lnTo>
                    <a:lnTo>
                      <a:pt x="16440" y="15722"/>
                    </a:lnTo>
                    <a:lnTo>
                      <a:pt x="15780" y="15722"/>
                    </a:lnTo>
                    <a:lnTo>
                      <a:pt x="15780" y="16002"/>
                    </a:lnTo>
                    <a:lnTo>
                      <a:pt x="15420" y="16282"/>
                    </a:lnTo>
                    <a:lnTo>
                      <a:pt x="15420" y="17308"/>
                    </a:lnTo>
                    <a:lnTo>
                      <a:pt x="15780" y="17308"/>
                    </a:lnTo>
                    <a:lnTo>
                      <a:pt x="15780" y="17588"/>
                    </a:lnTo>
                    <a:lnTo>
                      <a:pt x="16080" y="17868"/>
                    </a:lnTo>
                    <a:lnTo>
                      <a:pt x="16440" y="17868"/>
                    </a:lnTo>
                    <a:lnTo>
                      <a:pt x="16440" y="18148"/>
                    </a:lnTo>
                    <a:lnTo>
                      <a:pt x="16800" y="18148"/>
                    </a:lnTo>
                    <a:lnTo>
                      <a:pt x="15420" y="19174"/>
                    </a:lnTo>
                    <a:lnTo>
                      <a:pt x="15420" y="19454"/>
                    </a:lnTo>
                    <a:lnTo>
                      <a:pt x="15780" y="19454"/>
                    </a:lnTo>
                    <a:lnTo>
                      <a:pt x="15780" y="19967"/>
                    </a:lnTo>
                    <a:lnTo>
                      <a:pt x="15420" y="19967"/>
                    </a:lnTo>
                    <a:lnTo>
                      <a:pt x="15420" y="20527"/>
                    </a:lnTo>
                    <a:lnTo>
                      <a:pt x="15060" y="20807"/>
                    </a:lnTo>
                    <a:lnTo>
                      <a:pt x="14760" y="20807"/>
                    </a:lnTo>
                    <a:lnTo>
                      <a:pt x="14760" y="21040"/>
                    </a:lnTo>
                    <a:lnTo>
                      <a:pt x="14400" y="21040"/>
                    </a:lnTo>
                    <a:lnTo>
                      <a:pt x="14400" y="21320"/>
                    </a:lnTo>
                    <a:lnTo>
                      <a:pt x="14040" y="21320"/>
                    </a:lnTo>
                    <a:lnTo>
                      <a:pt x="14040" y="21600"/>
                    </a:lnTo>
                    <a:lnTo>
                      <a:pt x="14040" y="21320"/>
                    </a:lnTo>
                    <a:lnTo>
                      <a:pt x="13680" y="21320"/>
                    </a:lnTo>
                    <a:lnTo>
                      <a:pt x="13680" y="21040"/>
                    </a:lnTo>
                    <a:lnTo>
                      <a:pt x="13380" y="21040"/>
                    </a:lnTo>
                    <a:lnTo>
                      <a:pt x="13380" y="20807"/>
                    </a:lnTo>
                    <a:lnTo>
                      <a:pt x="13020" y="20807"/>
                    </a:lnTo>
                    <a:lnTo>
                      <a:pt x="13020" y="20527"/>
                    </a:lnTo>
                    <a:lnTo>
                      <a:pt x="12660" y="20527"/>
                    </a:lnTo>
                    <a:lnTo>
                      <a:pt x="12360" y="20247"/>
                    </a:lnTo>
                    <a:lnTo>
                      <a:pt x="12000" y="20247"/>
                    </a:lnTo>
                    <a:lnTo>
                      <a:pt x="11640" y="20527"/>
                    </a:lnTo>
                    <a:lnTo>
                      <a:pt x="9960" y="20527"/>
                    </a:lnTo>
                    <a:lnTo>
                      <a:pt x="9600" y="20247"/>
                    </a:lnTo>
                    <a:lnTo>
                      <a:pt x="9600" y="19967"/>
                    </a:lnTo>
                    <a:lnTo>
                      <a:pt x="9600" y="20247"/>
                    </a:lnTo>
                    <a:lnTo>
                      <a:pt x="9600" y="19967"/>
                    </a:lnTo>
                    <a:lnTo>
                      <a:pt x="9240" y="19967"/>
                    </a:lnTo>
                    <a:lnTo>
                      <a:pt x="9240" y="19734"/>
                    </a:lnTo>
                    <a:lnTo>
                      <a:pt x="9600" y="19734"/>
                    </a:lnTo>
                    <a:lnTo>
                      <a:pt x="9240" y="19734"/>
                    </a:lnTo>
                    <a:lnTo>
                      <a:pt x="9240" y="19454"/>
                    </a:lnTo>
                    <a:lnTo>
                      <a:pt x="9240" y="19734"/>
                    </a:lnTo>
                    <a:lnTo>
                      <a:pt x="9240" y="19454"/>
                    </a:lnTo>
                    <a:lnTo>
                      <a:pt x="8880" y="19454"/>
                    </a:lnTo>
                    <a:lnTo>
                      <a:pt x="8580" y="19174"/>
                    </a:lnTo>
                    <a:lnTo>
                      <a:pt x="8880" y="19174"/>
                    </a:lnTo>
                    <a:lnTo>
                      <a:pt x="8580" y="18941"/>
                    </a:lnTo>
                    <a:lnTo>
                      <a:pt x="7860" y="18941"/>
                    </a:lnTo>
                    <a:lnTo>
                      <a:pt x="7860" y="19174"/>
                    </a:lnTo>
                    <a:lnTo>
                      <a:pt x="7560" y="19174"/>
                    </a:lnTo>
                    <a:lnTo>
                      <a:pt x="7560" y="18941"/>
                    </a:lnTo>
                    <a:lnTo>
                      <a:pt x="7860" y="18941"/>
                    </a:lnTo>
                    <a:lnTo>
                      <a:pt x="7560" y="18661"/>
                    </a:lnTo>
                    <a:lnTo>
                      <a:pt x="7560" y="18381"/>
                    </a:lnTo>
                    <a:lnTo>
                      <a:pt x="7200" y="18381"/>
                    </a:lnTo>
                    <a:lnTo>
                      <a:pt x="6840" y="18148"/>
                    </a:lnTo>
                    <a:lnTo>
                      <a:pt x="6480" y="18148"/>
                    </a:lnTo>
                    <a:lnTo>
                      <a:pt x="6480" y="17868"/>
                    </a:lnTo>
                    <a:lnTo>
                      <a:pt x="6480" y="18148"/>
                    </a:lnTo>
                    <a:lnTo>
                      <a:pt x="6180" y="18148"/>
                    </a:lnTo>
                    <a:lnTo>
                      <a:pt x="6180" y="18381"/>
                    </a:lnTo>
                    <a:lnTo>
                      <a:pt x="6480" y="18381"/>
                    </a:lnTo>
                    <a:lnTo>
                      <a:pt x="6840" y="18661"/>
                    </a:lnTo>
                    <a:lnTo>
                      <a:pt x="6480" y="18661"/>
                    </a:lnTo>
                    <a:lnTo>
                      <a:pt x="6480" y="18941"/>
                    </a:lnTo>
                    <a:lnTo>
                      <a:pt x="5820" y="18941"/>
                    </a:lnTo>
                    <a:lnTo>
                      <a:pt x="5820" y="18381"/>
                    </a:lnTo>
                    <a:lnTo>
                      <a:pt x="5460" y="18381"/>
                    </a:lnTo>
                    <a:lnTo>
                      <a:pt x="5460" y="18661"/>
                    </a:lnTo>
                    <a:lnTo>
                      <a:pt x="4080" y="18661"/>
                    </a:lnTo>
                    <a:lnTo>
                      <a:pt x="660" y="1413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02" name="Shape 3028"/>
              <p:cNvSpPr/>
              <p:nvPr/>
            </p:nvSpPr>
            <p:spPr>
              <a:xfrm>
                <a:off x="7005767" y="4421176"/>
                <a:ext cx="239748" cy="2801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169" y="19039"/>
                    </a:moveTo>
                    <a:lnTo>
                      <a:pt x="20819" y="18482"/>
                    </a:lnTo>
                    <a:lnTo>
                      <a:pt x="20819" y="17814"/>
                    </a:lnTo>
                    <a:lnTo>
                      <a:pt x="21600" y="17814"/>
                    </a:lnTo>
                    <a:lnTo>
                      <a:pt x="20819" y="17814"/>
                    </a:lnTo>
                    <a:lnTo>
                      <a:pt x="20819" y="17146"/>
                    </a:lnTo>
                    <a:lnTo>
                      <a:pt x="21600" y="17146"/>
                    </a:lnTo>
                    <a:lnTo>
                      <a:pt x="21600" y="14586"/>
                    </a:lnTo>
                    <a:lnTo>
                      <a:pt x="20819" y="15254"/>
                    </a:lnTo>
                    <a:lnTo>
                      <a:pt x="20819" y="14586"/>
                    </a:lnTo>
                    <a:lnTo>
                      <a:pt x="19388" y="14586"/>
                    </a:lnTo>
                    <a:lnTo>
                      <a:pt x="19388" y="13361"/>
                    </a:lnTo>
                    <a:lnTo>
                      <a:pt x="18607" y="13361"/>
                    </a:lnTo>
                    <a:lnTo>
                      <a:pt x="18607" y="12136"/>
                    </a:lnTo>
                    <a:lnTo>
                      <a:pt x="17827" y="12136"/>
                    </a:lnTo>
                    <a:lnTo>
                      <a:pt x="17827" y="11468"/>
                    </a:lnTo>
                    <a:lnTo>
                      <a:pt x="17176" y="10800"/>
                    </a:lnTo>
                    <a:lnTo>
                      <a:pt x="17827" y="10800"/>
                    </a:lnTo>
                    <a:lnTo>
                      <a:pt x="17827" y="9575"/>
                    </a:lnTo>
                    <a:lnTo>
                      <a:pt x="18607" y="9575"/>
                    </a:lnTo>
                    <a:lnTo>
                      <a:pt x="17827" y="8907"/>
                    </a:lnTo>
                    <a:lnTo>
                      <a:pt x="18607" y="8239"/>
                    </a:lnTo>
                    <a:lnTo>
                      <a:pt x="18607" y="7682"/>
                    </a:lnTo>
                    <a:lnTo>
                      <a:pt x="19388" y="7682"/>
                    </a:lnTo>
                    <a:lnTo>
                      <a:pt x="19388" y="7014"/>
                    </a:lnTo>
                    <a:lnTo>
                      <a:pt x="18607" y="7014"/>
                    </a:lnTo>
                    <a:lnTo>
                      <a:pt x="19388" y="7014"/>
                    </a:lnTo>
                    <a:lnTo>
                      <a:pt x="19388" y="6346"/>
                    </a:lnTo>
                    <a:lnTo>
                      <a:pt x="20169" y="6346"/>
                    </a:lnTo>
                    <a:lnTo>
                      <a:pt x="20169" y="5122"/>
                    </a:lnTo>
                    <a:lnTo>
                      <a:pt x="19388" y="4454"/>
                    </a:lnTo>
                    <a:lnTo>
                      <a:pt x="19388" y="2561"/>
                    </a:lnTo>
                    <a:lnTo>
                      <a:pt x="17827" y="2561"/>
                    </a:lnTo>
                    <a:lnTo>
                      <a:pt x="17827" y="3229"/>
                    </a:lnTo>
                    <a:lnTo>
                      <a:pt x="17176" y="3229"/>
                    </a:lnTo>
                    <a:lnTo>
                      <a:pt x="17176" y="2561"/>
                    </a:lnTo>
                    <a:lnTo>
                      <a:pt x="16395" y="2561"/>
                    </a:lnTo>
                    <a:lnTo>
                      <a:pt x="16395" y="3229"/>
                    </a:lnTo>
                    <a:lnTo>
                      <a:pt x="16395" y="2561"/>
                    </a:lnTo>
                    <a:lnTo>
                      <a:pt x="15614" y="2561"/>
                    </a:lnTo>
                    <a:lnTo>
                      <a:pt x="15614" y="3229"/>
                    </a:lnTo>
                    <a:lnTo>
                      <a:pt x="14964" y="3229"/>
                    </a:lnTo>
                    <a:lnTo>
                      <a:pt x="14964" y="3786"/>
                    </a:lnTo>
                    <a:lnTo>
                      <a:pt x="14183" y="3786"/>
                    </a:lnTo>
                    <a:lnTo>
                      <a:pt x="14183" y="3229"/>
                    </a:lnTo>
                    <a:lnTo>
                      <a:pt x="13402" y="2561"/>
                    </a:lnTo>
                    <a:lnTo>
                      <a:pt x="10410" y="2561"/>
                    </a:lnTo>
                    <a:lnTo>
                      <a:pt x="10410" y="1893"/>
                    </a:lnTo>
                    <a:lnTo>
                      <a:pt x="10410" y="2561"/>
                    </a:lnTo>
                    <a:lnTo>
                      <a:pt x="10410" y="1893"/>
                    </a:lnTo>
                    <a:lnTo>
                      <a:pt x="9759" y="1893"/>
                    </a:lnTo>
                    <a:lnTo>
                      <a:pt x="8978" y="2561"/>
                    </a:lnTo>
                    <a:lnTo>
                      <a:pt x="8978" y="1336"/>
                    </a:lnTo>
                    <a:lnTo>
                      <a:pt x="8198" y="1336"/>
                    </a:lnTo>
                    <a:lnTo>
                      <a:pt x="8198" y="0"/>
                    </a:lnTo>
                    <a:lnTo>
                      <a:pt x="7417" y="0"/>
                    </a:lnTo>
                    <a:lnTo>
                      <a:pt x="7417" y="668"/>
                    </a:lnTo>
                    <a:lnTo>
                      <a:pt x="6766" y="1336"/>
                    </a:lnTo>
                    <a:lnTo>
                      <a:pt x="5986" y="668"/>
                    </a:lnTo>
                    <a:lnTo>
                      <a:pt x="5986" y="1336"/>
                    </a:lnTo>
                    <a:lnTo>
                      <a:pt x="5205" y="1336"/>
                    </a:lnTo>
                    <a:lnTo>
                      <a:pt x="5205" y="1893"/>
                    </a:lnTo>
                    <a:lnTo>
                      <a:pt x="3773" y="1893"/>
                    </a:lnTo>
                    <a:lnTo>
                      <a:pt x="3773" y="2561"/>
                    </a:lnTo>
                    <a:lnTo>
                      <a:pt x="2993" y="3229"/>
                    </a:lnTo>
                    <a:lnTo>
                      <a:pt x="2993" y="3786"/>
                    </a:lnTo>
                    <a:lnTo>
                      <a:pt x="2212" y="3786"/>
                    </a:lnTo>
                    <a:lnTo>
                      <a:pt x="2212" y="4454"/>
                    </a:lnTo>
                    <a:lnTo>
                      <a:pt x="1561" y="4454"/>
                    </a:lnTo>
                    <a:lnTo>
                      <a:pt x="1561" y="5790"/>
                    </a:lnTo>
                    <a:lnTo>
                      <a:pt x="781" y="5790"/>
                    </a:lnTo>
                    <a:lnTo>
                      <a:pt x="781" y="6346"/>
                    </a:lnTo>
                    <a:lnTo>
                      <a:pt x="0" y="6346"/>
                    </a:lnTo>
                    <a:lnTo>
                      <a:pt x="0" y="7014"/>
                    </a:lnTo>
                    <a:lnTo>
                      <a:pt x="781" y="7014"/>
                    </a:lnTo>
                    <a:lnTo>
                      <a:pt x="781" y="7682"/>
                    </a:lnTo>
                    <a:lnTo>
                      <a:pt x="781" y="7014"/>
                    </a:lnTo>
                    <a:lnTo>
                      <a:pt x="781" y="7682"/>
                    </a:lnTo>
                    <a:lnTo>
                      <a:pt x="1561" y="7682"/>
                    </a:lnTo>
                    <a:lnTo>
                      <a:pt x="1561" y="7014"/>
                    </a:lnTo>
                    <a:lnTo>
                      <a:pt x="1561" y="7682"/>
                    </a:lnTo>
                    <a:lnTo>
                      <a:pt x="2212" y="7682"/>
                    </a:lnTo>
                    <a:lnTo>
                      <a:pt x="2212" y="8907"/>
                    </a:lnTo>
                    <a:lnTo>
                      <a:pt x="2993" y="8907"/>
                    </a:lnTo>
                    <a:lnTo>
                      <a:pt x="2993" y="9575"/>
                    </a:lnTo>
                    <a:lnTo>
                      <a:pt x="5986" y="9575"/>
                    </a:lnTo>
                    <a:lnTo>
                      <a:pt x="5986" y="10132"/>
                    </a:lnTo>
                    <a:lnTo>
                      <a:pt x="5205" y="10132"/>
                    </a:lnTo>
                    <a:lnTo>
                      <a:pt x="5986" y="10132"/>
                    </a:lnTo>
                    <a:lnTo>
                      <a:pt x="5986" y="10800"/>
                    </a:lnTo>
                    <a:lnTo>
                      <a:pt x="6766" y="11468"/>
                    </a:lnTo>
                    <a:lnTo>
                      <a:pt x="6766" y="12693"/>
                    </a:lnTo>
                    <a:lnTo>
                      <a:pt x="5986" y="12693"/>
                    </a:lnTo>
                    <a:lnTo>
                      <a:pt x="5986" y="14029"/>
                    </a:lnTo>
                    <a:lnTo>
                      <a:pt x="5205" y="14029"/>
                    </a:lnTo>
                    <a:lnTo>
                      <a:pt x="5986" y="14586"/>
                    </a:lnTo>
                    <a:lnTo>
                      <a:pt x="6766" y="15254"/>
                    </a:lnTo>
                    <a:lnTo>
                      <a:pt x="6766" y="15922"/>
                    </a:lnTo>
                    <a:lnTo>
                      <a:pt x="5986" y="15922"/>
                    </a:lnTo>
                    <a:lnTo>
                      <a:pt x="6766" y="15922"/>
                    </a:lnTo>
                    <a:lnTo>
                      <a:pt x="6766" y="16590"/>
                    </a:lnTo>
                    <a:lnTo>
                      <a:pt x="7417" y="16590"/>
                    </a:lnTo>
                    <a:lnTo>
                      <a:pt x="7417" y="15922"/>
                    </a:lnTo>
                    <a:lnTo>
                      <a:pt x="8198" y="15922"/>
                    </a:lnTo>
                    <a:lnTo>
                      <a:pt x="8198" y="16590"/>
                    </a:lnTo>
                    <a:lnTo>
                      <a:pt x="8978" y="16590"/>
                    </a:lnTo>
                    <a:lnTo>
                      <a:pt x="8198" y="16590"/>
                    </a:lnTo>
                    <a:lnTo>
                      <a:pt x="8198" y="17814"/>
                    </a:lnTo>
                    <a:lnTo>
                      <a:pt x="8978" y="17814"/>
                    </a:lnTo>
                    <a:lnTo>
                      <a:pt x="8198" y="17814"/>
                    </a:lnTo>
                    <a:lnTo>
                      <a:pt x="8978" y="17814"/>
                    </a:lnTo>
                    <a:lnTo>
                      <a:pt x="8978" y="18482"/>
                    </a:lnTo>
                    <a:lnTo>
                      <a:pt x="9759" y="19039"/>
                    </a:lnTo>
                    <a:lnTo>
                      <a:pt x="9759" y="19707"/>
                    </a:lnTo>
                    <a:lnTo>
                      <a:pt x="8978" y="19707"/>
                    </a:lnTo>
                    <a:lnTo>
                      <a:pt x="8978" y="19039"/>
                    </a:lnTo>
                    <a:lnTo>
                      <a:pt x="8978" y="19707"/>
                    </a:lnTo>
                    <a:lnTo>
                      <a:pt x="8198" y="19707"/>
                    </a:lnTo>
                    <a:lnTo>
                      <a:pt x="8198" y="21043"/>
                    </a:lnTo>
                    <a:lnTo>
                      <a:pt x="7417" y="21043"/>
                    </a:lnTo>
                    <a:lnTo>
                      <a:pt x="8198" y="21043"/>
                    </a:lnTo>
                    <a:lnTo>
                      <a:pt x="8198" y="21600"/>
                    </a:lnTo>
                    <a:lnTo>
                      <a:pt x="10410" y="21600"/>
                    </a:lnTo>
                    <a:lnTo>
                      <a:pt x="10410" y="21043"/>
                    </a:lnTo>
                    <a:lnTo>
                      <a:pt x="9759" y="21043"/>
                    </a:lnTo>
                    <a:lnTo>
                      <a:pt x="10410" y="20375"/>
                    </a:lnTo>
                    <a:lnTo>
                      <a:pt x="12622" y="20375"/>
                    </a:lnTo>
                    <a:lnTo>
                      <a:pt x="12622" y="21043"/>
                    </a:lnTo>
                    <a:lnTo>
                      <a:pt x="12622" y="20375"/>
                    </a:lnTo>
                    <a:lnTo>
                      <a:pt x="14183" y="20375"/>
                    </a:lnTo>
                    <a:lnTo>
                      <a:pt x="14183" y="19707"/>
                    </a:lnTo>
                    <a:lnTo>
                      <a:pt x="17827" y="19707"/>
                    </a:lnTo>
                    <a:lnTo>
                      <a:pt x="17827" y="19039"/>
                    </a:lnTo>
                    <a:lnTo>
                      <a:pt x="17176" y="19039"/>
                    </a:lnTo>
                    <a:lnTo>
                      <a:pt x="18607" y="19039"/>
                    </a:lnTo>
                    <a:lnTo>
                      <a:pt x="19388" y="19707"/>
                    </a:lnTo>
                    <a:lnTo>
                      <a:pt x="20169" y="19707"/>
                    </a:lnTo>
                    <a:lnTo>
                      <a:pt x="20169" y="1903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03" name="Shape 3029"/>
              <p:cNvSpPr/>
              <p:nvPr/>
            </p:nvSpPr>
            <p:spPr>
              <a:xfrm>
                <a:off x="6923444" y="4058667"/>
                <a:ext cx="337958" cy="2224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569" y="12764"/>
                    </a:moveTo>
                    <a:lnTo>
                      <a:pt x="19569" y="12062"/>
                    </a:lnTo>
                    <a:lnTo>
                      <a:pt x="19015" y="12062"/>
                    </a:lnTo>
                    <a:lnTo>
                      <a:pt x="19015" y="10379"/>
                    </a:lnTo>
                    <a:lnTo>
                      <a:pt x="18462" y="10379"/>
                    </a:lnTo>
                    <a:lnTo>
                      <a:pt x="18462" y="9538"/>
                    </a:lnTo>
                    <a:lnTo>
                      <a:pt x="17908" y="9538"/>
                    </a:lnTo>
                    <a:lnTo>
                      <a:pt x="17908" y="10379"/>
                    </a:lnTo>
                    <a:lnTo>
                      <a:pt x="17908" y="8836"/>
                    </a:lnTo>
                    <a:lnTo>
                      <a:pt x="17446" y="8836"/>
                    </a:lnTo>
                    <a:lnTo>
                      <a:pt x="17446" y="7153"/>
                    </a:lnTo>
                    <a:lnTo>
                      <a:pt x="17908" y="7153"/>
                    </a:lnTo>
                    <a:lnTo>
                      <a:pt x="17908" y="6452"/>
                    </a:lnTo>
                    <a:lnTo>
                      <a:pt x="17446" y="6452"/>
                    </a:lnTo>
                    <a:lnTo>
                      <a:pt x="16892" y="5610"/>
                    </a:lnTo>
                    <a:lnTo>
                      <a:pt x="16892" y="6452"/>
                    </a:lnTo>
                    <a:lnTo>
                      <a:pt x="16338" y="6452"/>
                    </a:lnTo>
                    <a:lnTo>
                      <a:pt x="16892" y="5610"/>
                    </a:lnTo>
                    <a:lnTo>
                      <a:pt x="16338" y="5610"/>
                    </a:lnTo>
                    <a:lnTo>
                      <a:pt x="16338" y="4769"/>
                    </a:lnTo>
                    <a:lnTo>
                      <a:pt x="14769" y="4769"/>
                    </a:lnTo>
                    <a:lnTo>
                      <a:pt x="14769" y="5610"/>
                    </a:lnTo>
                    <a:lnTo>
                      <a:pt x="13754" y="5610"/>
                    </a:lnTo>
                    <a:lnTo>
                      <a:pt x="13754" y="3226"/>
                    </a:lnTo>
                    <a:lnTo>
                      <a:pt x="14215" y="3226"/>
                    </a:lnTo>
                    <a:lnTo>
                      <a:pt x="14215" y="2384"/>
                    </a:lnTo>
                    <a:lnTo>
                      <a:pt x="13754" y="2384"/>
                    </a:lnTo>
                    <a:lnTo>
                      <a:pt x="14215" y="2384"/>
                    </a:lnTo>
                    <a:lnTo>
                      <a:pt x="13754" y="2384"/>
                    </a:lnTo>
                    <a:lnTo>
                      <a:pt x="13754" y="842"/>
                    </a:lnTo>
                    <a:lnTo>
                      <a:pt x="13200" y="842"/>
                    </a:lnTo>
                    <a:lnTo>
                      <a:pt x="13200" y="1543"/>
                    </a:lnTo>
                    <a:lnTo>
                      <a:pt x="12646" y="1543"/>
                    </a:lnTo>
                    <a:lnTo>
                      <a:pt x="12646" y="0"/>
                    </a:lnTo>
                    <a:lnTo>
                      <a:pt x="12185" y="0"/>
                    </a:lnTo>
                    <a:lnTo>
                      <a:pt x="12185" y="1543"/>
                    </a:lnTo>
                    <a:lnTo>
                      <a:pt x="10062" y="1543"/>
                    </a:lnTo>
                    <a:lnTo>
                      <a:pt x="10062" y="842"/>
                    </a:lnTo>
                    <a:lnTo>
                      <a:pt x="9508" y="842"/>
                    </a:lnTo>
                    <a:lnTo>
                      <a:pt x="8954" y="1543"/>
                    </a:lnTo>
                    <a:lnTo>
                      <a:pt x="8492" y="1543"/>
                    </a:lnTo>
                    <a:lnTo>
                      <a:pt x="8492" y="842"/>
                    </a:lnTo>
                    <a:lnTo>
                      <a:pt x="8492" y="1543"/>
                    </a:lnTo>
                    <a:lnTo>
                      <a:pt x="7938" y="1543"/>
                    </a:lnTo>
                    <a:lnTo>
                      <a:pt x="7385" y="2384"/>
                    </a:lnTo>
                    <a:lnTo>
                      <a:pt x="7385" y="1543"/>
                    </a:lnTo>
                    <a:lnTo>
                      <a:pt x="6831" y="842"/>
                    </a:lnTo>
                    <a:lnTo>
                      <a:pt x="6831" y="1543"/>
                    </a:lnTo>
                    <a:lnTo>
                      <a:pt x="6831" y="842"/>
                    </a:lnTo>
                    <a:lnTo>
                      <a:pt x="6369" y="842"/>
                    </a:lnTo>
                    <a:lnTo>
                      <a:pt x="6369" y="0"/>
                    </a:lnTo>
                    <a:lnTo>
                      <a:pt x="5815" y="0"/>
                    </a:lnTo>
                    <a:lnTo>
                      <a:pt x="5815" y="842"/>
                    </a:lnTo>
                    <a:lnTo>
                      <a:pt x="5262" y="842"/>
                    </a:lnTo>
                    <a:lnTo>
                      <a:pt x="5262" y="1543"/>
                    </a:lnTo>
                    <a:lnTo>
                      <a:pt x="4708" y="1543"/>
                    </a:lnTo>
                    <a:lnTo>
                      <a:pt x="4708" y="842"/>
                    </a:lnTo>
                    <a:lnTo>
                      <a:pt x="4246" y="842"/>
                    </a:lnTo>
                    <a:lnTo>
                      <a:pt x="4246" y="2384"/>
                    </a:lnTo>
                    <a:lnTo>
                      <a:pt x="3138" y="2384"/>
                    </a:lnTo>
                    <a:lnTo>
                      <a:pt x="3138" y="1543"/>
                    </a:lnTo>
                    <a:lnTo>
                      <a:pt x="2677" y="2384"/>
                    </a:lnTo>
                    <a:lnTo>
                      <a:pt x="2677" y="3226"/>
                    </a:lnTo>
                    <a:lnTo>
                      <a:pt x="2677" y="2384"/>
                    </a:lnTo>
                    <a:lnTo>
                      <a:pt x="2677" y="3226"/>
                    </a:lnTo>
                    <a:lnTo>
                      <a:pt x="2123" y="3226"/>
                    </a:lnTo>
                    <a:lnTo>
                      <a:pt x="2677" y="3226"/>
                    </a:lnTo>
                    <a:lnTo>
                      <a:pt x="2677" y="4769"/>
                    </a:lnTo>
                    <a:lnTo>
                      <a:pt x="2123" y="4769"/>
                    </a:lnTo>
                    <a:lnTo>
                      <a:pt x="2123" y="5610"/>
                    </a:lnTo>
                    <a:lnTo>
                      <a:pt x="2677" y="5610"/>
                    </a:lnTo>
                    <a:lnTo>
                      <a:pt x="2677" y="6452"/>
                    </a:lnTo>
                    <a:lnTo>
                      <a:pt x="3138" y="6452"/>
                    </a:lnTo>
                    <a:lnTo>
                      <a:pt x="3138" y="7153"/>
                    </a:lnTo>
                    <a:lnTo>
                      <a:pt x="3692" y="7153"/>
                    </a:lnTo>
                    <a:lnTo>
                      <a:pt x="3692" y="7995"/>
                    </a:lnTo>
                    <a:lnTo>
                      <a:pt x="3138" y="7995"/>
                    </a:lnTo>
                    <a:lnTo>
                      <a:pt x="3138" y="8836"/>
                    </a:lnTo>
                    <a:lnTo>
                      <a:pt x="2677" y="8836"/>
                    </a:lnTo>
                    <a:lnTo>
                      <a:pt x="2123" y="9538"/>
                    </a:lnTo>
                    <a:lnTo>
                      <a:pt x="2677" y="9538"/>
                    </a:lnTo>
                    <a:lnTo>
                      <a:pt x="2677" y="10379"/>
                    </a:lnTo>
                    <a:lnTo>
                      <a:pt x="1015" y="10379"/>
                    </a:lnTo>
                    <a:lnTo>
                      <a:pt x="1015" y="11221"/>
                    </a:lnTo>
                    <a:lnTo>
                      <a:pt x="1569" y="11221"/>
                    </a:lnTo>
                    <a:lnTo>
                      <a:pt x="1015" y="11221"/>
                    </a:lnTo>
                    <a:lnTo>
                      <a:pt x="1015" y="12764"/>
                    </a:lnTo>
                    <a:lnTo>
                      <a:pt x="1569" y="12764"/>
                    </a:lnTo>
                    <a:lnTo>
                      <a:pt x="554" y="12764"/>
                    </a:lnTo>
                    <a:lnTo>
                      <a:pt x="554" y="13605"/>
                    </a:lnTo>
                    <a:lnTo>
                      <a:pt x="0" y="14447"/>
                    </a:lnTo>
                    <a:lnTo>
                      <a:pt x="0" y="15148"/>
                    </a:lnTo>
                    <a:lnTo>
                      <a:pt x="554" y="15148"/>
                    </a:lnTo>
                    <a:lnTo>
                      <a:pt x="0" y="15990"/>
                    </a:lnTo>
                    <a:lnTo>
                      <a:pt x="1015" y="15990"/>
                    </a:lnTo>
                    <a:lnTo>
                      <a:pt x="1015" y="16831"/>
                    </a:lnTo>
                    <a:lnTo>
                      <a:pt x="1569" y="16831"/>
                    </a:lnTo>
                    <a:lnTo>
                      <a:pt x="1569" y="17673"/>
                    </a:lnTo>
                    <a:lnTo>
                      <a:pt x="2123" y="17673"/>
                    </a:lnTo>
                    <a:lnTo>
                      <a:pt x="2123" y="18374"/>
                    </a:lnTo>
                    <a:lnTo>
                      <a:pt x="2677" y="17673"/>
                    </a:lnTo>
                    <a:lnTo>
                      <a:pt x="2677" y="18374"/>
                    </a:lnTo>
                    <a:lnTo>
                      <a:pt x="3138" y="17673"/>
                    </a:lnTo>
                    <a:lnTo>
                      <a:pt x="3692" y="17673"/>
                    </a:lnTo>
                    <a:lnTo>
                      <a:pt x="3692" y="18374"/>
                    </a:lnTo>
                    <a:lnTo>
                      <a:pt x="5815" y="18374"/>
                    </a:lnTo>
                    <a:lnTo>
                      <a:pt x="6369" y="19216"/>
                    </a:lnTo>
                    <a:lnTo>
                      <a:pt x="6369" y="18374"/>
                    </a:lnTo>
                    <a:lnTo>
                      <a:pt x="6369" y="19216"/>
                    </a:lnTo>
                    <a:lnTo>
                      <a:pt x="6831" y="19216"/>
                    </a:lnTo>
                    <a:lnTo>
                      <a:pt x="6831" y="18374"/>
                    </a:lnTo>
                    <a:lnTo>
                      <a:pt x="7938" y="18374"/>
                    </a:lnTo>
                    <a:lnTo>
                      <a:pt x="7938" y="20057"/>
                    </a:lnTo>
                    <a:lnTo>
                      <a:pt x="8492" y="19216"/>
                    </a:lnTo>
                    <a:lnTo>
                      <a:pt x="8492" y="20758"/>
                    </a:lnTo>
                    <a:lnTo>
                      <a:pt x="8954" y="20057"/>
                    </a:lnTo>
                    <a:lnTo>
                      <a:pt x="8954" y="19216"/>
                    </a:lnTo>
                    <a:lnTo>
                      <a:pt x="10523" y="19216"/>
                    </a:lnTo>
                    <a:lnTo>
                      <a:pt x="11077" y="18374"/>
                    </a:lnTo>
                    <a:lnTo>
                      <a:pt x="12185" y="18374"/>
                    </a:lnTo>
                    <a:lnTo>
                      <a:pt x="12185" y="15990"/>
                    </a:lnTo>
                    <a:lnTo>
                      <a:pt x="12646" y="15990"/>
                    </a:lnTo>
                    <a:lnTo>
                      <a:pt x="12646" y="16831"/>
                    </a:lnTo>
                    <a:lnTo>
                      <a:pt x="12646" y="15990"/>
                    </a:lnTo>
                    <a:lnTo>
                      <a:pt x="12646" y="16831"/>
                    </a:lnTo>
                    <a:lnTo>
                      <a:pt x="13754" y="16831"/>
                    </a:lnTo>
                    <a:lnTo>
                      <a:pt x="13754" y="17673"/>
                    </a:lnTo>
                    <a:lnTo>
                      <a:pt x="14215" y="17673"/>
                    </a:lnTo>
                    <a:lnTo>
                      <a:pt x="14215" y="18374"/>
                    </a:lnTo>
                    <a:lnTo>
                      <a:pt x="14769" y="18374"/>
                    </a:lnTo>
                    <a:lnTo>
                      <a:pt x="14769" y="20057"/>
                    </a:lnTo>
                    <a:lnTo>
                      <a:pt x="15323" y="20057"/>
                    </a:lnTo>
                    <a:lnTo>
                      <a:pt x="15323" y="19216"/>
                    </a:lnTo>
                    <a:lnTo>
                      <a:pt x="15877" y="19216"/>
                    </a:lnTo>
                    <a:lnTo>
                      <a:pt x="16338" y="20057"/>
                    </a:lnTo>
                    <a:lnTo>
                      <a:pt x="16338" y="20758"/>
                    </a:lnTo>
                    <a:lnTo>
                      <a:pt x="17446" y="20758"/>
                    </a:lnTo>
                    <a:lnTo>
                      <a:pt x="17446" y="20057"/>
                    </a:lnTo>
                    <a:lnTo>
                      <a:pt x="19015" y="20057"/>
                    </a:lnTo>
                    <a:lnTo>
                      <a:pt x="19015" y="20758"/>
                    </a:lnTo>
                    <a:lnTo>
                      <a:pt x="19569" y="20758"/>
                    </a:lnTo>
                    <a:lnTo>
                      <a:pt x="19569" y="21600"/>
                    </a:lnTo>
                    <a:lnTo>
                      <a:pt x="21138" y="21600"/>
                    </a:lnTo>
                    <a:lnTo>
                      <a:pt x="21138" y="20057"/>
                    </a:lnTo>
                    <a:lnTo>
                      <a:pt x="21600" y="20057"/>
                    </a:lnTo>
                    <a:lnTo>
                      <a:pt x="21138" y="20057"/>
                    </a:lnTo>
                    <a:lnTo>
                      <a:pt x="21138" y="18374"/>
                    </a:lnTo>
                    <a:lnTo>
                      <a:pt x="20585" y="18374"/>
                    </a:lnTo>
                    <a:lnTo>
                      <a:pt x="21138" y="18374"/>
                    </a:lnTo>
                    <a:lnTo>
                      <a:pt x="21138" y="17673"/>
                    </a:lnTo>
                    <a:lnTo>
                      <a:pt x="20585" y="17673"/>
                    </a:lnTo>
                    <a:lnTo>
                      <a:pt x="20585" y="16831"/>
                    </a:lnTo>
                    <a:lnTo>
                      <a:pt x="19569" y="16831"/>
                    </a:lnTo>
                    <a:lnTo>
                      <a:pt x="19569" y="15148"/>
                    </a:lnTo>
                    <a:lnTo>
                      <a:pt x="20031" y="15148"/>
                    </a:lnTo>
                    <a:lnTo>
                      <a:pt x="19569" y="15148"/>
                    </a:lnTo>
                    <a:lnTo>
                      <a:pt x="19569" y="1276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/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04" name="Shape 3030"/>
              <p:cNvSpPr/>
              <p:nvPr/>
            </p:nvSpPr>
            <p:spPr>
              <a:xfrm>
                <a:off x="6758798" y="4314300"/>
                <a:ext cx="288853" cy="23830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04" y="20160"/>
                    </a:moveTo>
                    <a:lnTo>
                      <a:pt x="5508" y="20160"/>
                    </a:lnTo>
                    <a:lnTo>
                      <a:pt x="5508" y="20945"/>
                    </a:lnTo>
                    <a:lnTo>
                      <a:pt x="2484" y="20945"/>
                    </a:lnTo>
                    <a:lnTo>
                      <a:pt x="2484" y="21600"/>
                    </a:lnTo>
                    <a:lnTo>
                      <a:pt x="1836" y="21600"/>
                    </a:lnTo>
                    <a:lnTo>
                      <a:pt x="1188" y="20945"/>
                    </a:lnTo>
                    <a:lnTo>
                      <a:pt x="1188" y="19375"/>
                    </a:lnTo>
                    <a:lnTo>
                      <a:pt x="1836" y="19375"/>
                    </a:lnTo>
                    <a:lnTo>
                      <a:pt x="1188" y="19375"/>
                    </a:lnTo>
                    <a:lnTo>
                      <a:pt x="1836" y="18720"/>
                    </a:lnTo>
                    <a:lnTo>
                      <a:pt x="2484" y="18720"/>
                    </a:lnTo>
                    <a:lnTo>
                      <a:pt x="1836" y="18720"/>
                    </a:lnTo>
                    <a:lnTo>
                      <a:pt x="1836" y="17935"/>
                    </a:lnTo>
                    <a:lnTo>
                      <a:pt x="1188" y="17935"/>
                    </a:lnTo>
                    <a:lnTo>
                      <a:pt x="1188" y="16495"/>
                    </a:lnTo>
                    <a:lnTo>
                      <a:pt x="0" y="16495"/>
                    </a:lnTo>
                    <a:lnTo>
                      <a:pt x="0" y="15709"/>
                    </a:lnTo>
                    <a:lnTo>
                      <a:pt x="540" y="15709"/>
                    </a:lnTo>
                    <a:lnTo>
                      <a:pt x="540" y="14924"/>
                    </a:lnTo>
                    <a:lnTo>
                      <a:pt x="1188" y="14924"/>
                    </a:lnTo>
                    <a:lnTo>
                      <a:pt x="1836" y="14138"/>
                    </a:lnTo>
                    <a:lnTo>
                      <a:pt x="1188" y="14138"/>
                    </a:lnTo>
                    <a:lnTo>
                      <a:pt x="1188" y="12698"/>
                    </a:lnTo>
                    <a:lnTo>
                      <a:pt x="540" y="12698"/>
                    </a:lnTo>
                    <a:lnTo>
                      <a:pt x="540" y="11913"/>
                    </a:lnTo>
                    <a:lnTo>
                      <a:pt x="1188" y="11258"/>
                    </a:lnTo>
                    <a:lnTo>
                      <a:pt x="540" y="11258"/>
                    </a:lnTo>
                    <a:lnTo>
                      <a:pt x="1188" y="10473"/>
                    </a:lnTo>
                    <a:lnTo>
                      <a:pt x="1188" y="8902"/>
                    </a:lnTo>
                    <a:lnTo>
                      <a:pt x="1836" y="8247"/>
                    </a:lnTo>
                    <a:lnTo>
                      <a:pt x="2484" y="8247"/>
                    </a:lnTo>
                    <a:lnTo>
                      <a:pt x="2484" y="7462"/>
                    </a:lnTo>
                    <a:lnTo>
                      <a:pt x="1836" y="7462"/>
                    </a:lnTo>
                    <a:lnTo>
                      <a:pt x="1836" y="5236"/>
                    </a:lnTo>
                    <a:lnTo>
                      <a:pt x="3024" y="5236"/>
                    </a:lnTo>
                    <a:lnTo>
                      <a:pt x="3024" y="4451"/>
                    </a:lnTo>
                    <a:lnTo>
                      <a:pt x="3672" y="4451"/>
                    </a:lnTo>
                    <a:lnTo>
                      <a:pt x="3672" y="5236"/>
                    </a:lnTo>
                    <a:lnTo>
                      <a:pt x="3672" y="4451"/>
                    </a:lnTo>
                    <a:lnTo>
                      <a:pt x="4320" y="4451"/>
                    </a:lnTo>
                    <a:lnTo>
                      <a:pt x="4320" y="2225"/>
                    </a:lnTo>
                    <a:lnTo>
                      <a:pt x="5508" y="2225"/>
                    </a:lnTo>
                    <a:lnTo>
                      <a:pt x="5508" y="1440"/>
                    </a:lnTo>
                    <a:lnTo>
                      <a:pt x="6156" y="1440"/>
                    </a:lnTo>
                    <a:lnTo>
                      <a:pt x="6156" y="785"/>
                    </a:lnTo>
                    <a:lnTo>
                      <a:pt x="6804" y="785"/>
                    </a:lnTo>
                    <a:lnTo>
                      <a:pt x="7344" y="0"/>
                    </a:lnTo>
                    <a:lnTo>
                      <a:pt x="7344" y="785"/>
                    </a:lnTo>
                    <a:lnTo>
                      <a:pt x="7992" y="785"/>
                    </a:lnTo>
                    <a:lnTo>
                      <a:pt x="7344" y="785"/>
                    </a:lnTo>
                    <a:lnTo>
                      <a:pt x="7992" y="785"/>
                    </a:lnTo>
                    <a:lnTo>
                      <a:pt x="7992" y="1440"/>
                    </a:lnTo>
                    <a:lnTo>
                      <a:pt x="8640" y="1440"/>
                    </a:lnTo>
                    <a:lnTo>
                      <a:pt x="8640" y="2225"/>
                    </a:lnTo>
                    <a:lnTo>
                      <a:pt x="9180" y="2225"/>
                    </a:lnTo>
                    <a:lnTo>
                      <a:pt x="9180" y="3011"/>
                    </a:lnTo>
                    <a:lnTo>
                      <a:pt x="10476" y="3011"/>
                    </a:lnTo>
                    <a:lnTo>
                      <a:pt x="10476" y="3665"/>
                    </a:lnTo>
                    <a:lnTo>
                      <a:pt x="9828" y="3665"/>
                    </a:lnTo>
                    <a:lnTo>
                      <a:pt x="9828" y="4451"/>
                    </a:lnTo>
                    <a:lnTo>
                      <a:pt x="10476" y="4451"/>
                    </a:lnTo>
                    <a:lnTo>
                      <a:pt x="11124" y="5236"/>
                    </a:lnTo>
                    <a:lnTo>
                      <a:pt x="11124" y="4451"/>
                    </a:lnTo>
                    <a:lnTo>
                      <a:pt x="11124" y="5236"/>
                    </a:lnTo>
                    <a:lnTo>
                      <a:pt x="11664" y="5236"/>
                    </a:lnTo>
                    <a:lnTo>
                      <a:pt x="11124" y="5236"/>
                    </a:lnTo>
                    <a:lnTo>
                      <a:pt x="11664" y="5236"/>
                    </a:lnTo>
                    <a:lnTo>
                      <a:pt x="11664" y="6022"/>
                    </a:lnTo>
                    <a:lnTo>
                      <a:pt x="11124" y="6022"/>
                    </a:lnTo>
                    <a:lnTo>
                      <a:pt x="12312" y="6022"/>
                    </a:lnTo>
                    <a:lnTo>
                      <a:pt x="12312" y="6676"/>
                    </a:lnTo>
                    <a:lnTo>
                      <a:pt x="12960" y="7462"/>
                    </a:lnTo>
                    <a:lnTo>
                      <a:pt x="12312" y="7462"/>
                    </a:lnTo>
                    <a:lnTo>
                      <a:pt x="13500" y="7462"/>
                    </a:lnTo>
                    <a:lnTo>
                      <a:pt x="13500" y="8247"/>
                    </a:lnTo>
                    <a:lnTo>
                      <a:pt x="13500" y="7462"/>
                    </a:lnTo>
                    <a:lnTo>
                      <a:pt x="14148" y="7462"/>
                    </a:lnTo>
                    <a:lnTo>
                      <a:pt x="14148" y="8247"/>
                    </a:lnTo>
                    <a:lnTo>
                      <a:pt x="14148" y="7462"/>
                    </a:lnTo>
                    <a:lnTo>
                      <a:pt x="14148" y="8247"/>
                    </a:lnTo>
                    <a:lnTo>
                      <a:pt x="15984" y="8247"/>
                    </a:lnTo>
                    <a:lnTo>
                      <a:pt x="16632" y="7462"/>
                    </a:lnTo>
                    <a:lnTo>
                      <a:pt x="16632" y="8247"/>
                    </a:lnTo>
                    <a:lnTo>
                      <a:pt x="17280" y="8247"/>
                    </a:lnTo>
                    <a:lnTo>
                      <a:pt x="17280" y="7462"/>
                    </a:lnTo>
                    <a:lnTo>
                      <a:pt x="17820" y="7462"/>
                    </a:lnTo>
                    <a:lnTo>
                      <a:pt x="17820" y="8247"/>
                    </a:lnTo>
                    <a:lnTo>
                      <a:pt x="19116" y="8247"/>
                    </a:lnTo>
                    <a:lnTo>
                      <a:pt x="19116" y="10473"/>
                    </a:lnTo>
                    <a:lnTo>
                      <a:pt x="19764" y="10473"/>
                    </a:lnTo>
                    <a:lnTo>
                      <a:pt x="19764" y="11258"/>
                    </a:lnTo>
                    <a:lnTo>
                      <a:pt x="19764" y="10473"/>
                    </a:lnTo>
                    <a:lnTo>
                      <a:pt x="20304" y="10473"/>
                    </a:lnTo>
                    <a:lnTo>
                      <a:pt x="20304" y="11258"/>
                    </a:lnTo>
                    <a:lnTo>
                      <a:pt x="20952" y="11258"/>
                    </a:lnTo>
                    <a:lnTo>
                      <a:pt x="20952" y="11913"/>
                    </a:lnTo>
                    <a:lnTo>
                      <a:pt x="21600" y="11913"/>
                    </a:lnTo>
                    <a:lnTo>
                      <a:pt x="21600" y="12698"/>
                    </a:lnTo>
                    <a:lnTo>
                      <a:pt x="20952" y="13484"/>
                    </a:lnTo>
                    <a:lnTo>
                      <a:pt x="20952" y="14138"/>
                    </a:lnTo>
                    <a:lnTo>
                      <a:pt x="20304" y="14138"/>
                    </a:lnTo>
                    <a:lnTo>
                      <a:pt x="20304" y="14924"/>
                    </a:lnTo>
                    <a:lnTo>
                      <a:pt x="19764" y="14924"/>
                    </a:lnTo>
                    <a:lnTo>
                      <a:pt x="19764" y="16495"/>
                    </a:lnTo>
                    <a:lnTo>
                      <a:pt x="19116" y="16495"/>
                    </a:lnTo>
                    <a:lnTo>
                      <a:pt x="19116" y="17149"/>
                    </a:lnTo>
                    <a:lnTo>
                      <a:pt x="18468" y="17149"/>
                    </a:lnTo>
                    <a:lnTo>
                      <a:pt x="18468" y="17935"/>
                    </a:lnTo>
                    <a:lnTo>
                      <a:pt x="17820" y="17935"/>
                    </a:lnTo>
                    <a:lnTo>
                      <a:pt x="17820" y="18720"/>
                    </a:lnTo>
                    <a:lnTo>
                      <a:pt x="15444" y="18720"/>
                    </a:lnTo>
                    <a:lnTo>
                      <a:pt x="14796" y="19375"/>
                    </a:lnTo>
                    <a:lnTo>
                      <a:pt x="15444" y="19375"/>
                    </a:lnTo>
                    <a:lnTo>
                      <a:pt x="14796" y="19375"/>
                    </a:lnTo>
                    <a:lnTo>
                      <a:pt x="15444" y="19375"/>
                    </a:lnTo>
                    <a:lnTo>
                      <a:pt x="13500" y="19375"/>
                    </a:lnTo>
                    <a:lnTo>
                      <a:pt x="12960" y="18720"/>
                    </a:lnTo>
                    <a:lnTo>
                      <a:pt x="12960" y="19375"/>
                    </a:lnTo>
                    <a:lnTo>
                      <a:pt x="12312" y="19375"/>
                    </a:lnTo>
                    <a:lnTo>
                      <a:pt x="12312" y="20160"/>
                    </a:lnTo>
                    <a:lnTo>
                      <a:pt x="11124" y="18720"/>
                    </a:lnTo>
                    <a:lnTo>
                      <a:pt x="11664" y="18720"/>
                    </a:lnTo>
                    <a:lnTo>
                      <a:pt x="11124" y="18720"/>
                    </a:lnTo>
                    <a:lnTo>
                      <a:pt x="11124" y="17935"/>
                    </a:lnTo>
                    <a:lnTo>
                      <a:pt x="10476" y="17935"/>
                    </a:lnTo>
                    <a:lnTo>
                      <a:pt x="10476" y="17149"/>
                    </a:lnTo>
                    <a:lnTo>
                      <a:pt x="9180" y="17149"/>
                    </a:lnTo>
                    <a:lnTo>
                      <a:pt x="9180" y="17935"/>
                    </a:lnTo>
                    <a:lnTo>
                      <a:pt x="8640" y="17935"/>
                    </a:lnTo>
                    <a:lnTo>
                      <a:pt x="9180" y="18720"/>
                    </a:lnTo>
                    <a:lnTo>
                      <a:pt x="8640" y="18720"/>
                    </a:lnTo>
                    <a:lnTo>
                      <a:pt x="9180" y="18720"/>
                    </a:lnTo>
                    <a:lnTo>
                      <a:pt x="7992" y="18720"/>
                    </a:lnTo>
                    <a:lnTo>
                      <a:pt x="7992" y="19375"/>
                    </a:lnTo>
                    <a:lnTo>
                      <a:pt x="7344" y="19375"/>
                    </a:lnTo>
                    <a:lnTo>
                      <a:pt x="7344" y="20160"/>
                    </a:lnTo>
                    <a:lnTo>
                      <a:pt x="7344" y="19375"/>
                    </a:lnTo>
                    <a:lnTo>
                      <a:pt x="6804" y="19375"/>
                    </a:lnTo>
                    <a:lnTo>
                      <a:pt x="6804" y="2016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05" name="Shape 3031"/>
              <p:cNvSpPr/>
              <p:nvPr/>
            </p:nvSpPr>
            <p:spPr>
              <a:xfrm>
                <a:off x="6874339" y="4223312"/>
                <a:ext cx="437612" cy="2643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172" y="8734"/>
                    </a:moveTo>
                    <a:lnTo>
                      <a:pt x="21172" y="9443"/>
                    </a:lnTo>
                    <a:lnTo>
                      <a:pt x="21172" y="8734"/>
                    </a:lnTo>
                    <a:lnTo>
                      <a:pt x="20388" y="8734"/>
                    </a:lnTo>
                    <a:lnTo>
                      <a:pt x="20388" y="9443"/>
                    </a:lnTo>
                    <a:lnTo>
                      <a:pt x="19960" y="9443"/>
                    </a:lnTo>
                    <a:lnTo>
                      <a:pt x="19960" y="10151"/>
                    </a:lnTo>
                    <a:lnTo>
                      <a:pt x="20388" y="10151"/>
                    </a:lnTo>
                    <a:lnTo>
                      <a:pt x="20388" y="11449"/>
                    </a:lnTo>
                    <a:lnTo>
                      <a:pt x="19105" y="11449"/>
                    </a:lnTo>
                    <a:lnTo>
                      <a:pt x="19105" y="12157"/>
                    </a:lnTo>
                    <a:lnTo>
                      <a:pt x="19533" y="12157"/>
                    </a:lnTo>
                    <a:lnTo>
                      <a:pt x="18749" y="12157"/>
                    </a:lnTo>
                    <a:lnTo>
                      <a:pt x="18749" y="12866"/>
                    </a:lnTo>
                    <a:lnTo>
                      <a:pt x="19105" y="12866"/>
                    </a:lnTo>
                    <a:lnTo>
                      <a:pt x="19105" y="15462"/>
                    </a:lnTo>
                    <a:lnTo>
                      <a:pt x="18749" y="15462"/>
                    </a:lnTo>
                    <a:lnTo>
                      <a:pt x="18749" y="17587"/>
                    </a:lnTo>
                    <a:lnTo>
                      <a:pt x="19533" y="17587"/>
                    </a:lnTo>
                    <a:lnTo>
                      <a:pt x="19533" y="18177"/>
                    </a:lnTo>
                    <a:lnTo>
                      <a:pt x="19105" y="18177"/>
                    </a:lnTo>
                    <a:lnTo>
                      <a:pt x="19105" y="18885"/>
                    </a:lnTo>
                    <a:lnTo>
                      <a:pt x="18749" y="18177"/>
                    </a:lnTo>
                    <a:lnTo>
                      <a:pt x="18749" y="19593"/>
                    </a:lnTo>
                    <a:lnTo>
                      <a:pt x="18321" y="19593"/>
                    </a:lnTo>
                    <a:lnTo>
                      <a:pt x="18321" y="20184"/>
                    </a:lnTo>
                    <a:lnTo>
                      <a:pt x="17893" y="20184"/>
                    </a:lnTo>
                    <a:lnTo>
                      <a:pt x="17893" y="20892"/>
                    </a:lnTo>
                    <a:lnTo>
                      <a:pt x="17537" y="20892"/>
                    </a:lnTo>
                    <a:lnTo>
                      <a:pt x="17537" y="21600"/>
                    </a:lnTo>
                    <a:lnTo>
                      <a:pt x="17109" y="20892"/>
                    </a:lnTo>
                    <a:lnTo>
                      <a:pt x="17109" y="18885"/>
                    </a:lnTo>
                    <a:lnTo>
                      <a:pt x="16253" y="18885"/>
                    </a:lnTo>
                    <a:lnTo>
                      <a:pt x="16253" y="19593"/>
                    </a:lnTo>
                    <a:lnTo>
                      <a:pt x="15897" y="19593"/>
                    </a:lnTo>
                    <a:lnTo>
                      <a:pt x="15897" y="18885"/>
                    </a:lnTo>
                    <a:lnTo>
                      <a:pt x="15469" y="18885"/>
                    </a:lnTo>
                    <a:lnTo>
                      <a:pt x="15469" y="19593"/>
                    </a:lnTo>
                    <a:lnTo>
                      <a:pt x="15469" y="18885"/>
                    </a:lnTo>
                    <a:lnTo>
                      <a:pt x="15042" y="18885"/>
                    </a:lnTo>
                    <a:lnTo>
                      <a:pt x="15042" y="19593"/>
                    </a:lnTo>
                    <a:lnTo>
                      <a:pt x="14685" y="19593"/>
                    </a:lnTo>
                    <a:lnTo>
                      <a:pt x="14685" y="20184"/>
                    </a:lnTo>
                    <a:lnTo>
                      <a:pt x="14257" y="20184"/>
                    </a:lnTo>
                    <a:lnTo>
                      <a:pt x="14257" y="19593"/>
                    </a:lnTo>
                    <a:lnTo>
                      <a:pt x="13830" y="18885"/>
                    </a:lnTo>
                    <a:lnTo>
                      <a:pt x="12190" y="18885"/>
                    </a:lnTo>
                    <a:lnTo>
                      <a:pt x="12190" y="18177"/>
                    </a:lnTo>
                    <a:lnTo>
                      <a:pt x="12190" y="18885"/>
                    </a:lnTo>
                    <a:lnTo>
                      <a:pt x="12190" y="18177"/>
                    </a:lnTo>
                    <a:lnTo>
                      <a:pt x="11834" y="18177"/>
                    </a:lnTo>
                    <a:lnTo>
                      <a:pt x="11406" y="18885"/>
                    </a:lnTo>
                    <a:lnTo>
                      <a:pt x="11406" y="17587"/>
                    </a:lnTo>
                    <a:lnTo>
                      <a:pt x="10978" y="17587"/>
                    </a:lnTo>
                    <a:lnTo>
                      <a:pt x="10978" y="16170"/>
                    </a:lnTo>
                    <a:lnTo>
                      <a:pt x="10550" y="16170"/>
                    </a:lnTo>
                    <a:lnTo>
                      <a:pt x="10550" y="16879"/>
                    </a:lnTo>
                    <a:lnTo>
                      <a:pt x="10194" y="17587"/>
                    </a:lnTo>
                    <a:lnTo>
                      <a:pt x="9766" y="16879"/>
                    </a:lnTo>
                    <a:lnTo>
                      <a:pt x="9766" y="17587"/>
                    </a:lnTo>
                    <a:lnTo>
                      <a:pt x="9339" y="17587"/>
                    </a:lnTo>
                    <a:lnTo>
                      <a:pt x="9339" y="18177"/>
                    </a:lnTo>
                    <a:lnTo>
                      <a:pt x="8127" y="18177"/>
                    </a:lnTo>
                    <a:lnTo>
                      <a:pt x="8127" y="17587"/>
                    </a:lnTo>
                    <a:lnTo>
                      <a:pt x="7699" y="17587"/>
                    </a:lnTo>
                    <a:lnTo>
                      <a:pt x="7699" y="16879"/>
                    </a:lnTo>
                    <a:lnTo>
                      <a:pt x="7343" y="16879"/>
                    </a:lnTo>
                    <a:lnTo>
                      <a:pt x="7343" y="17587"/>
                    </a:lnTo>
                    <a:lnTo>
                      <a:pt x="7343" y="16879"/>
                    </a:lnTo>
                    <a:lnTo>
                      <a:pt x="6915" y="16879"/>
                    </a:lnTo>
                    <a:lnTo>
                      <a:pt x="6915" y="14872"/>
                    </a:lnTo>
                    <a:lnTo>
                      <a:pt x="6059" y="14872"/>
                    </a:lnTo>
                    <a:lnTo>
                      <a:pt x="6059" y="14164"/>
                    </a:lnTo>
                    <a:lnTo>
                      <a:pt x="5703" y="14164"/>
                    </a:lnTo>
                    <a:lnTo>
                      <a:pt x="5703" y="14872"/>
                    </a:lnTo>
                    <a:lnTo>
                      <a:pt x="5275" y="14872"/>
                    </a:lnTo>
                    <a:lnTo>
                      <a:pt x="5275" y="14164"/>
                    </a:lnTo>
                    <a:lnTo>
                      <a:pt x="4848" y="14872"/>
                    </a:lnTo>
                    <a:lnTo>
                      <a:pt x="3636" y="14872"/>
                    </a:lnTo>
                    <a:lnTo>
                      <a:pt x="3636" y="14164"/>
                    </a:lnTo>
                    <a:lnTo>
                      <a:pt x="3636" y="14872"/>
                    </a:lnTo>
                    <a:lnTo>
                      <a:pt x="3636" y="14164"/>
                    </a:lnTo>
                    <a:lnTo>
                      <a:pt x="3208" y="14164"/>
                    </a:lnTo>
                    <a:lnTo>
                      <a:pt x="3208" y="14872"/>
                    </a:lnTo>
                    <a:lnTo>
                      <a:pt x="3208" y="14164"/>
                    </a:lnTo>
                    <a:lnTo>
                      <a:pt x="2851" y="14164"/>
                    </a:lnTo>
                    <a:lnTo>
                      <a:pt x="2424" y="13456"/>
                    </a:lnTo>
                    <a:lnTo>
                      <a:pt x="2424" y="12866"/>
                    </a:lnTo>
                    <a:lnTo>
                      <a:pt x="1996" y="12866"/>
                    </a:lnTo>
                    <a:lnTo>
                      <a:pt x="1996" y="12157"/>
                    </a:lnTo>
                    <a:lnTo>
                      <a:pt x="1640" y="12157"/>
                    </a:lnTo>
                    <a:lnTo>
                      <a:pt x="1996" y="12157"/>
                    </a:lnTo>
                    <a:lnTo>
                      <a:pt x="1640" y="12157"/>
                    </a:lnTo>
                    <a:lnTo>
                      <a:pt x="1640" y="11449"/>
                    </a:lnTo>
                    <a:lnTo>
                      <a:pt x="1640" y="12157"/>
                    </a:lnTo>
                    <a:lnTo>
                      <a:pt x="1212" y="11449"/>
                    </a:lnTo>
                    <a:lnTo>
                      <a:pt x="784" y="11449"/>
                    </a:lnTo>
                    <a:lnTo>
                      <a:pt x="784" y="10741"/>
                    </a:lnTo>
                    <a:lnTo>
                      <a:pt x="1212" y="10741"/>
                    </a:lnTo>
                    <a:lnTo>
                      <a:pt x="1212" y="10151"/>
                    </a:lnTo>
                    <a:lnTo>
                      <a:pt x="356" y="10151"/>
                    </a:lnTo>
                    <a:lnTo>
                      <a:pt x="356" y="9443"/>
                    </a:lnTo>
                    <a:lnTo>
                      <a:pt x="0" y="9443"/>
                    </a:lnTo>
                    <a:lnTo>
                      <a:pt x="0" y="8144"/>
                    </a:lnTo>
                    <a:lnTo>
                      <a:pt x="356" y="8144"/>
                    </a:lnTo>
                    <a:lnTo>
                      <a:pt x="356" y="7436"/>
                    </a:lnTo>
                    <a:lnTo>
                      <a:pt x="1212" y="7436"/>
                    </a:lnTo>
                    <a:lnTo>
                      <a:pt x="1212" y="6020"/>
                    </a:lnTo>
                    <a:lnTo>
                      <a:pt x="1640" y="6020"/>
                    </a:lnTo>
                    <a:lnTo>
                      <a:pt x="1996" y="5430"/>
                    </a:lnTo>
                    <a:lnTo>
                      <a:pt x="1640" y="5430"/>
                    </a:lnTo>
                    <a:lnTo>
                      <a:pt x="1640" y="2715"/>
                    </a:lnTo>
                    <a:lnTo>
                      <a:pt x="1996" y="2715"/>
                    </a:lnTo>
                    <a:lnTo>
                      <a:pt x="1996" y="1416"/>
                    </a:lnTo>
                    <a:lnTo>
                      <a:pt x="1640" y="1416"/>
                    </a:lnTo>
                    <a:lnTo>
                      <a:pt x="1996" y="1416"/>
                    </a:lnTo>
                    <a:lnTo>
                      <a:pt x="1996" y="708"/>
                    </a:lnTo>
                    <a:lnTo>
                      <a:pt x="2424" y="708"/>
                    </a:lnTo>
                    <a:lnTo>
                      <a:pt x="2424" y="0"/>
                    </a:lnTo>
                    <a:lnTo>
                      <a:pt x="2851" y="0"/>
                    </a:lnTo>
                    <a:lnTo>
                      <a:pt x="2424" y="0"/>
                    </a:lnTo>
                    <a:lnTo>
                      <a:pt x="2851" y="708"/>
                    </a:lnTo>
                    <a:lnTo>
                      <a:pt x="2851" y="0"/>
                    </a:lnTo>
                    <a:lnTo>
                      <a:pt x="3208" y="0"/>
                    </a:lnTo>
                    <a:lnTo>
                      <a:pt x="3208" y="708"/>
                    </a:lnTo>
                    <a:lnTo>
                      <a:pt x="3636" y="708"/>
                    </a:lnTo>
                    <a:lnTo>
                      <a:pt x="3636" y="1416"/>
                    </a:lnTo>
                    <a:lnTo>
                      <a:pt x="4063" y="1416"/>
                    </a:lnTo>
                    <a:lnTo>
                      <a:pt x="4063" y="2007"/>
                    </a:lnTo>
                    <a:lnTo>
                      <a:pt x="4491" y="1416"/>
                    </a:lnTo>
                    <a:lnTo>
                      <a:pt x="4491" y="2007"/>
                    </a:lnTo>
                    <a:lnTo>
                      <a:pt x="4848" y="1416"/>
                    </a:lnTo>
                    <a:lnTo>
                      <a:pt x="5275" y="1416"/>
                    </a:lnTo>
                    <a:lnTo>
                      <a:pt x="5275" y="2007"/>
                    </a:lnTo>
                    <a:lnTo>
                      <a:pt x="6915" y="2007"/>
                    </a:lnTo>
                    <a:lnTo>
                      <a:pt x="7343" y="2715"/>
                    </a:lnTo>
                    <a:lnTo>
                      <a:pt x="7343" y="2007"/>
                    </a:lnTo>
                    <a:lnTo>
                      <a:pt x="7343" y="2715"/>
                    </a:lnTo>
                    <a:lnTo>
                      <a:pt x="7699" y="2715"/>
                    </a:lnTo>
                    <a:lnTo>
                      <a:pt x="7699" y="2007"/>
                    </a:lnTo>
                    <a:lnTo>
                      <a:pt x="8554" y="2007"/>
                    </a:lnTo>
                    <a:lnTo>
                      <a:pt x="8554" y="3423"/>
                    </a:lnTo>
                    <a:lnTo>
                      <a:pt x="8982" y="2715"/>
                    </a:lnTo>
                    <a:lnTo>
                      <a:pt x="8982" y="4013"/>
                    </a:lnTo>
                    <a:lnTo>
                      <a:pt x="9339" y="3423"/>
                    </a:lnTo>
                    <a:lnTo>
                      <a:pt x="9339" y="2715"/>
                    </a:lnTo>
                    <a:lnTo>
                      <a:pt x="10550" y="2715"/>
                    </a:lnTo>
                    <a:lnTo>
                      <a:pt x="10978" y="2007"/>
                    </a:lnTo>
                    <a:lnTo>
                      <a:pt x="11834" y="2007"/>
                    </a:lnTo>
                    <a:lnTo>
                      <a:pt x="11834" y="0"/>
                    </a:lnTo>
                    <a:lnTo>
                      <a:pt x="12190" y="0"/>
                    </a:lnTo>
                    <a:lnTo>
                      <a:pt x="12190" y="708"/>
                    </a:lnTo>
                    <a:lnTo>
                      <a:pt x="12190" y="0"/>
                    </a:lnTo>
                    <a:lnTo>
                      <a:pt x="12190" y="708"/>
                    </a:lnTo>
                    <a:lnTo>
                      <a:pt x="13046" y="708"/>
                    </a:lnTo>
                    <a:lnTo>
                      <a:pt x="13046" y="1416"/>
                    </a:lnTo>
                    <a:lnTo>
                      <a:pt x="13402" y="1416"/>
                    </a:lnTo>
                    <a:lnTo>
                      <a:pt x="13402" y="2007"/>
                    </a:lnTo>
                    <a:lnTo>
                      <a:pt x="13830" y="2007"/>
                    </a:lnTo>
                    <a:lnTo>
                      <a:pt x="13830" y="3423"/>
                    </a:lnTo>
                    <a:lnTo>
                      <a:pt x="14257" y="3423"/>
                    </a:lnTo>
                    <a:lnTo>
                      <a:pt x="14257" y="2715"/>
                    </a:lnTo>
                    <a:lnTo>
                      <a:pt x="14685" y="2715"/>
                    </a:lnTo>
                    <a:lnTo>
                      <a:pt x="15042" y="3423"/>
                    </a:lnTo>
                    <a:lnTo>
                      <a:pt x="15042" y="4013"/>
                    </a:lnTo>
                    <a:lnTo>
                      <a:pt x="15897" y="4013"/>
                    </a:lnTo>
                    <a:lnTo>
                      <a:pt x="15897" y="3423"/>
                    </a:lnTo>
                    <a:lnTo>
                      <a:pt x="17109" y="3423"/>
                    </a:lnTo>
                    <a:lnTo>
                      <a:pt x="17109" y="4013"/>
                    </a:lnTo>
                    <a:lnTo>
                      <a:pt x="17537" y="4013"/>
                    </a:lnTo>
                    <a:lnTo>
                      <a:pt x="17537" y="4721"/>
                    </a:lnTo>
                    <a:lnTo>
                      <a:pt x="18749" y="4721"/>
                    </a:lnTo>
                    <a:lnTo>
                      <a:pt x="18749" y="5430"/>
                    </a:lnTo>
                    <a:lnTo>
                      <a:pt x="19960" y="5430"/>
                    </a:lnTo>
                    <a:lnTo>
                      <a:pt x="19960" y="4721"/>
                    </a:lnTo>
                    <a:lnTo>
                      <a:pt x="21600" y="4721"/>
                    </a:lnTo>
                    <a:lnTo>
                      <a:pt x="21600" y="5430"/>
                    </a:lnTo>
                    <a:lnTo>
                      <a:pt x="21172" y="6020"/>
                    </a:lnTo>
                    <a:lnTo>
                      <a:pt x="21172" y="8144"/>
                    </a:lnTo>
                    <a:lnTo>
                      <a:pt x="21600" y="8734"/>
                    </a:lnTo>
                    <a:lnTo>
                      <a:pt x="21172" y="873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06" name="Shape 3032"/>
              <p:cNvSpPr/>
              <p:nvPr/>
            </p:nvSpPr>
            <p:spPr>
              <a:xfrm>
                <a:off x="7229628" y="4322966"/>
                <a:ext cx="222417" cy="2224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153" y="701"/>
                    </a:moveTo>
                    <a:lnTo>
                      <a:pt x="8696" y="701"/>
                    </a:lnTo>
                    <a:lnTo>
                      <a:pt x="9538" y="0"/>
                    </a:lnTo>
                    <a:lnTo>
                      <a:pt x="11221" y="701"/>
                    </a:lnTo>
                    <a:lnTo>
                      <a:pt x="11922" y="1543"/>
                    </a:lnTo>
                    <a:lnTo>
                      <a:pt x="13605" y="1543"/>
                    </a:lnTo>
                    <a:lnTo>
                      <a:pt x="13605" y="2384"/>
                    </a:lnTo>
                    <a:lnTo>
                      <a:pt x="15990" y="2384"/>
                    </a:lnTo>
                    <a:lnTo>
                      <a:pt x="15990" y="1543"/>
                    </a:lnTo>
                    <a:lnTo>
                      <a:pt x="15148" y="1543"/>
                    </a:lnTo>
                    <a:lnTo>
                      <a:pt x="15990" y="701"/>
                    </a:lnTo>
                    <a:lnTo>
                      <a:pt x="15990" y="1543"/>
                    </a:lnTo>
                    <a:lnTo>
                      <a:pt x="16831" y="1543"/>
                    </a:lnTo>
                    <a:lnTo>
                      <a:pt x="16831" y="2384"/>
                    </a:lnTo>
                    <a:lnTo>
                      <a:pt x="17532" y="3086"/>
                    </a:lnTo>
                    <a:lnTo>
                      <a:pt x="18374" y="3086"/>
                    </a:lnTo>
                    <a:lnTo>
                      <a:pt x="18374" y="5610"/>
                    </a:lnTo>
                    <a:lnTo>
                      <a:pt x="19216" y="5610"/>
                    </a:lnTo>
                    <a:lnTo>
                      <a:pt x="18374" y="6312"/>
                    </a:lnTo>
                    <a:lnTo>
                      <a:pt x="19216" y="7153"/>
                    </a:lnTo>
                    <a:lnTo>
                      <a:pt x="18374" y="7153"/>
                    </a:lnTo>
                    <a:lnTo>
                      <a:pt x="18374" y="7995"/>
                    </a:lnTo>
                    <a:lnTo>
                      <a:pt x="19216" y="7995"/>
                    </a:lnTo>
                    <a:lnTo>
                      <a:pt x="19216" y="8696"/>
                    </a:lnTo>
                    <a:lnTo>
                      <a:pt x="19917" y="8696"/>
                    </a:lnTo>
                    <a:lnTo>
                      <a:pt x="20758" y="9538"/>
                    </a:lnTo>
                    <a:lnTo>
                      <a:pt x="21600" y="9538"/>
                    </a:lnTo>
                    <a:lnTo>
                      <a:pt x="20758" y="10379"/>
                    </a:lnTo>
                    <a:lnTo>
                      <a:pt x="21600" y="10379"/>
                    </a:lnTo>
                    <a:lnTo>
                      <a:pt x="21600" y="12764"/>
                    </a:lnTo>
                    <a:lnTo>
                      <a:pt x="19216" y="12764"/>
                    </a:lnTo>
                    <a:lnTo>
                      <a:pt x="19216" y="13605"/>
                    </a:lnTo>
                    <a:lnTo>
                      <a:pt x="18374" y="13605"/>
                    </a:lnTo>
                    <a:lnTo>
                      <a:pt x="17532" y="14306"/>
                    </a:lnTo>
                    <a:lnTo>
                      <a:pt x="16831" y="14306"/>
                    </a:lnTo>
                    <a:lnTo>
                      <a:pt x="16831" y="15148"/>
                    </a:lnTo>
                    <a:lnTo>
                      <a:pt x="15990" y="15148"/>
                    </a:lnTo>
                    <a:lnTo>
                      <a:pt x="15990" y="15990"/>
                    </a:lnTo>
                    <a:lnTo>
                      <a:pt x="15990" y="15148"/>
                    </a:lnTo>
                    <a:lnTo>
                      <a:pt x="15990" y="15990"/>
                    </a:lnTo>
                    <a:lnTo>
                      <a:pt x="15148" y="15990"/>
                    </a:lnTo>
                    <a:lnTo>
                      <a:pt x="15148" y="16831"/>
                    </a:lnTo>
                    <a:lnTo>
                      <a:pt x="14306" y="16831"/>
                    </a:lnTo>
                    <a:lnTo>
                      <a:pt x="13605" y="17532"/>
                    </a:lnTo>
                    <a:lnTo>
                      <a:pt x="13605" y="16831"/>
                    </a:lnTo>
                    <a:lnTo>
                      <a:pt x="13605" y="17532"/>
                    </a:lnTo>
                    <a:lnTo>
                      <a:pt x="12764" y="17532"/>
                    </a:lnTo>
                    <a:lnTo>
                      <a:pt x="12764" y="19216"/>
                    </a:lnTo>
                    <a:lnTo>
                      <a:pt x="11922" y="19216"/>
                    </a:lnTo>
                    <a:lnTo>
                      <a:pt x="11922" y="18374"/>
                    </a:lnTo>
                    <a:lnTo>
                      <a:pt x="11221" y="18374"/>
                    </a:lnTo>
                    <a:lnTo>
                      <a:pt x="11221" y="19216"/>
                    </a:lnTo>
                    <a:lnTo>
                      <a:pt x="10379" y="19216"/>
                    </a:lnTo>
                    <a:lnTo>
                      <a:pt x="10379" y="18374"/>
                    </a:lnTo>
                    <a:lnTo>
                      <a:pt x="9538" y="18374"/>
                    </a:lnTo>
                    <a:lnTo>
                      <a:pt x="9538" y="17532"/>
                    </a:lnTo>
                    <a:lnTo>
                      <a:pt x="8696" y="18374"/>
                    </a:lnTo>
                    <a:lnTo>
                      <a:pt x="7153" y="18374"/>
                    </a:lnTo>
                    <a:lnTo>
                      <a:pt x="7153" y="19216"/>
                    </a:lnTo>
                    <a:lnTo>
                      <a:pt x="6312" y="18374"/>
                    </a:lnTo>
                    <a:lnTo>
                      <a:pt x="6312" y="19216"/>
                    </a:lnTo>
                    <a:lnTo>
                      <a:pt x="6312" y="18374"/>
                    </a:lnTo>
                    <a:lnTo>
                      <a:pt x="5610" y="19216"/>
                    </a:lnTo>
                    <a:lnTo>
                      <a:pt x="6312" y="19216"/>
                    </a:lnTo>
                    <a:lnTo>
                      <a:pt x="4769" y="19216"/>
                    </a:lnTo>
                    <a:lnTo>
                      <a:pt x="4769" y="19917"/>
                    </a:lnTo>
                    <a:lnTo>
                      <a:pt x="3927" y="19917"/>
                    </a:lnTo>
                    <a:lnTo>
                      <a:pt x="3927" y="20758"/>
                    </a:lnTo>
                    <a:lnTo>
                      <a:pt x="3086" y="20758"/>
                    </a:lnTo>
                    <a:lnTo>
                      <a:pt x="3086" y="21600"/>
                    </a:lnTo>
                    <a:lnTo>
                      <a:pt x="3086" y="20758"/>
                    </a:lnTo>
                    <a:lnTo>
                      <a:pt x="2384" y="19917"/>
                    </a:lnTo>
                    <a:lnTo>
                      <a:pt x="1543" y="19917"/>
                    </a:lnTo>
                    <a:lnTo>
                      <a:pt x="1543" y="19216"/>
                    </a:lnTo>
                    <a:lnTo>
                      <a:pt x="0" y="19216"/>
                    </a:lnTo>
                    <a:lnTo>
                      <a:pt x="0" y="18374"/>
                    </a:lnTo>
                    <a:lnTo>
                      <a:pt x="701" y="18374"/>
                    </a:lnTo>
                    <a:lnTo>
                      <a:pt x="0" y="18374"/>
                    </a:lnTo>
                    <a:lnTo>
                      <a:pt x="0" y="15148"/>
                    </a:lnTo>
                    <a:lnTo>
                      <a:pt x="701" y="15148"/>
                    </a:lnTo>
                    <a:lnTo>
                      <a:pt x="701" y="14306"/>
                    </a:lnTo>
                    <a:lnTo>
                      <a:pt x="1543" y="14306"/>
                    </a:lnTo>
                    <a:lnTo>
                      <a:pt x="1543" y="13605"/>
                    </a:lnTo>
                    <a:lnTo>
                      <a:pt x="2384" y="13605"/>
                    </a:lnTo>
                    <a:lnTo>
                      <a:pt x="2384" y="11922"/>
                    </a:lnTo>
                    <a:lnTo>
                      <a:pt x="3086" y="12764"/>
                    </a:lnTo>
                    <a:lnTo>
                      <a:pt x="3086" y="11922"/>
                    </a:lnTo>
                    <a:lnTo>
                      <a:pt x="3927" y="11922"/>
                    </a:lnTo>
                    <a:lnTo>
                      <a:pt x="3927" y="11221"/>
                    </a:lnTo>
                    <a:lnTo>
                      <a:pt x="2384" y="11221"/>
                    </a:lnTo>
                    <a:lnTo>
                      <a:pt x="2384" y="8696"/>
                    </a:lnTo>
                    <a:lnTo>
                      <a:pt x="3086" y="8696"/>
                    </a:lnTo>
                    <a:lnTo>
                      <a:pt x="3086" y="5610"/>
                    </a:lnTo>
                    <a:lnTo>
                      <a:pt x="2384" y="5610"/>
                    </a:lnTo>
                    <a:lnTo>
                      <a:pt x="2384" y="4769"/>
                    </a:lnTo>
                    <a:lnTo>
                      <a:pt x="3086" y="4769"/>
                    </a:lnTo>
                    <a:lnTo>
                      <a:pt x="3086" y="3927"/>
                    </a:lnTo>
                    <a:lnTo>
                      <a:pt x="5610" y="3927"/>
                    </a:lnTo>
                    <a:lnTo>
                      <a:pt x="5610" y="2384"/>
                    </a:lnTo>
                    <a:lnTo>
                      <a:pt x="4769" y="2384"/>
                    </a:lnTo>
                    <a:lnTo>
                      <a:pt x="4769" y="1543"/>
                    </a:lnTo>
                    <a:lnTo>
                      <a:pt x="5610" y="1543"/>
                    </a:lnTo>
                    <a:lnTo>
                      <a:pt x="5610" y="701"/>
                    </a:lnTo>
                    <a:lnTo>
                      <a:pt x="7153" y="701"/>
                    </a:lnTo>
                    <a:lnTo>
                      <a:pt x="7153" y="1543"/>
                    </a:lnTo>
                    <a:lnTo>
                      <a:pt x="7153" y="70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07" name="Shape 3033"/>
              <p:cNvSpPr/>
              <p:nvPr/>
            </p:nvSpPr>
            <p:spPr>
              <a:xfrm>
                <a:off x="6947996" y="3836250"/>
                <a:ext cx="454945" cy="3538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71" y="1499"/>
                    </a:moveTo>
                    <a:lnTo>
                      <a:pt x="10629" y="970"/>
                    </a:lnTo>
                    <a:lnTo>
                      <a:pt x="10629" y="441"/>
                    </a:lnTo>
                    <a:lnTo>
                      <a:pt x="10217" y="441"/>
                    </a:lnTo>
                    <a:lnTo>
                      <a:pt x="10217" y="0"/>
                    </a:lnTo>
                    <a:lnTo>
                      <a:pt x="10629" y="0"/>
                    </a:lnTo>
                    <a:lnTo>
                      <a:pt x="5486" y="0"/>
                    </a:lnTo>
                    <a:lnTo>
                      <a:pt x="5486" y="441"/>
                    </a:lnTo>
                    <a:lnTo>
                      <a:pt x="5143" y="441"/>
                    </a:lnTo>
                    <a:lnTo>
                      <a:pt x="5486" y="441"/>
                    </a:lnTo>
                    <a:lnTo>
                      <a:pt x="5143" y="441"/>
                    </a:lnTo>
                    <a:lnTo>
                      <a:pt x="5486" y="441"/>
                    </a:lnTo>
                    <a:lnTo>
                      <a:pt x="5486" y="970"/>
                    </a:lnTo>
                    <a:lnTo>
                      <a:pt x="5897" y="970"/>
                    </a:lnTo>
                    <a:lnTo>
                      <a:pt x="5897" y="1499"/>
                    </a:lnTo>
                    <a:lnTo>
                      <a:pt x="5897" y="970"/>
                    </a:lnTo>
                    <a:lnTo>
                      <a:pt x="6309" y="970"/>
                    </a:lnTo>
                    <a:lnTo>
                      <a:pt x="6309" y="1499"/>
                    </a:lnTo>
                    <a:lnTo>
                      <a:pt x="6309" y="970"/>
                    </a:lnTo>
                    <a:lnTo>
                      <a:pt x="7063" y="970"/>
                    </a:lnTo>
                    <a:lnTo>
                      <a:pt x="7063" y="1499"/>
                    </a:lnTo>
                    <a:lnTo>
                      <a:pt x="7063" y="970"/>
                    </a:lnTo>
                    <a:lnTo>
                      <a:pt x="7063" y="1499"/>
                    </a:lnTo>
                    <a:lnTo>
                      <a:pt x="7474" y="1499"/>
                    </a:lnTo>
                    <a:lnTo>
                      <a:pt x="7063" y="1499"/>
                    </a:lnTo>
                    <a:lnTo>
                      <a:pt x="7063" y="2028"/>
                    </a:lnTo>
                    <a:lnTo>
                      <a:pt x="7063" y="1499"/>
                    </a:lnTo>
                    <a:lnTo>
                      <a:pt x="6651" y="1499"/>
                    </a:lnTo>
                    <a:lnTo>
                      <a:pt x="6651" y="2469"/>
                    </a:lnTo>
                    <a:lnTo>
                      <a:pt x="6309" y="2469"/>
                    </a:lnTo>
                    <a:lnTo>
                      <a:pt x="6309" y="2028"/>
                    </a:lnTo>
                    <a:lnTo>
                      <a:pt x="6651" y="2028"/>
                    </a:lnTo>
                    <a:lnTo>
                      <a:pt x="6651" y="1499"/>
                    </a:lnTo>
                    <a:lnTo>
                      <a:pt x="6309" y="1499"/>
                    </a:lnTo>
                    <a:lnTo>
                      <a:pt x="6309" y="2469"/>
                    </a:lnTo>
                    <a:lnTo>
                      <a:pt x="5897" y="2998"/>
                    </a:lnTo>
                    <a:lnTo>
                      <a:pt x="6309" y="2998"/>
                    </a:lnTo>
                    <a:lnTo>
                      <a:pt x="6309" y="5025"/>
                    </a:lnTo>
                    <a:lnTo>
                      <a:pt x="6651" y="5025"/>
                    </a:lnTo>
                    <a:lnTo>
                      <a:pt x="6651" y="5554"/>
                    </a:lnTo>
                    <a:lnTo>
                      <a:pt x="7063" y="5554"/>
                    </a:lnTo>
                    <a:lnTo>
                      <a:pt x="7474" y="5995"/>
                    </a:lnTo>
                    <a:lnTo>
                      <a:pt x="7474" y="8023"/>
                    </a:lnTo>
                    <a:lnTo>
                      <a:pt x="7886" y="8023"/>
                    </a:lnTo>
                    <a:lnTo>
                      <a:pt x="7474" y="8023"/>
                    </a:lnTo>
                    <a:lnTo>
                      <a:pt x="7474" y="8552"/>
                    </a:lnTo>
                    <a:lnTo>
                      <a:pt x="7063" y="8552"/>
                    </a:lnTo>
                    <a:lnTo>
                      <a:pt x="7063" y="8023"/>
                    </a:lnTo>
                    <a:lnTo>
                      <a:pt x="6651" y="8023"/>
                    </a:lnTo>
                    <a:lnTo>
                      <a:pt x="6651" y="7053"/>
                    </a:lnTo>
                    <a:lnTo>
                      <a:pt x="6309" y="7053"/>
                    </a:lnTo>
                    <a:lnTo>
                      <a:pt x="6309" y="6524"/>
                    </a:lnTo>
                    <a:lnTo>
                      <a:pt x="5897" y="5995"/>
                    </a:lnTo>
                    <a:lnTo>
                      <a:pt x="5897" y="5554"/>
                    </a:lnTo>
                    <a:lnTo>
                      <a:pt x="5486" y="5554"/>
                    </a:lnTo>
                    <a:lnTo>
                      <a:pt x="5486" y="5995"/>
                    </a:lnTo>
                    <a:lnTo>
                      <a:pt x="5143" y="5995"/>
                    </a:lnTo>
                    <a:lnTo>
                      <a:pt x="5143" y="5554"/>
                    </a:lnTo>
                    <a:lnTo>
                      <a:pt x="5143" y="5995"/>
                    </a:lnTo>
                    <a:lnTo>
                      <a:pt x="4320" y="5995"/>
                    </a:lnTo>
                    <a:lnTo>
                      <a:pt x="4320" y="5025"/>
                    </a:lnTo>
                    <a:lnTo>
                      <a:pt x="3566" y="5025"/>
                    </a:lnTo>
                    <a:lnTo>
                      <a:pt x="3566" y="5554"/>
                    </a:lnTo>
                    <a:lnTo>
                      <a:pt x="3154" y="5554"/>
                    </a:lnTo>
                    <a:lnTo>
                      <a:pt x="3154" y="4496"/>
                    </a:lnTo>
                    <a:lnTo>
                      <a:pt x="2743" y="4496"/>
                    </a:lnTo>
                    <a:lnTo>
                      <a:pt x="2743" y="5025"/>
                    </a:lnTo>
                    <a:lnTo>
                      <a:pt x="2331" y="5025"/>
                    </a:lnTo>
                    <a:lnTo>
                      <a:pt x="2331" y="5554"/>
                    </a:lnTo>
                    <a:lnTo>
                      <a:pt x="1989" y="5554"/>
                    </a:lnTo>
                    <a:lnTo>
                      <a:pt x="1989" y="6524"/>
                    </a:lnTo>
                    <a:lnTo>
                      <a:pt x="411" y="6524"/>
                    </a:lnTo>
                    <a:lnTo>
                      <a:pt x="411" y="7053"/>
                    </a:lnTo>
                    <a:lnTo>
                      <a:pt x="0" y="7053"/>
                    </a:lnTo>
                    <a:lnTo>
                      <a:pt x="0" y="7494"/>
                    </a:lnTo>
                    <a:lnTo>
                      <a:pt x="411" y="7494"/>
                    </a:lnTo>
                    <a:lnTo>
                      <a:pt x="411" y="8023"/>
                    </a:lnTo>
                    <a:lnTo>
                      <a:pt x="823" y="8023"/>
                    </a:lnTo>
                    <a:lnTo>
                      <a:pt x="411" y="8023"/>
                    </a:lnTo>
                    <a:lnTo>
                      <a:pt x="411" y="9081"/>
                    </a:lnTo>
                    <a:lnTo>
                      <a:pt x="823" y="9081"/>
                    </a:lnTo>
                    <a:lnTo>
                      <a:pt x="823" y="9522"/>
                    </a:lnTo>
                    <a:lnTo>
                      <a:pt x="823" y="9081"/>
                    </a:lnTo>
                    <a:lnTo>
                      <a:pt x="823" y="9522"/>
                    </a:lnTo>
                    <a:lnTo>
                      <a:pt x="1166" y="10051"/>
                    </a:lnTo>
                    <a:lnTo>
                      <a:pt x="1166" y="10580"/>
                    </a:lnTo>
                    <a:lnTo>
                      <a:pt x="1577" y="10580"/>
                    </a:lnTo>
                    <a:lnTo>
                      <a:pt x="1577" y="12078"/>
                    </a:lnTo>
                    <a:lnTo>
                      <a:pt x="1166" y="12078"/>
                    </a:lnTo>
                    <a:lnTo>
                      <a:pt x="1577" y="12078"/>
                    </a:lnTo>
                    <a:lnTo>
                      <a:pt x="1577" y="13048"/>
                    </a:lnTo>
                    <a:lnTo>
                      <a:pt x="1989" y="13048"/>
                    </a:lnTo>
                    <a:lnTo>
                      <a:pt x="1577" y="13048"/>
                    </a:lnTo>
                    <a:lnTo>
                      <a:pt x="1577" y="14106"/>
                    </a:lnTo>
                    <a:lnTo>
                      <a:pt x="1989" y="14106"/>
                    </a:lnTo>
                    <a:lnTo>
                      <a:pt x="1989" y="14547"/>
                    </a:lnTo>
                    <a:lnTo>
                      <a:pt x="1989" y="14106"/>
                    </a:lnTo>
                    <a:lnTo>
                      <a:pt x="2331" y="14106"/>
                    </a:lnTo>
                    <a:lnTo>
                      <a:pt x="2331" y="14547"/>
                    </a:lnTo>
                    <a:lnTo>
                      <a:pt x="2743" y="14547"/>
                    </a:lnTo>
                    <a:lnTo>
                      <a:pt x="2743" y="14106"/>
                    </a:lnTo>
                    <a:lnTo>
                      <a:pt x="3154" y="14106"/>
                    </a:lnTo>
                    <a:lnTo>
                      <a:pt x="3154" y="13577"/>
                    </a:lnTo>
                    <a:lnTo>
                      <a:pt x="3566" y="13577"/>
                    </a:lnTo>
                    <a:lnTo>
                      <a:pt x="3566" y="14106"/>
                    </a:lnTo>
                    <a:lnTo>
                      <a:pt x="3909" y="14106"/>
                    </a:lnTo>
                    <a:lnTo>
                      <a:pt x="3909" y="14547"/>
                    </a:lnTo>
                    <a:lnTo>
                      <a:pt x="3909" y="14106"/>
                    </a:lnTo>
                    <a:lnTo>
                      <a:pt x="4320" y="14547"/>
                    </a:lnTo>
                    <a:lnTo>
                      <a:pt x="4320" y="15076"/>
                    </a:lnTo>
                    <a:lnTo>
                      <a:pt x="4731" y="14547"/>
                    </a:lnTo>
                    <a:lnTo>
                      <a:pt x="5143" y="14547"/>
                    </a:lnTo>
                    <a:lnTo>
                      <a:pt x="5143" y="14106"/>
                    </a:lnTo>
                    <a:lnTo>
                      <a:pt x="5143" y="14547"/>
                    </a:lnTo>
                    <a:lnTo>
                      <a:pt x="5486" y="14547"/>
                    </a:lnTo>
                    <a:lnTo>
                      <a:pt x="5897" y="14106"/>
                    </a:lnTo>
                    <a:lnTo>
                      <a:pt x="6309" y="14106"/>
                    </a:lnTo>
                    <a:lnTo>
                      <a:pt x="6309" y="14547"/>
                    </a:lnTo>
                    <a:lnTo>
                      <a:pt x="7886" y="14547"/>
                    </a:lnTo>
                    <a:lnTo>
                      <a:pt x="7886" y="13577"/>
                    </a:lnTo>
                    <a:lnTo>
                      <a:pt x="8229" y="13577"/>
                    </a:lnTo>
                    <a:lnTo>
                      <a:pt x="8229" y="14547"/>
                    </a:lnTo>
                    <a:lnTo>
                      <a:pt x="8640" y="14547"/>
                    </a:lnTo>
                    <a:lnTo>
                      <a:pt x="8640" y="14106"/>
                    </a:lnTo>
                    <a:lnTo>
                      <a:pt x="9051" y="14106"/>
                    </a:lnTo>
                    <a:lnTo>
                      <a:pt x="9051" y="15076"/>
                    </a:lnTo>
                    <a:lnTo>
                      <a:pt x="9394" y="15076"/>
                    </a:lnTo>
                    <a:lnTo>
                      <a:pt x="9051" y="15076"/>
                    </a:lnTo>
                    <a:lnTo>
                      <a:pt x="9394" y="15076"/>
                    </a:lnTo>
                    <a:lnTo>
                      <a:pt x="9394" y="15605"/>
                    </a:lnTo>
                    <a:lnTo>
                      <a:pt x="9051" y="15605"/>
                    </a:lnTo>
                    <a:lnTo>
                      <a:pt x="9051" y="17104"/>
                    </a:lnTo>
                    <a:lnTo>
                      <a:pt x="9806" y="17104"/>
                    </a:lnTo>
                    <a:lnTo>
                      <a:pt x="9806" y="16575"/>
                    </a:lnTo>
                    <a:lnTo>
                      <a:pt x="10971" y="16575"/>
                    </a:lnTo>
                    <a:lnTo>
                      <a:pt x="10971" y="17104"/>
                    </a:lnTo>
                    <a:lnTo>
                      <a:pt x="11383" y="17104"/>
                    </a:lnTo>
                    <a:lnTo>
                      <a:pt x="10971" y="17633"/>
                    </a:lnTo>
                    <a:lnTo>
                      <a:pt x="11383" y="17633"/>
                    </a:lnTo>
                    <a:lnTo>
                      <a:pt x="11383" y="17104"/>
                    </a:lnTo>
                    <a:lnTo>
                      <a:pt x="11794" y="17633"/>
                    </a:lnTo>
                    <a:lnTo>
                      <a:pt x="12137" y="17633"/>
                    </a:lnTo>
                    <a:lnTo>
                      <a:pt x="12137" y="18073"/>
                    </a:lnTo>
                    <a:lnTo>
                      <a:pt x="11794" y="18073"/>
                    </a:lnTo>
                    <a:lnTo>
                      <a:pt x="11794" y="19131"/>
                    </a:lnTo>
                    <a:lnTo>
                      <a:pt x="12137" y="19131"/>
                    </a:lnTo>
                    <a:lnTo>
                      <a:pt x="12137" y="19572"/>
                    </a:lnTo>
                    <a:lnTo>
                      <a:pt x="12549" y="19572"/>
                    </a:lnTo>
                    <a:lnTo>
                      <a:pt x="12549" y="20101"/>
                    </a:lnTo>
                    <a:lnTo>
                      <a:pt x="12960" y="20101"/>
                    </a:lnTo>
                    <a:lnTo>
                      <a:pt x="12960" y="21159"/>
                    </a:lnTo>
                    <a:lnTo>
                      <a:pt x="13371" y="21159"/>
                    </a:lnTo>
                    <a:lnTo>
                      <a:pt x="13371" y="21600"/>
                    </a:lnTo>
                    <a:lnTo>
                      <a:pt x="13714" y="21600"/>
                    </a:lnTo>
                    <a:lnTo>
                      <a:pt x="13714" y="21159"/>
                    </a:lnTo>
                    <a:lnTo>
                      <a:pt x="14126" y="21159"/>
                    </a:lnTo>
                    <a:lnTo>
                      <a:pt x="14537" y="21600"/>
                    </a:lnTo>
                    <a:lnTo>
                      <a:pt x="14880" y="21600"/>
                    </a:lnTo>
                    <a:lnTo>
                      <a:pt x="15291" y="21159"/>
                    </a:lnTo>
                    <a:lnTo>
                      <a:pt x="15291" y="21600"/>
                    </a:lnTo>
                    <a:lnTo>
                      <a:pt x="15291" y="21159"/>
                    </a:lnTo>
                    <a:lnTo>
                      <a:pt x="15291" y="21600"/>
                    </a:lnTo>
                    <a:lnTo>
                      <a:pt x="15703" y="21600"/>
                    </a:lnTo>
                    <a:lnTo>
                      <a:pt x="15703" y="20630"/>
                    </a:lnTo>
                    <a:lnTo>
                      <a:pt x="16457" y="20630"/>
                    </a:lnTo>
                    <a:lnTo>
                      <a:pt x="16457" y="20101"/>
                    </a:lnTo>
                    <a:lnTo>
                      <a:pt x="16457" y="20630"/>
                    </a:lnTo>
                    <a:lnTo>
                      <a:pt x="16869" y="20630"/>
                    </a:lnTo>
                    <a:lnTo>
                      <a:pt x="16869" y="20101"/>
                    </a:lnTo>
                    <a:lnTo>
                      <a:pt x="16457" y="20101"/>
                    </a:lnTo>
                    <a:lnTo>
                      <a:pt x="16457" y="19131"/>
                    </a:lnTo>
                    <a:lnTo>
                      <a:pt x="16869" y="19131"/>
                    </a:lnTo>
                    <a:lnTo>
                      <a:pt x="16869" y="18602"/>
                    </a:lnTo>
                    <a:lnTo>
                      <a:pt x="17280" y="18602"/>
                    </a:lnTo>
                    <a:lnTo>
                      <a:pt x="17280" y="19131"/>
                    </a:lnTo>
                    <a:lnTo>
                      <a:pt x="17280" y="18602"/>
                    </a:lnTo>
                    <a:lnTo>
                      <a:pt x="16869" y="18073"/>
                    </a:lnTo>
                    <a:lnTo>
                      <a:pt x="17280" y="18073"/>
                    </a:lnTo>
                    <a:lnTo>
                      <a:pt x="16869" y="17633"/>
                    </a:lnTo>
                    <a:lnTo>
                      <a:pt x="17280" y="17633"/>
                    </a:lnTo>
                    <a:lnTo>
                      <a:pt x="17280" y="17104"/>
                    </a:lnTo>
                    <a:lnTo>
                      <a:pt x="17623" y="17104"/>
                    </a:lnTo>
                    <a:lnTo>
                      <a:pt x="17623" y="16575"/>
                    </a:lnTo>
                    <a:lnTo>
                      <a:pt x="18034" y="16575"/>
                    </a:lnTo>
                    <a:lnTo>
                      <a:pt x="18034" y="16046"/>
                    </a:lnTo>
                    <a:lnTo>
                      <a:pt x="18446" y="16046"/>
                    </a:lnTo>
                    <a:lnTo>
                      <a:pt x="18446" y="15605"/>
                    </a:lnTo>
                    <a:lnTo>
                      <a:pt x="18857" y="15605"/>
                    </a:lnTo>
                    <a:lnTo>
                      <a:pt x="18857" y="15076"/>
                    </a:lnTo>
                    <a:lnTo>
                      <a:pt x="19200" y="14547"/>
                    </a:lnTo>
                    <a:lnTo>
                      <a:pt x="19200" y="14106"/>
                    </a:lnTo>
                    <a:lnTo>
                      <a:pt x="20366" y="14106"/>
                    </a:lnTo>
                    <a:lnTo>
                      <a:pt x="21600" y="13577"/>
                    </a:lnTo>
                    <a:lnTo>
                      <a:pt x="21189" y="13048"/>
                    </a:lnTo>
                    <a:lnTo>
                      <a:pt x="21189" y="12519"/>
                    </a:lnTo>
                    <a:lnTo>
                      <a:pt x="21189" y="13048"/>
                    </a:lnTo>
                    <a:lnTo>
                      <a:pt x="21189" y="12519"/>
                    </a:lnTo>
                    <a:lnTo>
                      <a:pt x="20777" y="12519"/>
                    </a:lnTo>
                    <a:lnTo>
                      <a:pt x="20777" y="12078"/>
                    </a:lnTo>
                    <a:lnTo>
                      <a:pt x="21189" y="12078"/>
                    </a:lnTo>
                    <a:lnTo>
                      <a:pt x="20777" y="12078"/>
                    </a:lnTo>
                    <a:lnTo>
                      <a:pt x="20777" y="11549"/>
                    </a:lnTo>
                    <a:lnTo>
                      <a:pt x="20777" y="12078"/>
                    </a:lnTo>
                    <a:lnTo>
                      <a:pt x="20777" y="11549"/>
                    </a:lnTo>
                    <a:lnTo>
                      <a:pt x="20366" y="11549"/>
                    </a:lnTo>
                    <a:lnTo>
                      <a:pt x="20023" y="11020"/>
                    </a:lnTo>
                    <a:lnTo>
                      <a:pt x="20366" y="11020"/>
                    </a:lnTo>
                    <a:lnTo>
                      <a:pt x="20023" y="10580"/>
                    </a:lnTo>
                    <a:lnTo>
                      <a:pt x="19200" y="10580"/>
                    </a:lnTo>
                    <a:lnTo>
                      <a:pt x="19200" y="11020"/>
                    </a:lnTo>
                    <a:lnTo>
                      <a:pt x="18857" y="11020"/>
                    </a:lnTo>
                    <a:lnTo>
                      <a:pt x="18857" y="10580"/>
                    </a:lnTo>
                    <a:lnTo>
                      <a:pt x="19200" y="10580"/>
                    </a:lnTo>
                    <a:lnTo>
                      <a:pt x="18857" y="10051"/>
                    </a:lnTo>
                    <a:lnTo>
                      <a:pt x="18857" y="9522"/>
                    </a:lnTo>
                    <a:lnTo>
                      <a:pt x="18446" y="9522"/>
                    </a:lnTo>
                    <a:lnTo>
                      <a:pt x="18034" y="9081"/>
                    </a:lnTo>
                    <a:lnTo>
                      <a:pt x="17623" y="9081"/>
                    </a:lnTo>
                    <a:lnTo>
                      <a:pt x="17623" y="8552"/>
                    </a:lnTo>
                    <a:lnTo>
                      <a:pt x="17623" y="9081"/>
                    </a:lnTo>
                    <a:lnTo>
                      <a:pt x="17280" y="9081"/>
                    </a:lnTo>
                    <a:lnTo>
                      <a:pt x="17280" y="9522"/>
                    </a:lnTo>
                    <a:lnTo>
                      <a:pt x="17623" y="9522"/>
                    </a:lnTo>
                    <a:lnTo>
                      <a:pt x="18034" y="10051"/>
                    </a:lnTo>
                    <a:lnTo>
                      <a:pt x="17623" y="10051"/>
                    </a:lnTo>
                    <a:lnTo>
                      <a:pt x="17623" y="10580"/>
                    </a:lnTo>
                    <a:lnTo>
                      <a:pt x="16869" y="10580"/>
                    </a:lnTo>
                    <a:lnTo>
                      <a:pt x="16869" y="9522"/>
                    </a:lnTo>
                    <a:lnTo>
                      <a:pt x="16457" y="9522"/>
                    </a:lnTo>
                    <a:lnTo>
                      <a:pt x="16457" y="10051"/>
                    </a:lnTo>
                    <a:lnTo>
                      <a:pt x="14880" y="10051"/>
                    </a:lnTo>
                    <a:lnTo>
                      <a:pt x="10971" y="149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08" name="Shape 3034"/>
              <p:cNvSpPr/>
              <p:nvPr/>
            </p:nvSpPr>
            <p:spPr>
              <a:xfrm>
                <a:off x="6766019" y="3951791"/>
                <a:ext cx="231083" cy="37839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125" y="4205"/>
                    </a:moveTo>
                    <a:lnTo>
                      <a:pt x="10125" y="3710"/>
                    </a:lnTo>
                    <a:lnTo>
                      <a:pt x="10800" y="2803"/>
                    </a:lnTo>
                    <a:lnTo>
                      <a:pt x="11610" y="2308"/>
                    </a:lnTo>
                    <a:lnTo>
                      <a:pt x="13905" y="412"/>
                    </a:lnTo>
                    <a:lnTo>
                      <a:pt x="16200" y="0"/>
                    </a:lnTo>
                    <a:lnTo>
                      <a:pt x="17010" y="0"/>
                    </a:lnTo>
                    <a:lnTo>
                      <a:pt x="17010" y="412"/>
                    </a:lnTo>
                    <a:lnTo>
                      <a:pt x="17820" y="412"/>
                    </a:lnTo>
                    <a:lnTo>
                      <a:pt x="17820" y="907"/>
                    </a:lnTo>
                    <a:lnTo>
                      <a:pt x="18630" y="907"/>
                    </a:lnTo>
                    <a:lnTo>
                      <a:pt x="17820" y="907"/>
                    </a:lnTo>
                    <a:lnTo>
                      <a:pt x="17820" y="1896"/>
                    </a:lnTo>
                    <a:lnTo>
                      <a:pt x="18630" y="1896"/>
                    </a:lnTo>
                    <a:lnTo>
                      <a:pt x="18630" y="2308"/>
                    </a:lnTo>
                    <a:lnTo>
                      <a:pt x="18630" y="1896"/>
                    </a:lnTo>
                    <a:lnTo>
                      <a:pt x="18630" y="2308"/>
                    </a:lnTo>
                    <a:lnTo>
                      <a:pt x="19305" y="2803"/>
                    </a:lnTo>
                    <a:lnTo>
                      <a:pt x="19305" y="3298"/>
                    </a:lnTo>
                    <a:lnTo>
                      <a:pt x="20115" y="3298"/>
                    </a:lnTo>
                    <a:lnTo>
                      <a:pt x="20115" y="4699"/>
                    </a:lnTo>
                    <a:lnTo>
                      <a:pt x="19305" y="4699"/>
                    </a:lnTo>
                    <a:lnTo>
                      <a:pt x="20115" y="4699"/>
                    </a:lnTo>
                    <a:lnTo>
                      <a:pt x="20115" y="5606"/>
                    </a:lnTo>
                    <a:lnTo>
                      <a:pt x="20925" y="5606"/>
                    </a:lnTo>
                    <a:lnTo>
                      <a:pt x="20115" y="5606"/>
                    </a:lnTo>
                    <a:lnTo>
                      <a:pt x="20115" y="6595"/>
                    </a:lnTo>
                    <a:lnTo>
                      <a:pt x="20925" y="6595"/>
                    </a:lnTo>
                    <a:lnTo>
                      <a:pt x="20925" y="7008"/>
                    </a:lnTo>
                    <a:lnTo>
                      <a:pt x="20925" y="6595"/>
                    </a:lnTo>
                    <a:lnTo>
                      <a:pt x="21600" y="6595"/>
                    </a:lnTo>
                    <a:lnTo>
                      <a:pt x="20925" y="6595"/>
                    </a:lnTo>
                    <a:lnTo>
                      <a:pt x="20925" y="7502"/>
                    </a:lnTo>
                    <a:lnTo>
                      <a:pt x="19305" y="7502"/>
                    </a:lnTo>
                    <a:lnTo>
                      <a:pt x="19305" y="7008"/>
                    </a:lnTo>
                    <a:lnTo>
                      <a:pt x="18630" y="7502"/>
                    </a:lnTo>
                    <a:lnTo>
                      <a:pt x="18630" y="7997"/>
                    </a:lnTo>
                    <a:lnTo>
                      <a:pt x="18630" y="7502"/>
                    </a:lnTo>
                    <a:lnTo>
                      <a:pt x="18630" y="7997"/>
                    </a:lnTo>
                    <a:lnTo>
                      <a:pt x="17820" y="7997"/>
                    </a:lnTo>
                    <a:lnTo>
                      <a:pt x="18630" y="7997"/>
                    </a:lnTo>
                    <a:lnTo>
                      <a:pt x="18630" y="8904"/>
                    </a:lnTo>
                    <a:lnTo>
                      <a:pt x="17820" y="8904"/>
                    </a:lnTo>
                    <a:lnTo>
                      <a:pt x="17820" y="9398"/>
                    </a:lnTo>
                    <a:lnTo>
                      <a:pt x="18630" y="9398"/>
                    </a:lnTo>
                    <a:lnTo>
                      <a:pt x="18630" y="9893"/>
                    </a:lnTo>
                    <a:lnTo>
                      <a:pt x="19305" y="9893"/>
                    </a:lnTo>
                    <a:lnTo>
                      <a:pt x="19305" y="10305"/>
                    </a:lnTo>
                    <a:lnTo>
                      <a:pt x="20115" y="10305"/>
                    </a:lnTo>
                    <a:lnTo>
                      <a:pt x="20115" y="10800"/>
                    </a:lnTo>
                    <a:lnTo>
                      <a:pt x="19305" y="10800"/>
                    </a:lnTo>
                    <a:lnTo>
                      <a:pt x="19305" y="11295"/>
                    </a:lnTo>
                    <a:lnTo>
                      <a:pt x="18630" y="11295"/>
                    </a:lnTo>
                    <a:lnTo>
                      <a:pt x="17820" y="11707"/>
                    </a:lnTo>
                    <a:lnTo>
                      <a:pt x="18630" y="11707"/>
                    </a:lnTo>
                    <a:lnTo>
                      <a:pt x="18630" y="12202"/>
                    </a:lnTo>
                    <a:lnTo>
                      <a:pt x="16200" y="12202"/>
                    </a:lnTo>
                    <a:lnTo>
                      <a:pt x="16200" y="12696"/>
                    </a:lnTo>
                    <a:lnTo>
                      <a:pt x="17010" y="12696"/>
                    </a:lnTo>
                    <a:lnTo>
                      <a:pt x="16200" y="12696"/>
                    </a:lnTo>
                    <a:lnTo>
                      <a:pt x="16200" y="13603"/>
                    </a:lnTo>
                    <a:lnTo>
                      <a:pt x="17010" y="13603"/>
                    </a:lnTo>
                    <a:lnTo>
                      <a:pt x="15525" y="13603"/>
                    </a:lnTo>
                    <a:lnTo>
                      <a:pt x="15525" y="14098"/>
                    </a:lnTo>
                    <a:lnTo>
                      <a:pt x="14715" y="14592"/>
                    </a:lnTo>
                    <a:lnTo>
                      <a:pt x="14715" y="15005"/>
                    </a:lnTo>
                    <a:lnTo>
                      <a:pt x="15525" y="15005"/>
                    </a:lnTo>
                    <a:lnTo>
                      <a:pt x="14715" y="15499"/>
                    </a:lnTo>
                    <a:lnTo>
                      <a:pt x="15525" y="15499"/>
                    </a:lnTo>
                    <a:lnTo>
                      <a:pt x="15525" y="15994"/>
                    </a:lnTo>
                    <a:lnTo>
                      <a:pt x="14715" y="15499"/>
                    </a:lnTo>
                    <a:lnTo>
                      <a:pt x="15525" y="15499"/>
                    </a:lnTo>
                    <a:lnTo>
                      <a:pt x="14715" y="15499"/>
                    </a:lnTo>
                    <a:lnTo>
                      <a:pt x="14715" y="15994"/>
                    </a:lnTo>
                    <a:lnTo>
                      <a:pt x="13905" y="15994"/>
                    </a:lnTo>
                    <a:lnTo>
                      <a:pt x="13905" y="16489"/>
                    </a:lnTo>
                    <a:lnTo>
                      <a:pt x="13230" y="16489"/>
                    </a:lnTo>
                    <a:lnTo>
                      <a:pt x="13905" y="16489"/>
                    </a:lnTo>
                    <a:lnTo>
                      <a:pt x="13905" y="16901"/>
                    </a:lnTo>
                    <a:lnTo>
                      <a:pt x="13905" y="16489"/>
                    </a:lnTo>
                    <a:lnTo>
                      <a:pt x="13905" y="17395"/>
                    </a:lnTo>
                    <a:lnTo>
                      <a:pt x="13230" y="17395"/>
                    </a:lnTo>
                    <a:lnTo>
                      <a:pt x="13230" y="19292"/>
                    </a:lnTo>
                    <a:lnTo>
                      <a:pt x="13905" y="19292"/>
                    </a:lnTo>
                    <a:lnTo>
                      <a:pt x="13230" y="19704"/>
                    </a:lnTo>
                    <a:lnTo>
                      <a:pt x="12420" y="19704"/>
                    </a:lnTo>
                    <a:lnTo>
                      <a:pt x="12420" y="20693"/>
                    </a:lnTo>
                    <a:lnTo>
                      <a:pt x="10800" y="20693"/>
                    </a:lnTo>
                    <a:lnTo>
                      <a:pt x="10800" y="21188"/>
                    </a:lnTo>
                    <a:lnTo>
                      <a:pt x="10125" y="21188"/>
                    </a:lnTo>
                    <a:lnTo>
                      <a:pt x="10125" y="21600"/>
                    </a:lnTo>
                    <a:lnTo>
                      <a:pt x="9315" y="21600"/>
                    </a:lnTo>
                    <a:lnTo>
                      <a:pt x="9315" y="21188"/>
                    </a:lnTo>
                    <a:lnTo>
                      <a:pt x="8505" y="21188"/>
                    </a:lnTo>
                    <a:lnTo>
                      <a:pt x="9315" y="21188"/>
                    </a:lnTo>
                    <a:lnTo>
                      <a:pt x="8505" y="21188"/>
                    </a:lnTo>
                    <a:lnTo>
                      <a:pt x="8505" y="20693"/>
                    </a:lnTo>
                    <a:lnTo>
                      <a:pt x="7830" y="21188"/>
                    </a:lnTo>
                    <a:lnTo>
                      <a:pt x="7020" y="21188"/>
                    </a:lnTo>
                    <a:lnTo>
                      <a:pt x="7020" y="20693"/>
                    </a:lnTo>
                    <a:lnTo>
                      <a:pt x="6210" y="20693"/>
                    </a:lnTo>
                    <a:lnTo>
                      <a:pt x="6210" y="18797"/>
                    </a:lnTo>
                    <a:lnTo>
                      <a:pt x="5400" y="18797"/>
                    </a:lnTo>
                    <a:lnTo>
                      <a:pt x="5400" y="18302"/>
                    </a:lnTo>
                    <a:lnTo>
                      <a:pt x="5400" y="18797"/>
                    </a:lnTo>
                    <a:lnTo>
                      <a:pt x="5400" y="18302"/>
                    </a:lnTo>
                    <a:lnTo>
                      <a:pt x="4725" y="18302"/>
                    </a:lnTo>
                    <a:lnTo>
                      <a:pt x="4725" y="17890"/>
                    </a:lnTo>
                    <a:lnTo>
                      <a:pt x="1620" y="17890"/>
                    </a:lnTo>
                    <a:lnTo>
                      <a:pt x="1620" y="17395"/>
                    </a:lnTo>
                    <a:lnTo>
                      <a:pt x="2430" y="17395"/>
                    </a:lnTo>
                    <a:lnTo>
                      <a:pt x="1620" y="17395"/>
                    </a:lnTo>
                    <a:lnTo>
                      <a:pt x="3105" y="16489"/>
                    </a:lnTo>
                    <a:lnTo>
                      <a:pt x="3105" y="15499"/>
                    </a:lnTo>
                    <a:lnTo>
                      <a:pt x="2430" y="15499"/>
                    </a:lnTo>
                    <a:lnTo>
                      <a:pt x="1620" y="15005"/>
                    </a:lnTo>
                    <a:lnTo>
                      <a:pt x="810" y="15005"/>
                    </a:lnTo>
                    <a:lnTo>
                      <a:pt x="810" y="14592"/>
                    </a:lnTo>
                    <a:lnTo>
                      <a:pt x="1620" y="14592"/>
                    </a:lnTo>
                    <a:lnTo>
                      <a:pt x="810" y="14592"/>
                    </a:lnTo>
                    <a:lnTo>
                      <a:pt x="1620" y="14098"/>
                    </a:lnTo>
                    <a:lnTo>
                      <a:pt x="810" y="13603"/>
                    </a:lnTo>
                    <a:lnTo>
                      <a:pt x="0" y="13603"/>
                    </a:lnTo>
                    <a:lnTo>
                      <a:pt x="0" y="12696"/>
                    </a:lnTo>
                    <a:lnTo>
                      <a:pt x="810" y="12696"/>
                    </a:lnTo>
                    <a:lnTo>
                      <a:pt x="1620" y="12202"/>
                    </a:lnTo>
                    <a:lnTo>
                      <a:pt x="1620" y="11295"/>
                    </a:lnTo>
                    <a:lnTo>
                      <a:pt x="2430" y="11295"/>
                    </a:lnTo>
                    <a:lnTo>
                      <a:pt x="2430" y="10305"/>
                    </a:lnTo>
                    <a:lnTo>
                      <a:pt x="3105" y="10305"/>
                    </a:lnTo>
                    <a:lnTo>
                      <a:pt x="3105" y="9398"/>
                    </a:lnTo>
                    <a:lnTo>
                      <a:pt x="2430" y="8904"/>
                    </a:lnTo>
                    <a:lnTo>
                      <a:pt x="3105" y="8904"/>
                    </a:lnTo>
                    <a:lnTo>
                      <a:pt x="3105" y="8409"/>
                    </a:lnTo>
                    <a:lnTo>
                      <a:pt x="3915" y="8409"/>
                    </a:lnTo>
                    <a:lnTo>
                      <a:pt x="3915" y="7997"/>
                    </a:lnTo>
                    <a:lnTo>
                      <a:pt x="5400" y="7997"/>
                    </a:lnTo>
                    <a:lnTo>
                      <a:pt x="6210" y="7502"/>
                    </a:lnTo>
                    <a:lnTo>
                      <a:pt x="6210" y="6595"/>
                    </a:lnTo>
                    <a:lnTo>
                      <a:pt x="5400" y="6595"/>
                    </a:lnTo>
                    <a:lnTo>
                      <a:pt x="5400" y="6101"/>
                    </a:lnTo>
                    <a:lnTo>
                      <a:pt x="6210" y="6101"/>
                    </a:lnTo>
                    <a:lnTo>
                      <a:pt x="7020" y="5606"/>
                    </a:lnTo>
                    <a:lnTo>
                      <a:pt x="5400" y="5606"/>
                    </a:lnTo>
                    <a:lnTo>
                      <a:pt x="5400" y="5111"/>
                    </a:lnTo>
                    <a:lnTo>
                      <a:pt x="7020" y="5111"/>
                    </a:lnTo>
                    <a:lnTo>
                      <a:pt x="7020" y="4699"/>
                    </a:lnTo>
                    <a:lnTo>
                      <a:pt x="7830" y="4699"/>
                    </a:lnTo>
                    <a:lnTo>
                      <a:pt x="7830" y="5111"/>
                    </a:lnTo>
                    <a:lnTo>
                      <a:pt x="7830" y="4699"/>
                    </a:lnTo>
                    <a:lnTo>
                      <a:pt x="9315" y="4699"/>
                    </a:lnTo>
                    <a:lnTo>
                      <a:pt x="9315" y="5111"/>
                    </a:lnTo>
                    <a:lnTo>
                      <a:pt x="9315" y="4699"/>
                    </a:lnTo>
                    <a:lnTo>
                      <a:pt x="10125" y="4699"/>
                    </a:lnTo>
                    <a:lnTo>
                      <a:pt x="10125" y="420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09" name="Shape 3035"/>
              <p:cNvSpPr/>
              <p:nvPr/>
            </p:nvSpPr>
            <p:spPr>
              <a:xfrm>
                <a:off x="6312521" y="3927238"/>
                <a:ext cx="157426" cy="1646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664" y="3221"/>
                    </a:moveTo>
                    <a:lnTo>
                      <a:pt x="9116" y="3221"/>
                    </a:lnTo>
                    <a:lnTo>
                      <a:pt x="9116" y="4168"/>
                    </a:lnTo>
                    <a:lnTo>
                      <a:pt x="10106" y="4168"/>
                    </a:lnTo>
                    <a:lnTo>
                      <a:pt x="10106" y="6442"/>
                    </a:lnTo>
                    <a:lnTo>
                      <a:pt x="11295" y="6442"/>
                    </a:lnTo>
                    <a:lnTo>
                      <a:pt x="11295" y="7579"/>
                    </a:lnTo>
                    <a:lnTo>
                      <a:pt x="11295" y="6442"/>
                    </a:lnTo>
                    <a:lnTo>
                      <a:pt x="11295" y="7579"/>
                    </a:lnTo>
                    <a:lnTo>
                      <a:pt x="13673" y="7579"/>
                    </a:lnTo>
                    <a:lnTo>
                      <a:pt x="13673" y="6442"/>
                    </a:lnTo>
                    <a:lnTo>
                      <a:pt x="14664" y="6442"/>
                    </a:lnTo>
                    <a:lnTo>
                      <a:pt x="14664" y="5305"/>
                    </a:lnTo>
                    <a:lnTo>
                      <a:pt x="15853" y="5305"/>
                    </a:lnTo>
                    <a:lnTo>
                      <a:pt x="14664" y="5305"/>
                    </a:lnTo>
                    <a:lnTo>
                      <a:pt x="15853" y="5305"/>
                    </a:lnTo>
                    <a:lnTo>
                      <a:pt x="17042" y="4168"/>
                    </a:lnTo>
                    <a:lnTo>
                      <a:pt x="17042" y="9663"/>
                    </a:lnTo>
                    <a:lnTo>
                      <a:pt x="18231" y="9663"/>
                    </a:lnTo>
                    <a:lnTo>
                      <a:pt x="18231" y="11747"/>
                    </a:lnTo>
                    <a:lnTo>
                      <a:pt x="19222" y="11747"/>
                    </a:lnTo>
                    <a:lnTo>
                      <a:pt x="19222" y="12884"/>
                    </a:lnTo>
                    <a:lnTo>
                      <a:pt x="20411" y="12884"/>
                    </a:lnTo>
                    <a:lnTo>
                      <a:pt x="20411" y="14021"/>
                    </a:lnTo>
                    <a:lnTo>
                      <a:pt x="21600" y="14021"/>
                    </a:lnTo>
                    <a:lnTo>
                      <a:pt x="20411" y="14021"/>
                    </a:lnTo>
                    <a:lnTo>
                      <a:pt x="20411" y="18379"/>
                    </a:lnTo>
                    <a:lnTo>
                      <a:pt x="19222" y="18379"/>
                    </a:lnTo>
                    <a:lnTo>
                      <a:pt x="19222" y="17242"/>
                    </a:lnTo>
                    <a:lnTo>
                      <a:pt x="19222" y="18379"/>
                    </a:lnTo>
                    <a:lnTo>
                      <a:pt x="19222" y="17242"/>
                    </a:lnTo>
                    <a:lnTo>
                      <a:pt x="18231" y="17242"/>
                    </a:lnTo>
                    <a:lnTo>
                      <a:pt x="18231" y="18379"/>
                    </a:lnTo>
                    <a:lnTo>
                      <a:pt x="17042" y="18379"/>
                    </a:lnTo>
                    <a:lnTo>
                      <a:pt x="17042" y="19326"/>
                    </a:lnTo>
                    <a:lnTo>
                      <a:pt x="15853" y="19326"/>
                    </a:lnTo>
                    <a:lnTo>
                      <a:pt x="14664" y="20463"/>
                    </a:lnTo>
                    <a:lnTo>
                      <a:pt x="15853" y="21600"/>
                    </a:lnTo>
                    <a:lnTo>
                      <a:pt x="14664" y="21600"/>
                    </a:lnTo>
                    <a:lnTo>
                      <a:pt x="12484" y="18379"/>
                    </a:lnTo>
                    <a:lnTo>
                      <a:pt x="9116" y="16105"/>
                    </a:lnTo>
                    <a:lnTo>
                      <a:pt x="7927" y="14021"/>
                    </a:lnTo>
                    <a:lnTo>
                      <a:pt x="6738" y="12884"/>
                    </a:lnTo>
                    <a:lnTo>
                      <a:pt x="5747" y="11747"/>
                    </a:lnTo>
                    <a:lnTo>
                      <a:pt x="5747" y="10800"/>
                    </a:lnTo>
                    <a:lnTo>
                      <a:pt x="4558" y="9663"/>
                    </a:lnTo>
                    <a:lnTo>
                      <a:pt x="3369" y="9663"/>
                    </a:lnTo>
                    <a:lnTo>
                      <a:pt x="3369" y="8526"/>
                    </a:lnTo>
                    <a:lnTo>
                      <a:pt x="0" y="4168"/>
                    </a:lnTo>
                    <a:lnTo>
                      <a:pt x="3369" y="4168"/>
                    </a:lnTo>
                    <a:lnTo>
                      <a:pt x="4558" y="5305"/>
                    </a:lnTo>
                    <a:lnTo>
                      <a:pt x="5747" y="5305"/>
                    </a:lnTo>
                    <a:lnTo>
                      <a:pt x="5747" y="4168"/>
                    </a:lnTo>
                    <a:lnTo>
                      <a:pt x="3369" y="4168"/>
                    </a:lnTo>
                    <a:lnTo>
                      <a:pt x="3369" y="3221"/>
                    </a:lnTo>
                    <a:lnTo>
                      <a:pt x="4558" y="3221"/>
                    </a:lnTo>
                    <a:lnTo>
                      <a:pt x="3369" y="2084"/>
                    </a:lnTo>
                    <a:lnTo>
                      <a:pt x="3369" y="3221"/>
                    </a:lnTo>
                    <a:lnTo>
                      <a:pt x="2180" y="3221"/>
                    </a:lnTo>
                    <a:lnTo>
                      <a:pt x="2180" y="2084"/>
                    </a:lnTo>
                    <a:lnTo>
                      <a:pt x="4558" y="2084"/>
                    </a:lnTo>
                    <a:lnTo>
                      <a:pt x="4558" y="947"/>
                    </a:lnTo>
                    <a:lnTo>
                      <a:pt x="5747" y="947"/>
                    </a:lnTo>
                    <a:lnTo>
                      <a:pt x="6738" y="0"/>
                    </a:lnTo>
                    <a:lnTo>
                      <a:pt x="6738" y="2084"/>
                    </a:lnTo>
                    <a:lnTo>
                      <a:pt x="7927" y="2084"/>
                    </a:lnTo>
                    <a:lnTo>
                      <a:pt x="7927" y="3221"/>
                    </a:lnTo>
                    <a:lnTo>
                      <a:pt x="14664" y="322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10" name="Shape 3036"/>
              <p:cNvSpPr/>
              <p:nvPr/>
            </p:nvSpPr>
            <p:spPr>
              <a:xfrm>
                <a:off x="6560934" y="5419163"/>
                <a:ext cx="98210" cy="1646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400" y="3221"/>
                    </a:moveTo>
                    <a:lnTo>
                      <a:pt x="5400" y="1137"/>
                    </a:lnTo>
                    <a:lnTo>
                      <a:pt x="3494" y="1137"/>
                    </a:lnTo>
                    <a:lnTo>
                      <a:pt x="5400" y="1137"/>
                    </a:lnTo>
                    <a:lnTo>
                      <a:pt x="1588" y="1137"/>
                    </a:lnTo>
                    <a:lnTo>
                      <a:pt x="1588" y="0"/>
                    </a:lnTo>
                    <a:lnTo>
                      <a:pt x="0" y="1137"/>
                    </a:lnTo>
                    <a:lnTo>
                      <a:pt x="1588" y="1137"/>
                    </a:lnTo>
                    <a:lnTo>
                      <a:pt x="1588" y="3221"/>
                    </a:lnTo>
                    <a:lnTo>
                      <a:pt x="3494" y="3221"/>
                    </a:lnTo>
                    <a:lnTo>
                      <a:pt x="3494" y="4358"/>
                    </a:lnTo>
                    <a:lnTo>
                      <a:pt x="5400" y="4358"/>
                    </a:lnTo>
                    <a:lnTo>
                      <a:pt x="5400" y="5495"/>
                    </a:lnTo>
                    <a:lnTo>
                      <a:pt x="6988" y="5495"/>
                    </a:lnTo>
                    <a:lnTo>
                      <a:pt x="6988" y="6442"/>
                    </a:lnTo>
                    <a:lnTo>
                      <a:pt x="10800" y="6442"/>
                    </a:lnTo>
                    <a:lnTo>
                      <a:pt x="10800" y="4358"/>
                    </a:lnTo>
                    <a:lnTo>
                      <a:pt x="12706" y="4358"/>
                    </a:lnTo>
                    <a:lnTo>
                      <a:pt x="12706" y="5495"/>
                    </a:lnTo>
                    <a:lnTo>
                      <a:pt x="12706" y="4358"/>
                    </a:lnTo>
                    <a:lnTo>
                      <a:pt x="12706" y="5495"/>
                    </a:lnTo>
                    <a:lnTo>
                      <a:pt x="10800" y="5495"/>
                    </a:lnTo>
                    <a:lnTo>
                      <a:pt x="12706" y="5495"/>
                    </a:lnTo>
                    <a:lnTo>
                      <a:pt x="12706" y="6442"/>
                    </a:lnTo>
                    <a:lnTo>
                      <a:pt x="16200" y="6442"/>
                    </a:lnTo>
                    <a:lnTo>
                      <a:pt x="16200" y="7579"/>
                    </a:lnTo>
                    <a:lnTo>
                      <a:pt x="14294" y="7579"/>
                    </a:lnTo>
                    <a:lnTo>
                      <a:pt x="16200" y="7579"/>
                    </a:lnTo>
                    <a:lnTo>
                      <a:pt x="14294" y="7579"/>
                    </a:lnTo>
                    <a:lnTo>
                      <a:pt x="14294" y="9663"/>
                    </a:lnTo>
                    <a:lnTo>
                      <a:pt x="10800" y="9663"/>
                    </a:lnTo>
                    <a:lnTo>
                      <a:pt x="10800" y="10800"/>
                    </a:lnTo>
                    <a:lnTo>
                      <a:pt x="8894" y="10800"/>
                    </a:lnTo>
                    <a:lnTo>
                      <a:pt x="8894" y="11937"/>
                    </a:lnTo>
                    <a:lnTo>
                      <a:pt x="6988" y="12884"/>
                    </a:lnTo>
                    <a:lnTo>
                      <a:pt x="8894" y="12884"/>
                    </a:lnTo>
                    <a:lnTo>
                      <a:pt x="8894" y="14021"/>
                    </a:lnTo>
                    <a:lnTo>
                      <a:pt x="6988" y="14021"/>
                    </a:lnTo>
                    <a:lnTo>
                      <a:pt x="8894" y="15158"/>
                    </a:lnTo>
                    <a:lnTo>
                      <a:pt x="8894" y="16295"/>
                    </a:lnTo>
                    <a:lnTo>
                      <a:pt x="5400" y="16295"/>
                    </a:lnTo>
                    <a:lnTo>
                      <a:pt x="5400" y="14021"/>
                    </a:lnTo>
                    <a:lnTo>
                      <a:pt x="3494" y="14021"/>
                    </a:lnTo>
                    <a:lnTo>
                      <a:pt x="3494" y="16295"/>
                    </a:lnTo>
                    <a:lnTo>
                      <a:pt x="1588" y="16295"/>
                    </a:lnTo>
                    <a:lnTo>
                      <a:pt x="1588" y="17242"/>
                    </a:lnTo>
                    <a:lnTo>
                      <a:pt x="3494" y="17242"/>
                    </a:lnTo>
                    <a:lnTo>
                      <a:pt x="3494" y="19516"/>
                    </a:lnTo>
                    <a:lnTo>
                      <a:pt x="5400" y="19516"/>
                    </a:lnTo>
                    <a:lnTo>
                      <a:pt x="5400" y="20463"/>
                    </a:lnTo>
                    <a:lnTo>
                      <a:pt x="6988" y="21600"/>
                    </a:lnTo>
                    <a:lnTo>
                      <a:pt x="6988" y="20463"/>
                    </a:lnTo>
                    <a:lnTo>
                      <a:pt x="10800" y="20463"/>
                    </a:lnTo>
                    <a:lnTo>
                      <a:pt x="10800" y="17242"/>
                    </a:lnTo>
                    <a:lnTo>
                      <a:pt x="12706" y="17242"/>
                    </a:lnTo>
                    <a:lnTo>
                      <a:pt x="12706" y="16295"/>
                    </a:lnTo>
                    <a:lnTo>
                      <a:pt x="14294" y="16295"/>
                    </a:lnTo>
                    <a:lnTo>
                      <a:pt x="14294" y="15158"/>
                    </a:lnTo>
                    <a:lnTo>
                      <a:pt x="16200" y="15158"/>
                    </a:lnTo>
                    <a:lnTo>
                      <a:pt x="16200" y="12884"/>
                    </a:lnTo>
                    <a:lnTo>
                      <a:pt x="18106" y="12884"/>
                    </a:lnTo>
                    <a:lnTo>
                      <a:pt x="18106" y="11937"/>
                    </a:lnTo>
                    <a:lnTo>
                      <a:pt x="19694" y="11937"/>
                    </a:lnTo>
                    <a:lnTo>
                      <a:pt x="19694" y="15158"/>
                    </a:lnTo>
                    <a:lnTo>
                      <a:pt x="18106" y="16295"/>
                    </a:lnTo>
                    <a:lnTo>
                      <a:pt x="19694" y="16295"/>
                    </a:lnTo>
                    <a:lnTo>
                      <a:pt x="19694" y="15158"/>
                    </a:lnTo>
                    <a:lnTo>
                      <a:pt x="21600" y="15158"/>
                    </a:lnTo>
                    <a:lnTo>
                      <a:pt x="21600" y="7579"/>
                    </a:lnTo>
                    <a:lnTo>
                      <a:pt x="19694" y="6442"/>
                    </a:lnTo>
                    <a:lnTo>
                      <a:pt x="16200" y="6442"/>
                    </a:lnTo>
                    <a:lnTo>
                      <a:pt x="16200" y="4358"/>
                    </a:lnTo>
                    <a:lnTo>
                      <a:pt x="14294" y="4358"/>
                    </a:lnTo>
                    <a:lnTo>
                      <a:pt x="16200" y="4358"/>
                    </a:lnTo>
                    <a:lnTo>
                      <a:pt x="14294" y="3221"/>
                    </a:lnTo>
                    <a:lnTo>
                      <a:pt x="5400" y="322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11" name="Shape 3037"/>
              <p:cNvSpPr/>
              <p:nvPr/>
            </p:nvSpPr>
            <p:spPr>
              <a:xfrm>
                <a:off x="9060231" y="4255086"/>
                <a:ext cx="11555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12" name="Shape 3038"/>
              <p:cNvSpPr/>
              <p:nvPr/>
            </p:nvSpPr>
            <p:spPr>
              <a:xfrm>
                <a:off x="9036401" y="4255086"/>
                <a:ext cx="1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13" name="Shape 3039"/>
              <p:cNvSpPr/>
              <p:nvPr/>
            </p:nvSpPr>
            <p:spPr>
              <a:xfrm>
                <a:off x="9029180" y="4246420"/>
                <a:ext cx="15888" cy="115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9818" y="21600"/>
                    </a:lnTo>
                    <a:lnTo>
                      <a:pt x="981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14" name="Shape 3040"/>
              <p:cNvSpPr/>
              <p:nvPr/>
            </p:nvSpPr>
            <p:spPr>
              <a:xfrm>
                <a:off x="9045066" y="4256530"/>
                <a:ext cx="24554" cy="3321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624" y="0"/>
                    </a:moveTo>
                    <a:lnTo>
                      <a:pt x="7624" y="5635"/>
                    </a:lnTo>
                    <a:lnTo>
                      <a:pt x="15247" y="5635"/>
                    </a:lnTo>
                    <a:lnTo>
                      <a:pt x="7624" y="5635"/>
                    </a:lnTo>
                    <a:lnTo>
                      <a:pt x="15247" y="5635"/>
                    </a:lnTo>
                    <a:lnTo>
                      <a:pt x="21600" y="10330"/>
                    </a:lnTo>
                    <a:lnTo>
                      <a:pt x="15247" y="10330"/>
                    </a:lnTo>
                    <a:lnTo>
                      <a:pt x="21600" y="15965"/>
                    </a:lnTo>
                    <a:lnTo>
                      <a:pt x="15247" y="15965"/>
                    </a:lnTo>
                    <a:lnTo>
                      <a:pt x="21600" y="15965"/>
                    </a:lnTo>
                    <a:lnTo>
                      <a:pt x="21600" y="21600"/>
                    </a:lnTo>
                    <a:lnTo>
                      <a:pt x="15247" y="21600"/>
                    </a:lnTo>
                    <a:lnTo>
                      <a:pt x="15247" y="15965"/>
                    </a:lnTo>
                    <a:lnTo>
                      <a:pt x="15247" y="21600"/>
                    </a:lnTo>
                    <a:lnTo>
                      <a:pt x="7624" y="21600"/>
                    </a:lnTo>
                    <a:lnTo>
                      <a:pt x="7624" y="15965"/>
                    </a:lnTo>
                    <a:lnTo>
                      <a:pt x="0" y="15965"/>
                    </a:lnTo>
                    <a:lnTo>
                      <a:pt x="0" y="5635"/>
                    </a:lnTo>
                    <a:lnTo>
                      <a:pt x="7624" y="5635"/>
                    </a:lnTo>
                    <a:lnTo>
                      <a:pt x="0" y="5635"/>
                    </a:lnTo>
                    <a:lnTo>
                      <a:pt x="0" y="0"/>
                    </a:lnTo>
                    <a:lnTo>
                      <a:pt x="7624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15" name="Shape 3041"/>
              <p:cNvSpPr/>
              <p:nvPr/>
            </p:nvSpPr>
            <p:spPr>
              <a:xfrm>
                <a:off x="9069619" y="4281083"/>
                <a:ext cx="33219" cy="158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635" y="0"/>
                    </a:moveTo>
                    <a:lnTo>
                      <a:pt x="15965" y="0"/>
                    </a:lnTo>
                    <a:lnTo>
                      <a:pt x="15965" y="11782"/>
                    </a:lnTo>
                    <a:lnTo>
                      <a:pt x="21600" y="11782"/>
                    </a:lnTo>
                    <a:lnTo>
                      <a:pt x="21600" y="21600"/>
                    </a:lnTo>
                    <a:lnTo>
                      <a:pt x="5635" y="21600"/>
                    </a:lnTo>
                    <a:lnTo>
                      <a:pt x="5635" y="0"/>
                    </a:lnTo>
                    <a:lnTo>
                      <a:pt x="0" y="0"/>
                    </a:lnTo>
                    <a:lnTo>
                      <a:pt x="5635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16" name="Shape 3042"/>
              <p:cNvSpPr/>
              <p:nvPr/>
            </p:nvSpPr>
            <p:spPr>
              <a:xfrm>
                <a:off x="6303855" y="5089871"/>
                <a:ext cx="24554" cy="245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7624" y="6353"/>
                    </a:lnTo>
                    <a:lnTo>
                      <a:pt x="15247" y="13976"/>
                    </a:lnTo>
                    <a:lnTo>
                      <a:pt x="21600" y="13976"/>
                    </a:lnTo>
                    <a:lnTo>
                      <a:pt x="21600" y="21600"/>
                    </a:lnTo>
                    <a:lnTo>
                      <a:pt x="21600" y="13976"/>
                    </a:lnTo>
                    <a:lnTo>
                      <a:pt x="15247" y="13976"/>
                    </a:lnTo>
                    <a:lnTo>
                      <a:pt x="15247" y="6353"/>
                    </a:lnTo>
                    <a:lnTo>
                      <a:pt x="7624" y="635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17" name="Shape 3043"/>
              <p:cNvSpPr/>
              <p:nvPr/>
            </p:nvSpPr>
            <p:spPr>
              <a:xfrm>
                <a:off x="6403510" y="5172194"/>
                <a:ext cx="15888" cy="4044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782" y="21600"/>
                    </a:moveTo>
                    <a:lnTo>
                      <a:pt x="11782" y="17743"/>
                    </a:lnTo>
                    <a:lnTo>
                      <a:pt x="0" y="17743"/>
                    </a:lnTo>
                    <a:lnTo>
                      <a:pt x="0" y="13114"/>
                    </a:lnTo>
                    <a:lnTo>
                      <a:pt x="11782" y="13114"/>
                    </a:lnTo>
                    <a:lnTo>
                      <a:pt x="11782" y="8486"/>
                    </a:lnTo>
                    <a:lnTo>
                      <a:pt x="21600" y="8486"/>
                    </a:lnTo>
                    <a:lnTo>
                      <a:pt x="21600" y="3857"/>
                    </a:lnTo>
                    <a:lnTo>
                      <a:pt x="11782" y="3857"/>
                    </a:lnTo>
                    <a:lnTo>
                      <a:pt x="11782" y="0"/>
                    </a:lnTo>
                    <a:lnTo>
                      <a:pt x="21600" y="0"/>
                    </a:lnTo>
                    <a:lnTo>
                      <a:pt x="21600" y="8486"/>
                    </a:lnTo>
                    <a:lnTo>
                      <a:pt x="11782" y="13114"/>
                    </a:lnTo>
                    <a:lnTo>
                      <a:pt x="11782" y="2160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18" name="Shape 3044"/>
              <p:cNvSpPr/>
              <p:nvPr/>
            </p:nvSpPr>
            <p:spPr>
              <a:xfrm>
                <a:off x="6443227" y="5188081"/>
                <a:ext cx="11555" cy="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21600" y="0"/>
                    </a:moveTo>
                    <a:lnTo>
                      <a:pt x="0" y="0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19" name="Shape 3045"/>
              <p:cNvSpPr/>
              <p:nvPr/>
            </p:nvSpPr>
            <p:spPr>
              <a:xfrm>
                <a:off x="6254750" y="5121644"/>
                <a:ext cx="222417" cy="19786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379" y="946"/>
                    </a:moveTo>
                    <a:lnTo>
                      <a:pt x="9678" y="946"/>
                    </a:lnTo>
                    <a:lnTo>
                      <a:pt x="9678" y="2838"/>
                    </a:lnTo>
                    <a:lnTo>
                      <a:pt x="7995" y="2838"/>
                    </a:lnTo>
                    <a:lnTo>
                      <a:pt x="7995" y="1892"/>
                    </a:lnTo>
                    <a:lnTo>
                      <a:pt x="6452" y="1892"/>
                    </a:lnTo>
                    <a:lnTo>
                      <a:pt x="6452" y="946"/>
                    </a:lnTo>
                    <a:lnTo>
                      <a:pt x="5610" y="946"/>
                    </a:lnTo>
                    <a:lnTo>
                      <a:pt x="5610" y="1892"/>
                    </a:lnTo>
                    <a:lnTo>
                      <a:pt x="4769" y="1892"/>
                    </a:lnTo>
                    <a:lnTo>
                      <a:pt x="4769" y="946"/>
                    </a:lnTo>
                    <a:lnTo>
                      <a:pt x="3226" y="946"/>
                    </a:lnTo>
                    <a:lnTo>
                      <a:pt x="3226" y="1892"/>
                    </a:lnTo>
                    <a:lnTo>
                      <a:pt x="2384" y="1892"/>
                    </a:lnTo>
                    <a:lnTo>
                      <a:pt x="2384" y="946"/>
                    </a:lnTo>
                    <a:lnTo>
                      <a:pt x="3226" y="946"/>
                    </a:lnTo>
                    <a:lnTo>
                      <a:pt x="842" y="946"/>
                    </a:lnTo>
                    <a:lnTo>
                      <a:pt x="0" y="1892"/>
                    </a:lnTo>
                    <a:lnTo>
                      <a:pt x="842" y="1892"/>
                    </a:lnTo>
                    <a:lnTo>
                      <a:pt x="842" y="2838"/>
                    </a:lnTo>
                    <a:lnTo>
                      <a:pt x="1543" y="2838"/>
                    </a:lnTo>
                    <a:lnTo>
                      <a:pt x="2384" y="3626"/>
                    </a:lnTo>
                    <a:lnTo>
                      <a:pt x="2384" y="6307"/>
                    </a:lnTo>
                    <a:lnTo>
                      <a:pt x="3226" y="6307"/>
                    </a:lnTo>
                    <a:lnTo>
                      <a:pt x="3226" y="7253"/>
                    </a:lnTo>
                    <a:lnTo>
                      <a:pt x="4068" y="7253"/>
                    </a:lnTo>
                    <a:lnTo>
                      <a:pt x="4068" y="9933"/>
                    </a:lnTo>
                    <a:lnTo>
                      <a:pt x="3226" y="9933"/>
                    </a:lnTo>
                    <a:lnTo>
                      <a:pt x="3226" y="10879"/>
                    </a:lnTo>
                    <a:lnTo>
                      <a:pt x="1543" y="10879"/>
                    </a:lnTo>
                    <a:lnTo>
                      <a:pt x="1543" y="11825"/>
                    </a:lnTo>
                    <a:lnTo>
                      <a:pt x="842" y="11825"/>
                    </a:lnTo>
                    <a:lnTo>
                      <a:pt x="1543" y="11825"/>
                    </a:lnTo>
                    <a:lnTo>
                      <a:pt x="1543" y="12613"/>
                    </a:lnTo>
                    <a:lnTo>
                      <a:pt x="842" y="12613"/>
                    </a:lnTo>
                    <a:lnTo>
                      <a:pt x="842" y="11825"/>
                    </a:lnTo>
                    <a:lnTo>
                      <a:pt x="0" y="11825"/>
                    </a:lnTo>
                    <a:lnTo>
                      <a:pt x="0" y="13559"/>
                    </a:lnTo>
                    <a:lnTo>
                      <a:pt x="842" y="13559"/>
                    </a:lnTo>
                    <a:lnTo>
                      <a:pt x="842" y="15293"/>
                    </a:lnTo>
                    <a:lnTo>
                      <a:pt x="1543" y="15293"/>
                    </a:lnTo>
                    <a:lnTo>
                      <a:pt x="1543" y="16239"/>
                    </a:lnTo>
                    <a:lnTo>
                      <a:pt x="5610" y="16239"/>
                    </a:lnTo>
                    <a:lnTo>
                      <a:pt x="6452" y="15293"/>
                    </a:lnTo>
                    <a:lnTo>
                      <a:pt x="7153" y="15293"/>
                    </a:lnTo>
                    <a:lnTo>
                      <a:pt x="7153" y="16239"/>
                    </a:lnTo>
                    <a:lnTo>
                      <a:pt x="8836" y="16239"/>
                    </a:lnTo>
                    <a:lnTo>
                      <a:pt x="8836" y="17185"/>
                    </a:lnTo>
                    <a:lnTo>
                      <a:pt x="9678" y="17185"/>
                    </a:lnTo>
                    <a:lnTo>
                      <a:pt x="9678" y="18131"/>
                    </a:lnTo>
                    <a:lnTo>
                      <a:pt x="11221" y="18131"/>
                    </a:lnTo>
                    <a:lnTo>
                      <a:pt x="11221" y="17185"/>
                    </a:lnTo>
                    <a:lnTo>
                      <a:pt x="11221" y="18131"/>
                    </a:lnTo>
                    <a:lnTo>
                      <a:pt x="12062" y="18131"/>
                    </a:lnTo>
                    <a:lnTo>
                      <a:pt x="12062" y="17185"/>
                    </a:lnTo>
                    <a:lnTo>
                      <a:pt x="12062" y="18131"/>
                    </a:lnTo>
                    <a:lnTo>
                      <a:pt x="12764" y="18131"/>
                    </a:lnTo>
                    <a:lnTo>
                      <a:pt x="12062" y="18131"/>
                    </a:lnTo>
                    <a:lnTo>
                      <a:pt x="12764" y="18131"/>
                    </a:lnTo>
                    <a:lnTo>
                      <a:pt x="12764" y="17185"/>
                    </a:lnTo>
                    <a:lnTo>
                      <a:pt x="14447" y="17185"/>
                    </a:lnTo>
                    <a:lnTo>
                      <a:pt x="14447" y="18131"/>
                    </a:lnTo>
                    <a:lnTo>
                      <a:pt x="15288" y="18131"/>
                    </a:lnTo>
                    <a:lnTo>
                      <a:pt x="15288" y="19866"/>
                    </a:lnTo>
                    <a:lnTo>
                      <a:pt x="15990" y="19866"/>
                    </a:lnTo>
                    <a:lnTo>
                      <a:pt x="15990" y="20812"/>
                    </a:lnTo>
                    <a:lnTo>
                      <a:pt x="15990" y="19866"/>
                    </a:lnTo>
                    <a:lnTo>
                      <a:pt x="15990" y="20812"/>
                    </a:lnTo>
                    <a:lnTo>
                      <a:pt x="16831" y="20812"/>
                    </a:lnTo>
                    <a:lnTo>
                      <a:pt x="16831" y="21600"/>
                    </a:lnTo>
                    <a:lnTo>
                      <a:pt x="19216" y="21600"/>
                    </a:lnTo>
                    <a:lnTo>
                      <a:pt x="19216" y="20812"/>
                    </a:lnTo>
                    <a:lnTo>
                      <a:pt x="20057" y="20812"/>
                    </a:lnTo>
                    <a:lnTo>
                      <a:pt x="20057" y="19866"/>
                    </a:lnTo>
                    <a:lnTo>
                      <a:pt x="20899" y="19866"/>
                    </a:lnTo>
                    <a:lnTo>
                      <a:pt x="20899" y="20812"/>
                    </a:lnTo>
                    <a:lnTo>
                      <a:pt x="21600" y="20812"/>
                    </a:lnTo>
                    <a:lnTo>
                      <a:pt x="21600" y="19866"/>
                    </a:lnTo>
                    <a:lnTo>
                      <a:pt x="20899" y="19866"/>
                    </a:lnTo>
                    <a:lnTo>
                      <a:pt x="20899" y="18920"/>
                    </a:lnTo>
                    <a:lnTo>
                      <a:pt x="20057" y="18131"/>
                    </a:lnTo>
                    <a:lnTo>
                      <a:pt x="19216" y="18131"/>
                    </a:lnTo>
                    <a:lnTo>
                      <a:pt x="19216" y="17185"/>
                    </a:lnTo>
                    <a:lnTo>
                      <a:pt x="18514" y="17185"/>
                    </a:lnTo>
                    <a:lnTo>
                      <a:pt x="18514" y="18131"/>
                    </a:lnTo>
                    <a:lnTo>
                      <a:pt x="17673" y="18131"/>
                    </a:lnTo>
                    <a:lnTo>
                      <a:pt x="17673" y="16239"/>
                    </a:lnTo>
                    <a:lnTo>
                      <a:pt x="15288" y="16239"/>
                    </a:lnTo>
                    <a:lnTo>
                      <a:pt x="14447" y="15293"/>
                    </a:lnTo>
                    <a:lnTo>
                      <a:pt x="14447" y="12613"/>
                    </a:lnTo>
                    <a:lnTo>
                      <a:pt x="15288" y="11825"/>
                    </a:lnTo>
                    <a:lnTo>
                      <a:pt x="15288" y="9933"/>
                    </a:lnTo>
                    <a:lnTo>
                      <a:pt x="14447" y="10879"/>
                    </a:lnTo>
                    <a:lnTo>
                      <a:pt x="14447" y="15293"/>
                    </a:lnTo>
                    <a:lnTo>
                      <a:pt x="13605" y="15293"/>
                    </a:lnTo>
                    <a:lnTo>
                      <a:pt x="13605" y="13559"/>
                    </a:lnTo>
                    <a:lnTo>
                      <a:pt x="12764" y="13559"/>
                    </a:lnTo>
                    <a:lnTo>
                      <a:pt x="13605" y="13559"/>
                    </a:lnTo>
                    <a:lnTo>
                      <a:pt x="13605" y="12613"/>
                    </a:lnTo>
                    <a:lnTo>
                      <a:pt x="12764" y="12613"/>
                    </a:lnTo>
                    <a:lnTo>
                      <a:pt x="12764" y="13559"/>
                    </a:lnTo>
                    <a:lnTo>
                      <a:pt x="12764" y="12613"/>
                    </a:lnTo>
                    <a:lnTo>
                      <a:pt x="14447" y="12613"/>
                    </a:lnTo>
                    <a:lnTo>
                      <a:pt x="14447" y="9933"/>
                    </a:lnTo>
                    <a:lnTo>
                      <a:pt x="13605" y="9933"/>
                    </a:lnTo>
                    <a:lnTo>
                      <a:pt x="14447" y="9933"/>
                    </a:lnTo>
                    <a:lnTo>
                      <a:pt x="13605" y="9145"/>
                    </a:lnTo>
                    <a:lnTo>
                      <a:pt x="14447" y="9145"/>
                    </a:lnTo>
                    <a:lnTo>
                      <a:pt x="14447" y="9933"/>
                    </a:lnTo>
                    <a:lnTo>
                      <a:pt x="14447" y="9145"/>
                    </a:lnTo>
                    <a:lnTo>
                      <a:pt x="13605" y="9145"/>
                    </a:lnTo>
                    <a:lnTo>
                      <a:pt x="14447" y="9145"/>
                    </a:lnTo>
                    <a:lnTo>
                      <a:pt x="14447" y="8199"/>
                    </a:lnTo>
                    <a:lnTo>
                      <a:pt x="13605" y="8199"/>
                    </a:lnTo>
                    <a:lnTo>
                      <a:pt x="14447" y="7253"/>
                    </a:lnTo>
                    <a:lnTo>
                      <a:pt x="14447" y="8199"/>
                    </a:lnTo>
                    <a:lnTo>
                      <a:pt x="14447" y="7253"/>
                    </a:lnTo>
                    <a:lnTo>
                      <a:pt x="13605" y="7253"/>
                    </a:lnTo>
                    <a:lnTo>
                      <a:pt x="14447" y="7253"/>
                    </a:lnTo>
                    <a:lnTo>
                      <a:pt x="14447" y="6307"/>
                    </a:lnTo>
                    <a:lnTo>
                      <a:pt x="12764" y="6307"/>
                    </a:lnTo>
                    <a:lnTo>
                      <a:pt x="12764" y="5518"/>
                    </a:lnTo>
                    <a:lnTo>
                      <a:pt x="13605" y="5518"/>
                    </a:lnTo>
                    <a:lnTo>
                      <a:pt x="13605" y="4572"/>
                    </a:lnTo>
                    <a:lnTo>
                      <a:pt x="12764" y="4572"/>
                    </a:lnTo>
                    <a:lnTo>
                      <a:pt x="12764" y="3626"/>
                    </a:lnTo>
                    <a:lnTo>
                      <a:pt x="12764" y="4572"/>
                    </a:lnTo>
                    <a:lnTo>
                      <a:pt x="12062" y="4572"/>
                    </a:lnTo>
                    <a:lnTo>
                      <a:pt x="12062" y="3626"/>
                    </a:lnTo>
                    <a:lnTo>
                      <a:pt x="12062" y="4572"/>
                    </a:lnTo>
                    <a:lnTo>
                      <a:pt x="12062" y="3626"/>
                    </a:lnTo>
                    <a:lnTo>
                      <a:pt x="12764" y="3626"/>
                    </a:lnTo>
                    <a:lnTo>
                      <a:pt x="12062" y="3626"/>
                    </a:lnTo>
                    <a:lnTo>
                      <a:pt x="12062" y="2838"/>
                    </a:lnTo>
                    <a:lnTo>
                      <a:pt x="11221" y="2838"/>
                    </a:lnTo>
                    <a:lnTo>
                      <a:pt x="11221" y="1892"/>
                    </a:lnTo>
                    <a:lnTo>
                      <a:pt x="12062" y="1892"/>
                    </a:lnTo>
                    <a:lnTo>
                      <a:pt x="12062" y="946"/>
                    </a:lnTo>
                    <a:lnTo>
                      <a:pt x="11221" y="946"/>
                    </a:lnTo>
                    <a:lnTo>
                      <a:pt x="11221" y="1892"/>
                    </a:lnTo>
                    <a:lnTo>
                      <a:pt x="11221" y="0"/>
                    </a:lnTo>
                    <a:lnTo>
                      <a:pt x="10379" y="0"/>
                    </a:lnTo>
                    <a:lnTo>
                      <a:pt x="10379" y="94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>
                      <a:lumMod val="75000"/>
                    </a:srgbClr>
                  </a:solidFill>
                  <a:latin typeface="Cera CY" panose="00000500000000000000" pitchFamily="50" charset="-52"/>
                </a:endParaRPr>
              </a:p>
            </p:txBody>
          </p:sp>
          <p:sp>
            <p:nvSpPr>
              <p:cNvPr id="720" name="Shape 3046"/>
              <p:cNvSpPr/>
              <p:nvPr/>
            </p:nvSpPr>
            <p:spPr>
              <a:xfrm>
                <a:off x="6816568" y="5748454"/>
                <a:ext cx="140095" cy="1400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5365"/>
                    </a:moveTo>
                    <a:lnTo>
                      <a:pt x="0" y="14029"/>
                    </a:lnTo>
                    <a:lnTo>
                      <a:pt x="1113" y="14029"/>
                    </a:lnTo>
                    <a:lnTo>
                      <a:pt x="1113" y="11579"/>
                    </a:lnTo>
                    <a:lnTo>
                      <a:pt x="2449" y="11579"/>
                    </a:lnTo>
                    <a:lnTo>
                      <a:pt x="2449" y="2672"/>
                    </a:lnTo>
                    <a:lnTo>
                      <a:pt x="6235" y="2672"/>
                    </a:lnTo>
                    <a:lnTo>
                      <a:pt x="7571" y="1336"/>
                    </a:lnTo>
                    <a:lnTo>
                      <a:pt x="7571" y="0"/>
                    </a:lnTo>
                    <a:lnTo>
                      <a:pt x="8907" y="1336"/>
                    </a:lnTo>
                    <a:lnTo>
                      <a:pt x="8907" y="2672"/>
                    </a:lnTo>
                    <a:lnTo>
                      <a:pt x="11357" y="3786"/>
                    </a:lnTo>
                    <a:lnTo>
                      <a:pt x="11357" y="1336"/>
                    </a:lnTo>
                    <a:lnTo>
                      <a:pt x="12693" y="2672"/>
                    </a:lnTo>
                    <a:lnTo>
                      <a:pt x="14029" y="2672"/>
                    </a:lnTo>
                    <a:lnTo>
                      <a:pt x="14029" y="5122"/>
                    </a:lnTo>
                    <a:lnTo>
                      <a:pt x="15142" y="5122"/>
                    </a:lnTo>
                    <a:lnTo>
                      <a:pt x="15142" y="3786"/>
                    </a:lnTo>
                    <a:lnTo>
                      <a:pt x="15142" y="5122"/>
                    </a:lnTo>
                    <a:lnTo>
                      <a:pt x="16478" y="6458"/>
                    </a:lnTo>
                    <a:lnTo>
                      <a:pt x="15142" y="6458"/>
                    </a:lnTo>
                    <a:lnTo>
                      <a:pt x="15142" y="7794"/>
                    </a:lnTo>
                    <a:lnTo>
                      <a:pt x="17814" y="7794"/>
                    </a:lnTo>
                    <a:lnTo>
                      <a:pt x="17814" y="6458"/>
                    </a:lnTo>
                    <a:lnTo>
                      <a:pt x="18928" y="7794"/>
                    </a:lnTo>
                    <a:lnTo>
                      <a:pt x="20264" y="6458"/>
                    </a:lnTo>
                    <a:lnTo>
                      <a:pt x="20264" y="10243"/>
                    </a:lnTo>
                    <a:lnTo>
                      <a:pt x="21600" y="10243"/>
                    </a:lnTo>
                    <a:lnTo>
                      <a:pt x="20264" y="10243"/>
                    </a:lnTo>
                    <a:lnTo>
                      <a:pt x="20264" y="11579"/>
                    </a:lnTo>
                    <a:lnTo>
                      <a:pt x="17814" y="11579"/>
                    </a:lnTo>
                    <a:lnTo>
                      <a:pt x="17814" y="12693"/>
                    </a:lnTo>
                    <a:lnTo>
                      <a:pt x="16478" y="12693"/>
                    </a:lnTo>
                    <a:lnTo>
                      <a:pt x="16478" y="14029"/>
                    </a:lnTo>
                    <a:lnTo>
                      <a:pt x="15142" y="14029"/>
                    </a:lnTo>
                    <a:lnTo>
                      <a:pt x="15142" y="16701"/>
                    </a:lnTo>
                    <a:lnTo>
                      <a:pt x="14029" y="16701"/>
                    </a:lnTo>
                    <a:lnTo>
                      <a:pt x="14029" y="21600"/>
                    </a:lnTo>
                    <a:lnTo>
                      <a:pt x="12693" y="21600"/>
                    </a:lnTo>
                    <a:lnTo>
                      <a:pt x="12693" y="20487"/>
                    </a:lnTo>
                    <a:lnTo>
                      <a:pt x="11357" y="21600"/>
                    </a:lnTo>
                    <a:lnTo>
                      <a:pt x="11357" y="20487"/>
                    </a:lnTo>
                    <a:lnTo>
                      <a:pt x="10021" y="20487"/>
                    </a:lnTo>
                    <a:lnTo>
                      <a:pt x="10021" y="19151"/>
                    </a:lnTo>
                    <a:lnTo>
                      <a:pt x="8907" y="20487"/>
                    </a:lnTo>
                    <a:lnTo>
                      <a:pt x="8907" y="21600"/>
                    </a:lnTo>
                    <a:lnTo>
                      <a:pt x="7571" y="21600"/>
                    </a:lnTo>
                    <a:lnTo>
                      <a:pt x="7571" y="20487"/>
                    </a:lnTo>
                    <a:lnTo>
                      <a:pt x="7571" y="21600"/>
                    </a:lnTo>
                    <a:lnTo>
                      <a:pt x="7571" y="20487"/>
                    </a:lnTo>
                    <a:lnTo>
                      <a:pt x="6235" y="21600"/>
                    </a:lnTo>
                    <a:lnTo>
                      <a:pt x="2449" y="21600"/>
                    </a:lnTo>
                    <a:lnTo>
                      <a:pt x="2449" y="20487"/>
                    </a:lnTo>
                    <a:lnTo>
                      <a:pt x="1113" y="20487"/>
                    </a:lnTo>
                    <a:lnTo>
                      <a:pt x="1113" y="19151"/>
                    </a:lnTo>
                    <a:lnTo>
                      <a:pt x="0" y="19151"/>
                    </a:lnTo>
                    <a:lnTo>
                      <a:pt x="0" y="1536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accent1">
                    <a:lumMod val="75000"/>
                    <a:alpha val="6000"/>
                  </a:schemeClr>
                </a:solidFill>
                <a:prstDash val="solid"/>
                <a:round/>
              </a:ln>
              <a:effectLst/>
            </p:spPr>
            <p:txBody>
              <a:bodyPr wrap="square" lIns="17916" tIns="17916" rIns="17916" bIns="17916" numCol="1" anchor="ctr">
                <a:noAutofit/>
              </a:bodyPr>
              <a:lstStyle/>
              <a:p>
                <a:pPr defTabSz="716560">
                  <a:defRPr sz="3000">
                    <a:solidFill>
                      <a:srgbClr val="FFFFFF"/>
                    </a:solidFill>
                  </a:defRPr>
                </a:pPr>
                <a:endParaRPr sz="1176" dirty="0">
                  <a:solidFill>
                    <a:srgbClr val="FFFFFF"/>
                  </a:solidFill>
                  <a:latin typeface="Cera CY" panose="00000500000000000000" pitchFamily="50" charset="-52"/>
                </a:endParaRPr>
              </a:p>
            </p:txBody>
          </p:sp>
        </p:grp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1AC9B480-AF0F-482C-A275-A93B6A4E03EB}"/>
              </a:ext>
            </a:extLst>
          </p:cNvPr>
          <p:cNvSpPr txBox="1"/>
          <p:nvPr/>
        </p:nvSpPr>
        <p:spPr>
          <a:xfrm>
            <a:off x="5190373" y="2373958"/>
            <a:ext cx="130371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898">
              <a:defRPr/>
            </a:pPr>
            <a:r>
              <a:rPr lang="ru-RU" sz="1200" dirty="0">
                <a:solidFill>
                  <a:srgbClr val="000000"/>
                </a:solidFill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rPr>
              <a:t>сопровождаемых контрактов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ECA360B-C0BE-4690-AFD9-4544093762EE}"/>
              </a:ext>
            </a:extLst>
          </p:cNvPr>
          <p:cNvSpPr txBox="1"/>
          <p:nvPr/>
        </p:nvSpPr>
        <p:spPr>
          <a:xfrm>
            <a:off x="5215044" y="1836832"/>
            <a:ext cx="148993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898">
              <a:defRPr/>
            </a:pPr>
            <a:r>
              <a:rPr lang="ru-RU" sz="3200" b="1" dirty="0" smtClean="0">
                <a:solidFill>
                  <a:srgbClr val="2354D6"/>
                </a:solidFill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en-US" sz="3200" b="1" dirty="0" smtClean="0">
                <a:solidFill>
                  <a:srgbClr val="2354D6"/>
                </a:solidFill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ru-RU" sz="3200" b="1" dirty="0" smtClean="0">
                <a:solidFill>
                  <a:srgbClr val="2354D6"/>
                </a:solidFill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>
                <a:solidFill>
                  <a:srgbClr val="2354D6"/>
                </a:solidFill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r>
              <a:rPr lang="en-US" sz="3200" b="1" dirty="0" smtClean="0">
                <a:solidFill>
                  <a:srgbClr val="2354D6"/>
                </a:solidFill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rPr>
              <a:t>67</a:t>
            </a:r>
            <a:r>
              <a:rPr lang="ru-RU" sz="3200" b="1" dirty="0" smtClean="0">
                <a:solidFill>
                  <a:srgbClr val="2354D6"/>
                </a:solidFill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endParaRPr lang="ru-RU" sz="3200" b="1" dirty="0">
              <a:solidFill>
                <a:srgbClr val="2354D6"/>
              </a:solidFill>
              <a:latin typeface="Cera CY" panose="00000500000000000000" pitchFamily="50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71" name="Рисунок 270">
            <a:extLst>
              <a:ext uri="{FF2B5EF4-FFF2-40B4-BE49-F238E27FC236}">
                <a16:creationId xmlns:a16="http://schemas.microsoft.com/office/drawing/2014/main" id="{AA0A96DA-0389-E04D-B9B6-42DF3294BAD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492608" y="1098446"/>
            <a:ext cx="776133" cy="776133"/>
          </a:xfrm>
          <a:prstGeom prst="rect">
            <a:avLst/>
          </a:prstGeom>
        </p:spPr>
      </p:pic>
      <p:pic>
        <p:nvPicPr>
          <p:cNvPr id="236" name="Рисунок 235">
            <a:extLst>
              <a:ext uri="{FF2B5EF4-FFF2-40B4-BE49-F238E27FC236}">
                <a16:creationId xmlns:a16="http://schemas.microsoft.com/office/drawing/2014/main" id="{5AA6085F-F2C3-934C-8DF9-0C63C0FE94F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920221" y="1075587"/>
            <a:ext cx="780308" cy="780308"/>
          </a:xfrm>
          <a:prstGeom prst="rect">
            <a:avLst/>
          </a:prstGeom>
        </p:spPr>
      </p:pic>
      <p:sp>
        <p:nvSpPr>
          <p:cNvPr id="241" name="TextBox 240">
            <a:extLst>
              <a:ext uri="{FF2B5EF4-FFF2-40B4-BE49-F238E27FC236}">
                <a16:creationId xmlns:a16="http://schemas.microsoft.com/office/drawing/2014/main" id="{1AC9B480-AF0F-482C-A275-A93B6A4E03EB}"/>
              </a:ext>
            </a:extLst>
          </p:cNvPr>
          <p:cNvSpPr txBox="1"/>
          <p:nvPr/>
        </p:nvSpPr>
        <p:spPr>
          <a:xfrm>
            <a:off x="8745164" y="2026158"/>
            <a:ext cx="242489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898">
              <a:defRPr/>
            </a:pPr>
            <a:endParaRPr lang="ru-RU" sz="1200" dirty="0">
              <a:solidFill>
                <a:srgbClr val="000000"/>
              </a:solidFill>
              <a:latin typeface="Cera CY"/>
            </a:endParaRPr>
          </a:p>
          <a:p>
            <a:pPr defTabSz="912898">
              <a:defRPr/>
            </a:pPr>
            <a:r>
              <a:rPr lang="ru-RU" sz="1200" dirty="0" smtClean="0">
                <a:solidFill>
                  <a:srgbClr val="000000"/>
                </a:solidFill>
                <a:latin typeface="Cera CY"/>
              </a:rPr>
              <a:t>Санкт-Петербург</a:t>
            </a:r>
            <a:r>
              <a:rPr lang="en-US" sz="1200" dirty="0">
                <a:solidFill>
                  <a:srgbClr val="000000"/>
                </a:solidFill>
                <a:latin typeface="Cera CY"/>
              </a:rPr>
              <a:t>;</a:t>
            </a:r>
            <a:r>
              <a:rPr lang="ru-RU" sz="1200" dirty="0" smtClean="0">
                <a:solidFill>
                  <a:srgbClr val="000000"/>
                </a:solidFill>
                <a:latin typeface="Cera CY"/>
              </a:rPr>
              <a:t>   Владивосток</a:t>
            </a:r>
            <a:r>
              <a:rPr lang="en-US" sz="1200" dirty="0" smtClean="0">
                <a:solidFill>
                  <a:srgbClr val="000000"/>
                </a:solidFill>
                <a:latin typeface="Cera CY"/>
              </a:rPr>
              <a:t>;</a:t>
            </a:r>
            <a:r>
              <a:rPr lang="ru-RU" sz="1200" dirty="0" smtClean="0">
                <a:solidFill>
                  <a:srgbClr val="000000"/>
                </a:solidFill>
                <a:latin typeface="Cera CY"/>
              </a:rPr>
              <a:t> Новосибирск</a:t>
            </a:r>
            <a:r>
              <a:rPr lang="en-US" sz="1200" dirty="0" smtClean="0">
                <a:solidFill>
                  <a:srgbClr val="000000"/>
                </a:solidFill>
                <a:latin typeface="Cera CY"/>
              </a:rPr>
              <a:t>;</a:t>
            </a:r>
            <a:r>
              <a:rPr lang="ru-RU" sz="1200" dirty="0" smtClean="0">
                <a:solidFill>
                  <a:srgbClr val="000000"/>
                </a:solidFill>
                <a:latin typeface="Cera CY"/>
              </a:rPr>
              <a:t>   Екатеринбург</a:t>
            </a:r>
            <a:r>
              <a:rPr lang="en-US" sz="1200" dirty="0" smtClean="0">
                <a:solidFill>
                  <a:srgbClr val="000000"/>
                </a:solidFill>
                <a:latin typeface="Cera CY"/>
              </a:rPr>
              <a:t>;</a:t>
            </a:r>
            <a:endParaRPr lang="ru-RU" sz="1200" dirty="0">
              <a:solidFill>
                <a:srgbClr val="000000"/>
              </a:solidFill>
              <a:latin typeface="Cera CY"/>
            </a:endParaRPr>
          </a:p>
          <a:p>
            <a:pPr defTabSz="912898">
              <a:defRPr/>
            </a:pPr>
            <a:r>
              <a:rPr lang="ru-RU" sz="1200" dirty="0" smtClean="0">
                <a:solidFill>
                  <a:srgbClr val="000000"/>
                </a:solidFill>
                <a:latin typeface="Cera CY"/>
              </a:rPr>
              <a:t>Краснодар</a:t>
            </a:r>
            <a:r>
              <a:rPr lang="en-US" sz="1200" dirty="0" smtClean="0">
                <a:solidFill>
                  <a:srgbClr val="000000"/>
                </a:solidFill>
                <a:latin typeface="Cera CY"/>
              </a:rPr>
              <a:t>;</a:t>
            </a:r>
            <a:r>
              <a:rPr lang="ru-RU" sz="1200" dirty="0" smtClean="0">
                <a:solidFill>
                  <a:srgbClr val="000000"/>
                </a:solidFill>
                <a:latin typeface="Cera CY"/>
              </a:rPr>
              <a:t>  </a:t>
            </a:r>
            <a:r>
              <a:rPr lang="ru-RU" sz="1200" dirty="0" smtClean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Уфа</a:t>
            </a:r>
            <a:r>
              <a:rPr lang="en-US" sz="1200" dirty="0" smtClean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r>
              <a:rPr lang="ru-RU" sz="1200" dirty="0" smtClean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   </a:t>
            </a:r>
            <a:r>
              <a:rPr lang="ru-RU" sz="1200" dirty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Воронеж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1ECA360B-C0BE-4690-AFD9-4544093762EE}"/>
              </a:ext>
            </a:extLst>
          </p:cNvPr>
          <p:cNvSpPr txBox="1"/>
          <p:nvPr/>
        </p:nvSpPr>
        <p:spPr>
          <a:xfrm>
            <a:off x="8778270" y="1721051"/>
            <a:ext cx="177126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898">
              <a:defRPr/>
            </a:pPr>
            <a:r>
              <a:rPr lang="ru-RU" sz="3200" b="1" dirty="0">
                <a:solidFill>
                  <a:srgbClr val="2354D6"/>
                </a:solidFill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r>
              <a:rPr lang="ru-RU" sz="2800" b="1" dirty="0">
                <a:solidFill>
                  <a:srgbClr val="2354D6"/>
                </a:solidFill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400" b="1" dirty="0">
                <a:solidFill>
                  <a:srgbClr val="2354D6"/>
                </a:solidFill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rPr>
              <a:t>центров</a:t>
            </a:r>
            <a:endParaRPr lang="ru-RU" sz="2000" b="1" dirty="0">
              <a:solidFill>
                <a:srgbClr val="2354D6"/>
              </a:solidFill>
              <a:latin typeface="Cera CY" panose="00000500000000000000" pitchFamily="50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44" name="Рисунок 243">
            <a:extLst>
              <a:ext uri="{FF2B5EF4-FFF2-40B4-BE49-F238E27FC236}">
                <a16:creationId xmlns:a16="http://schemas.microsoft.com/office/drawing/2014/main" id="{BFBFA2D9-4F75-CC4E-A47E-DD4A8F50449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9116313" y="1079600"/>
            <a:ext cx="834073" cy="834073"/>
          </a:xfrm>
          <a:prstGeom prst="rect">
            <a:avLst/>
          </a:prstGeom>
        </p:spPr>
      </p:pic>
      <p:sp>
        <p:nvSpPr>
          <p:cNvPr id="256" name="TextBox 255">
            <a:extLst>
              <a:ext uri="{FF2B5EF4-FFF2-40B4-BE49-F238E27FC236}">
                <a16:creationId xmlns:a16="http://schemas.microsoft.com/office/drawing/2014/main" id="{5A640418-8F49-49CB-AC57-8085D87499E0}"/>
              </a:ext>
            </a:extLst>
          </p:cNvPr>
          <p:cNvSpPr txBox="1"/>
          <p:nvPr/>
        </p:nvSpPr>
        <p:spPr>
          <a:xfrm>
            <a:off x="1940847" y="1845748"/>
            <a:ext cx="91596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898">
              <a:defRPr/>
            </a:pPr>
            <a:r>
              <a:rPr lang="ru-RU" sz="3200" b="1" dirty="0">
                <a:solidFill>
                  <a:srgbClr val="2354D6"/>
                </a:solidFill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rPr>
              <a:t>№ 1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74C26CC2-4439-4138-819D-C14E6A33E2EE}"/>
              </a:ext>
            </a:extLst>
          </p:cNvPr>
          <p:cNvSpPr txBox="1"/>
          <p:nvPr/>
        </p:nvSpPr>
        <p:spPr>
          <a:xfrm>
            <a:off x="1841990" y="2390895"/>
            <a:ext cx="101477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898">
              <a:defRPr/>
            </a:pPr>
            <a:r>
              <a:rPr lang="ru-RU" sz="1200" dirty="0">
                <a:solidFill>
                  <a:srgbClr val="000000"/>
                </a:solidFill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rPr>
              <a:t>по портфелю контрактов</a:t>
            </a:r>
          </a:p>
        </p:txBody>
      </p:sp>
      <p:cxnSp>
        <p:nvCxnSpPr>
          <p:cNvPr id="258" name="Прямая соединительная линия 257">
            <a:extLst>
              <a:ext uri="{FF2B5EF4-FFF2-40B4-BE49-F238E27FC236}">
                <a16:creationId xmlns:a16="http://schemas.microsoft.com/office/drawing/2014/main" id="{53A8DE9C-73B0-43E7-A77F-020FB9FB1EB6}"/>
              </a:ext>
            </a:extLst>
          </p:cNvPr>
          <p:cNvCxnSpPr/>
          <p:nvPr/>
        </p:nvCxnSpPr>
        <p:spPr>
          <a:xfrm>
            <a:off x="1742750" y="1563570"/>
            <a:ext cx="0" cy="118798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Прямая соединительная линия 267">
            <a:extLst>
              <a:ext uri="{FF2B5EF4-FFF2-40B4-BE49-F238E27FC236}">
                <a16:creationId xmlns:a16="http://schemas.microsoft.com/office/drawing/2014/main" id="{53A8DE9C-73B0-43E7-A77F-020FB9FB1EB6}"/>
              </a:ext>
            </a:extLst>
          </p:cNvPr>
          <p:cNvCxnSpPr/>
          <p:nvPr/>
        </p:nvCxnSpPr>
        <p:spPr>
          <a:xfrm>
            <a:off x="5033064" y="1520557"/>
            <a:ext cx="0" cy="118798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Прямая соединительная линия 272">
            <a:extLst>
              <a:ext uri="{FF2B5EF4-FFF2-40B4-BE49-F238E27FC236}">
                <a16:creationId xmlns:a16="http://schemas.microsoft.com/office/drawing/2014/main" id="{53A8DE9C-73B0-43E7-A77F-020FB9FB1EB6}"/>
              </a:ext>
            </a:extLst>
          </p:cNvPr>
          <p:cNvCxnSpPr/>
          <p:nvPr/>
        </p:nvCxnSpPr>
        <p:spPr>
          <a:xfrm>
            <a:off x="8657511" y="1552926"/>
            <a:ext cx="0" cy="118798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Номер слайда 5">
            <a:extLst>
              <a:ext uri="{FF2B5EF4-FFF2-40B4-BE49-F238E27FC236}">
                <a16:creationId xmlns:a16="http://schemas.microsoft.com/office/drawing/2014/main" id="{2E940A1B-2963-4A27-BBC4-55DF8929B2C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195067" y="6474504"/>
            <a:ext cx="517445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pPr defTabSz="716560"/>
            <a:fld id="{58A9CFFD-EE99-4E11-B8BC-23AC5DDB75ED}" type="slidenum">
              <a:rPr lang="ru-RU">
                <a:solidFill>
                  <a:srgbClr val="000000"/>
                </a:solidFill>
              </a:rPr>
              <a:pPr defTabSz="716560"/>
              <a:t>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50" name="Текст 6"/>
          <p:cNvSpPr txBox="1">
            <a:spLocks/>
          </p:cNvSpPr>
          <p:nvPr/>
        </p:nvSpPr>
        <p:spPr>
          <a:xfrm>
            <a:off x="430674" y="6516009"/>
            <a:ext cx="2468329" cy="249215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ru-RU" sz="1400" kern="1200" dirty="0" smtClean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29">
              <a:buClr>
                <a:srgbClr val="FF7900"/>
              </a:buClr>
              <a:buNone/>
            </a:pP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Cera CY"/>
              </a:rPr>
              <a:t>*по </a:t>
            </a:r>
            <a:r>
              <a:rPr lang="ru-RU" sz="1000" dirty="0">
                <a:solidFill>
                  <a:srgbClr val="000000">
                    <a:lumMod val="65000"/>
                    <a:lumOff val="35000"/>
                  </a:srgbClr>
                </a:solidFill>
                <a:latin typeface="Cera CY"/>
              </a:rPr>
              <a:t>итогам </a:t>
            </a: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Cera CY"/>
              </a:rPr>
              <a:t>января 2025г</a:t>
            </a:r>
            <a:r>
              <a:rPr lang="ru-RU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Cera CY"/>
              </a:rPr>
              <a:t>.</a:t>
            </a:r>
          </a:p>
        </p:txBody>
      </p:sp>
      <p:sp>
        <p:nvSpPr>
          <p:cNvPr id="251" name="Текст 2">
            <a:extLst>
              <a:ext uri="{FF2B5EF4-FFF2-40B4-BE49-F238E27FC236}">
                <a16:creationId xmlns:a16="http://schemas.microsoft.com/office/drawing/2014/main" id="{7AFDF9E5-4EDD-42F3-81F0-9F2DF2CD537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5775" y="261938"/>
            <a:ext cx="9378950" cy="400110"/>
          </a:xfrm>
        </p:spPr>
        <p:txBody>
          <a:bodyPr>
            <a:spAutoFit/>
          </a:bodyPr>
          <a:lstStyle/>
          <a:p>
            <a:pPr lvl="0" defTabSz="1166683">
              <a:buClr>
                <a:srgbClr val="FF7900"/>
              </a:buClr>
            </a:pPr>
            <a:r>
              <a:rPr lang="ru-RU" sz="2600" b="1" dirty="0"/>
              <a:t>Газпромбанк - лидер рынка банковского сопровождения</a:t>
            </a:r>
          </a:p>
        </p:txBody>
      </p:sp>
      <p:sp>
        <p:nvSpPr>
          <p:cNvPr id="261" name="Прямоугольник: скругленные углы 1">
            <a:extLst>
              <a:ext uri="{FF2B5EF4-FFF2-40B4-BE49-F238E27FC236}">
                <a16:creationId xmlns:a16="http://schemas.microsoft.com/office/drawing/2014/main" id="{63EB72ED-ADAA-4A09-83AF-A85B5C5B541F}"/>
              </a:ext>
            </a:extLst>
          </p:cNvPr>
          <p:cNvSpPr/>
          <p:nvPr/>
        </p:nvSpPr>
        <p:spPr>
          <a:xfrm>
            <a:off x="7499726" y="4686902"/>
            <a:ext cx="3350736" cy="1503893"/>
          </a:xfrm>
          <a:prstGeom prst="roundRect">
            <a:avLst>
              <a:gd name="adj" fmla="val 27347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63121"/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254" name="Прямоугольник: скругленные углы 1">
            <a:extLst>
              <a:ext uri="{FF2B5EF4-FFF2-40B4-BE49-F238E27FC236}">
                <a16:creationId xmlns:a16="http://schemas.microsoft.com/office/drawing/2014/main" id="{63EB72ED-ADAA-4A09-83AF-A85B5C5B541F}"/>
              </a:ext>
            </a:extLst>
          </p:cNvPr>
          <p:cNvSpPr/>
          <p:nvPr/>
        </p:nvSpPr>
        <p:spPr>
          <a:xfrm>
            <a:off x="1270648" y="3422949"/>
            <a:ext cx="3256523" cy="1405586"/>
          </a:xfrm>
          <a:prstGeom prst="roundRect">
            <a:avLst>
              <a:gd name="adj" fmla="val 32547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defTabSz="1163121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tx1"/>
                </a:solidFill>
              </a:rPr>
              <a:t>Персональная группа менеджеров Банка </a:t>
            </a:r>
            <a:r>
              <a:rPr lang="ru-RU" sz="1400" dirty="0">
                <a:solidFill>
                  <a:schemeClr val="tx1"/>
                </a:solidFill>
              </a:rPr>
              <a:t>по каждому проекту, </a:t>
            </a:r>
            <a:r>
              <a:rPr lang="ru-RU" sz="1400" b="1" dirty="0">
                <a:solidFill>
                  <a:schemeClr val="tx1"/>
                </a:solidFill>
              </a:rPr>
              <a:t>регулярное обучение Исполнителей. </a:t>
            </a:r>
          </a:p>
        </p:txBody>
      </p:sp>
      <p:sp>
        <p:nvSpPr>
          <p:cNvPr id="260" name="Прямоугольник: скругленные углы 1">
            <a:extLst>
              <a:ext uri="{FF2B5EF4-FFF2-40B4-BE49-F238E27FC236}">
                <a16:creationId xmlns:a16="http://schemas.microsoft.com/office/drawing/2014/main" id="{63EB72ED-ADAA-4A09-83AF-A85B5C5B541F}"/>
              </a:ext>
            </a:extLst>
          </p:cNvPr>
          <p:cNvSpPr/>
          <p:nvPr/>
        </p:nvSpPr>
        <p:spPr>
          <a:xfrm>
            <a:off x="4823553" y="3473194"/>
            <a:ext cx="3294895" cy="1717755"/>
          </a:xfrm>
          <a:prstGeom prst="roundRect">
            <a:avLst>
              <a:gd name="adj" fmla="val 31147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defTabSz="1163121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tx1"/>
                </a:solidFill>
              </a:rPr>
              <a:t>Полный цикл взаимодействия </a:t>
            </a:r>
            <a:r>
              <a:rPr lang="ru-RU" sz="1400" dirty="0">
                <a:solidFill>
                  <a:schemeClr val="tx1"/>
                </a:solidFill>
              </a:rPr>
              <a:t>с исполнителями и заказчиком </a:t>
            </a:r>
            <a:r>
              <a:rPr lang="ru-RU" sz="1400" b="1" dirty="0">
                <a:solidFill>
                  <a:schemeClr val="tx1"/>
                </a:solidFill>
              </a:rPr>
              <a:t>с использованием электронного документооборота </a:t>
            </a:r>
            <a:r>
              <a:rPr lang="ru-RU" sz="1400" dirty="0">
                <a:solidFill>
                  <a:schemeClr val="tx1"/>
                </a:solidFill>
              </a:rPr>
              <a:t>(удаленно, в режиме, приближенном к 24х7)</a:t>
            </a:r>
          </a:p>
        </p:txBody>
      </p:sp>
      <p:sp>
        <p:nvSpPr>
          <p:cNvPr id="264" name="Текст 20"/>
          <p:cNvSpPr txBox="1">
            <a:spLocks/>
          </p:cNvSpPr>
          <p:nvPr/>
        </p:nvSpPr>
        <p:spPr>
          <a:xfrm>
            <a:off x="8421128" y="3459976"/>
            <a:ext cx="2830210" cy="1146240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285750" indent="-285750" defTabSz="1163121">
              <a:buFont typeface="Wingdings" panose="05000000000000000000" pitchFamily="2" charset="2"/>
              <a:buChar char="ü"/>
              <a:defRPr sz="14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Услуга БСК предоставляется без дополнительной платы для Заказчика и Исполнителей</a:t>
            </a:r>
          </a:p>
        </p:txBody>
      </p:sp>
    </p:spTree>
    <p:extLst>
      <p:ext uri="{BB962C8B-B14F-4D97-AF65-F5344CB8AC3E}">
        <p14:creationId xmlns:p14="http://schemas.microsoft.com/office/powerpoint/2010/main" val="415101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одержимое 2">
            <a:extLst>
              <a:ext uri="{FF2B5EF4-FFF2-40B4-BE49-F238E27FC236}">
                <a16:creationId xmlns:a16="http://schemas.microsoft.com/office/drawing/2014/main" id="{E3C3913B-83FD-488A-B560-5A0BE430625C}"/>
              </a:ext>
            </a:extLst>
          </p:cNvPr>
          <p:cNvSpPr txBox="1"/>
          <p:nvPr/>
        </p:nvSpPr>
        <p:spPr>
          <a:xfrm>
            <a:off x="6453651" y="6369316"/>
            <a:ext cx="2928687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800" b="1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696E82"/>
                </a:solidFill>
                <a:effectLst/>
                <a:uLnTx/>
                <a:uFillTx/>
                <a:latin typeface="Cera CY"/>
                <a:ea typeface="+mn-ea"/>
                <a:cs typeface="Arial"/>
                <a:sym typeface="Arial"/>
              </a:rPr>
              <a:t>Банк ГПБ (АО). Генеральная лицензия Банка России №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696E82"/>
                </a:solidFill>
                <a:effectLst/>
                <a:uLnTx/>
                <a:uFillTx/>
                <a:latin typeface="Cera CY"/>
                <a:ea typeface="+mn-ea"/>
                <a:cs typeface="Arial"/>
                <a:sym typeface="Arial"/>
              </a:rPr>
              <a:t> 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696E82"/>
                </a:solidFill>
                <a:effectLst/>
                <a:uLnTx/>
                <a:uFillTx/>
                <a:latin typeface="Cera CY"/>
                <a:ea typeface="+mn-ea"/>
                <a:cs typeface="Arial"/>
                <a:sym typeface="Arial"/>
              </a:rPr>
              <a:t>354. </a:t>
            </a:r>
          </a:p>
        </p:txBody>
      </p:sp>
      <p:sp>
        <p:nvSpPr>
          <p:cNvPr id="12" name="Содержимое 2">
            <a:extLst>
              <a:ext uri="{FF2B5EF4-FFF2-40B4-BE49-F238E27FC236}">
                <a16:creationId xmlns:a16="http://schemas.microsoft.com/office/drawing/2014/main" id="{E1EBEE83-DB4E-4B3E-AA2F-45318F992845}"/>
              </a:ext>
            </a:extLst>
          </p:cNvPr>
          <p:cNvSpPr txBox="1"/>
          <p:nvPr/>
        </p:nvSpPr>
        <p:spPr>
          <a:xfrm>
            <a:off x="8141774" y="6101521"/>
            <a:ext cx="116378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800" b="1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Arial"/>
                <a:sym typeface="Arial"/>
              </a:rPr>
              <a:t>gazprombank.ru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77400" y="828933"/>
            <a:ext cx="9111372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163199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4400" b="1" dirty="0">
                <a:solidFill>
                  <a:srgbClr val="0043F2"/>
                </a:solidFill>
                <a:latin typeface="Cera CY" panose="00000500000000000000" pitchFamily="2" charset="-52"/>
                <a:ea typeface="Stem Medium" panose="020B0603020203020204" pitchFamily="34" charset="-52"/>
              </a:rPr>
              <a:t>ЛУЧШЕЕ СОЗДАЕТСЯ ВМЕСТЕ</a:t>
            </a:r>
          </a:p>
        </p:txBody>
      </p:sp>
      <p:sp>
        <p:nvSpPr>
          <p:cNvPr id="14" name="Прямоугольник: скругленные углы 2">
            <a:extLst>
              <a:ext uri="{FF2B5EF4-FFF2-40B4-BE49-F238E27FC236}">
                <a16:creationId xmlns:a16="http://schemas.microsoft.com/office/drawing/2014/main" id="{EA2D7097-8403-47E5-8972-C83184706452}"/>
              </a:ext>
            </a:extLst>
          </p:cNvPr>
          <p:cNvSpPr/>
          <p:nvPr/>
        </p:nvSpPr>
        <p:spPr>
          <a:xfrm>
            <a:off x="685895" y="1629920"/>
            <a:ext cx="8472171" cy="3631397"/>
          </a:xfrm>
          <a:prstGeom prst="roundRect">
            <a:avLst>
              <a:gd name="adj" fmla="val 4736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7681C833-9DF7-44A9-99CD-B6459B91452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5" t="21540" r="22863" b="4506"/>
          <a:stretch/>
        </p:blipFill>
        <p:spPr>
          <a:xfrm>
            <a:off x="5888175" y="2321169"/>
            <a:ext cx="2763456" cy="2252505"/>
          </a:xfrm>
          <a:prstGeom prst="roundRect">
            <a:avLst>
              <a:gd name="adj" fmla="val 6306"/>
            </a:avLst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59EBB68-8A22-4C3F-A465-C02D14E778B4}"/>
              </a:ext>
            </a:extLst>
          </p:cNvPr>
          <p:cNvSpPr txBox="1"/>
          <p:nvPr/>
        </p:nvSpPr>
        <p:spPr>
          <a:xfrm>
            <a:off x="999416" y="1846753"/>
            <a:ext cx="4726135" cy="9848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fontAlgn="base">
              <a:spcBef>
                <a:spcPct val="0"/>
              </a:spcBef>
              <a:spcAft>
                <a:spcPts val="1200"/>
              </a:spcAft>
              <a:defRPr/>
            </a:pPr>
            <a:r>
              <a:rPr lang="ru-RU" altLang="ru-RU" sz="3200" b="1" dirty="0">
                <a:solidFill>
                  <a:schemeClr val="accent1"/>
                </a:solidFill>
                <a:cs typeface="Helvetica" pitchFamily="34" charset="0"/>
              </a:rPr>
              <a:t>Фролов Кирилл </a:t>
            </a:r>
            <a:r>
              <a:rPr lang="ru-RU" altLang="ru-RU" sz="3200" b="1" dirty="0" smtClean="0">
                <a:solidFill>
                  <a:schemeClr val="accent1"/>
                </a:solidFill>
                <a:cs typeface="Helvetica" pitchFamily="34" charset="0"/>
              </a:rPr>
              <a:t>Евгеньевич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59EBB68-8A22-4C3F-A465-C02D14E778B4}"/>
              </a:ext>
            </a:extLst>
          </p:cNvPr>
          <p:cNvSpPr txBox="1"/>
          <p:nvPr/>
        </p:nvSpPr>
        <p:spPr>
          <a:xfrm>
            <a:off x="1039273" y="2913553"/>
            <a:ext cx="4742547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716615" fontAlgn="base">
              <a:spcBef>
                <a:spcPct val="0"/>
              </a:spcBef>
              <a:defRPr/>
            </a:pPr>
            <a:r>
              <a:rPr lang="ru-RU" altLang="ru-RU" sz="1400" dirty="0" smtClean="0">
                <a:cs typeface="Helvetica" pitchFamily="34" charset="0"/>
              </a:rPr>
              <a:t>Вице-Президент – Начальник Департамента</a:t>
            </a:r>
            <a:r>
              <a:rPr lang="en-US" altLang="ru-RU" sz="1400" dirty="0" smtClean="0">
                <a:cs typeface="Helvetica" pitchFamily="34" charset="0"/>
              </a:rPr>
              <a:t> </a:t>
            </a:r>
            <a:endParaRPr lang="ru-RU" altLang="ru-RU" sz="1400" dirty="0" smtClean="0">
              <a:cs typeface="Helvetica" pitchFamily="34" charset="0"/>
            </a:endParaRPr>
          </a:p>
          <a:p>
            <a:pPr defTabSz="716615" fontAlgn="base">
              <a:spcBef>
                <a:spcPct val="0"/>
              </a:spcBef>
              <a:defRPr/>
            </a:pPr>
            <a:r>
              <a:rPr lang="ru-RU" altLang="ru-RU" sz="1400" dirty="0" smtClean="0">
                <a:cs typeface="Helvetica" pitchFamily="34" charset="0"/>
              </a:rPr>
              <a:t>перспективных проектов банковского </a:t>
            </a:r>
          </a:p>
          <a:p>
            <a:pPr defTabSz="716615" fontAlgn="base">
              <a:spcBef>
                <a:spcPct val="0"/>
              </a:spcBef>
              <a:defRPr/>
            </a:pPr>
            <a:r>
              <a:rPr lang="ru-RU" altLang="ru-RU" sz="1400" dirty="0" smtClean="0">
                <a:cs typeface="Helvetica" pitchFamily="34" charset="0"/>
              </a:rPr>
              <a:t>сопровождения контрактов Банка ГПБ (АО) </a:t>
            </a:r>
            <a:endParaRPr lang="ru-RU" altLang="ru-RU" sz="1400" dirty="0">
              <a:cs typeface="Helvetica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D2EA54-9D27-4F40-822C-EB56ACD6BD75}"/>
              </a:ext>
            </a:extLst>
          </p:cNvPr>
          <p:cNvSpPr txBox="1"/>
          <p:nvPr/>
        </p:nvSpPr>
        <p:spPr>
          <a:xfrm>
            <a:off x="2010465" y="3964049"/>
            <a:ext cx="2646558" cy="66172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560769" fontAlgn="base">
              <a:spcBef>
                <a:spcPct val="0"/>
              </a:spcBef>
              <a:spcAft>
                <a:spcPts val="1800"/>
              </a:spcAft>
              <a:defRPr/>
            </a:pPr>
            <a:r>
              <a:rPr lang="en-US" altLang="ru-RU" sz="1400" dirty="0">
                <a:solidFill>
                  <a:srgbClr val="000000"/>
                </a:solidFill>
              </a:rPr>
              <a:t>+7 </a:t>
            </a:r>
            <a:r>
              <a:rPr lang="ru-RU" altLang="ru-RU" sz="1400" dirty="0">
                <a:solidFill>
                  <a:srgbClr val="000000"/>
                </a:solidFill>
              </a:rPr>
              <a:t>(</a:t>
            </a:r>
            <a:r>
              <a:rPr lang="en-US" altLang="ru-RU" sz="1400" dirty="0">
                <a:solidFill>
                  <a:srgbClr val="000000"/>
                </a:solidFill>
              </a:rPr>
              <a:t>985</a:t>
            </a:r>
            <a:r>
              <a:rPr lang="ru-RU" altLang="ru-RU" sz="1400" dirty="0">
                <a:solidFill>
                  <a:srgbClr val="000000"/>
                </a:solidFill>
              </a:rPr>
              <a:t>) </a:t>
            </a:r>
            <a:r>
              <a:rPr lang="en-US" altLang="ru-RU" sz="1400" dirty="0" smtClean="0">
                <a:solidFill>
                  <a:srgbClr val="000000"/>
                </a:solidFill>
              </a:rPr>
              <a:t>774</a:t>
            </a:r>
            <a:r>
              <a:rPr lang="ru-RU" altLang="ru-RU" sz="1400" dirty="0" smtClean="0">
                <a:solidFill>
                  <a:srgbClr val="000000"/>
                </a:solidFill>
              </a:rPr>
              <a:t>-</a:t>
            </a:r>
            <a:r>
              <a:rPr lang="en-US" altLang="ru-RU" sz="1400" dirty="0" smtClean="0">
                <a:solidFill>
                  <a:srgbClr val="000000"/>
                </a:solidFill>
              </a:rPr>
              <a:t>43</a:t>
            </a:r>
            <a:r>
              <a:rPr lang="ru-RU" altLang="ru-RU" sz="1400" dirty="0">
                <a:solidFill>
                  <a:srgbClr val="000000"/>
                </a:solidFill>
              </a:rPr>
              <a:t>-</a:t>
            </a:r>
            <a:r>
              <a:rPr lang="en-US" altLang="ru-RU" sz="1400" dirty="0">
                <a:solidFill>
                  <a:srgbClr val="000000"/>
                </a:solidFill>
              </a:rPr>
              <a:t>10</a:t>
            </a:r>
            <a:endParaRPr lang="en-US" sz="1400" dirty="0">
              <a:solidFill>
                <a:srgbClr val="000000"/>
              </a:solidFill>
              <a:cs typeface="Helvetica" pitchFamily="34" charset="0"/>
            </a:endParaRPr>
          </a:p>
          <a:p>
            <a:pPr defTabSz="560769" fontAlgn="base">
              <a:spcBef>
                <a:spcPct val="0"/>
              </a:spcBef>
              <a:spcAft>
                <a:spcPts val="1800"/>
              </a:spcAft>
              <a:defRPr/>
            </a:pPr>
            <a:r>
              <a:rPr lang="en-US" altLang="ru-RU" sz="1400" dirty="0" smtClean="0">
                <a:solidFill>
                  <a:srgbClr val="000000"/>
                </a:solidFill>
                <a:cs typeface="Helvetica" pitchFamily="34" charset="0"/>
              </a:rPr>
              <a:t>Kirill.E.Frolov@gazprombank.ru </a:t>
            </a:r>
            <a:endParaRPr lang="en-US" altLang="ru-RU" sz="1400" dirty="0">
              <a:solidFill>
                <a:srgbClr val="000000"/>
              </a:solidFill>
              <a:cs typeface="Helvetica" pitchFamily="34" charset="0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1359967" y="3881473"/>
            <a:ext cx="334393" cy="331775"/>
            <a:chOff x="2154163" y="4740078"/>
            <a:chExt cx="362532" cy="359693"/>
          </a:xfrm>
          <a:solidFill>
            <a:schemeClr val="accent1"/>
          </a:solidFill>
        </p:grpSpPr>
        <p:sp>
          <p:nvSpPr>
            <p:cNvPr id="22" name="Полилиния: фигура 28">
              <a:extLst>
                <a:ext uri="{FF2B5EF4-FFF2-40B4-BE49-F238E27FC236}">
                  <a16:creationId xmlns:a16="http://schemas.microsoft.com/office/drawing/2014/main" id="{F9199F88-5244-43F4-BB59-BB3472EE7A5B}"/>
                </a:ext>
              </a:extLst>
            </p:cNvPr>
            <p:cNvSpPr/>
            <p:nvPr/>
          </p:nvSpPr>
          <p:spPr>
            <a:xfrm>
              <a:off x="2154163" y="4740078"/>
              <a:ext cx="362532" cy="359693"/>
            </a:xfrm>
            <a:custGeom>
              <a:avLst/>
              <a:gdLst>
                <a:gd name="connsiteX0" fmla="*/ 280718 w 362532"/>
                <a:gd name="connsiteY0" fmla="*/ 359693 h 359693"/>
                <a:gd name="connsiteX1" fmla="*/ 260901 w 362532"/>
                <a:gd name="connsiteY1" fmla="*/ 356196 h 359693"/>
                <a:gd name="connsiteX2" fmla="*/ 259881 w 362532"/>
                <a:gd name="connsiteY2" fmla="*/ 356196 h 359693"/>
                <a:gd name="connsiteX3" fmla="*/ 252596 w 362532"/>
                <a:gd name="connsiteY3" fmla="*/ 353646 h 359693"/>
                <a:gd name="connsiteX4" fmla="*/ 252596 w 362532"/>
                <a:gd name="connsiteY4" fmla="*/ 353646 h 359693"/>
                <a:gd name="connsiteX5" fmla="*/ 6994 w 362532"/>
                <a:gd name="connsiteY5" fmla="*/ 110740 h 359693"/>
                <a:gd name="connsiteX6" fmla="*/ 22148 w 362532"/>
                <a:gd name="connsiteY6" fmla="*/ 25279 h 359693"/>
                <a:gd name="connsiteX7" fmla="*/ 38614 w 362532"/>
                <a:gd name="connsiteY7" fmla="*/ 8667 h 359693"/>
                <a:gd name="connsiteX8" fmla="*/ 81527 w 362532"/>
                <a:gd name="connsiteY8" fmla="*/ 8667 h 359693"/>
                <a:gd name="connsiteX9" fmla="*/ 130851 w 362532"/>
                <a:gd name="connsiteY9" fmla="*/ 57263 h 359693"/>
                <a:gd name="connsiteX10" fmla="*/ 131035 w 362532"/>
                <a:gd name="connsiteY10" fmla="*/ 99920 h 359693"/>
                <a:gd name="connsiteX11" fmla="*/ 130851 w 362532"/>
                <a:gd name="connsiteY11" fmla="*/ 100103 h 359693"/>
                <a:gd name="connsiteX12" fmla="*/ 102364 w 362532"/>
                <a:gd name="connsiteY12" fmla="*/ 129246 h 359693"/>
                <a:gd name="connsiteX13" fmla="*/ 232633 w 362532"/>
                <a:gd name="connsiteY13" fmla="*/ 257256 h 359693"/>
                <a:gd name="connsiteX14" fmla="*/ 261411 w 362532"/>
                <a:gd name="connsiteY14" fmla="*/ 228477 h 359693"/>
                <a:gd name="connsiteX15" fmla="*/ 304324 w 362532"/>
                <a:gd name="connsiteY15" fmla="*/ 228477 h 359693"/>
                <a:gd name="connsiteX16" fmla="*/ 353576 w 362532"/>
                <a:gd name="connsiteY16" fmla="*/ 277000 h 359693"/>
                <a:gd name="connsiteX17" fmla="*/ 353863 w 362532"/>
                <a:gd name="connsiteY17" fmla="*/ 319553 h 359693"/>
                <a:gd name="connsiteX18" fmla="*/ 353576 w 362532"/>
                <a:gd name="connsiteY18" fmla="*/ 319840 h 359693"/>
                <a:gd name="connsiteX19" fmla="*/ 336746 w 362532"/>
                <a:gd name="connsiteY19" fmla="*/ 336889 h 359693"/>
                <a:gd name="connsiteX20" fmla="*/ 290554 w 362532"/>
                <a:gd name="connsiteY20" fmla="*/ 359110 h 359693"/>
                <a:gd name="connsiteX21" fmla="*/ 287931 w 362532"/>
                <a:gd name="connsiteY21" fmla="*/ 359110 h 359693"/>
                <a:gd name="connsiteX22" fmla="*/ 287130 w 362532"/>
                <a:gd name="connsiteY22" fmla="*/ 359110 h 359693"/>
                <a:gd name="connsiteX23" fmla="*/ 280718 w 362532"/>
                <a:gd name="connsiteY23" fmla="*/ 359693 h 359693"/>
                <a:gd name="connsiteX24" fmla="*/ 60398 w 362532"/>
                <a:gd name="connsiteY24" fmla="*/ 14205 h 359693"/>
                <a:gd name="connsiteX25" fmla="*/ 49106 w 362532"/>
                <a:gd name="connsiteY25" fmla="*/ 18649 h 359693"/>
                <a:gd name="connsiteX26" fmla="*/ 32640 w 362532"/>
                <a:gd name="connsiteY26" fmla="*/ 35260 h 359693"/>
                <a:gd name="connsiteX27" fmla="*/ 20327 w 362532"/>
                <a:gd name="connsiteY27" fmla="*/ 104256 h 359693"/>
                <a:gd name="connsiteX28" fmla="*/ 258643 w 362532"/>
                <a:gd name="connsiteY28" fmla="*/ 339949 h 359693"/>
                <a:gd name="connsiteX29" fmla="*/ 258643 w 362532"/>
                <a:gd name="connsiteY29" fmla="*/ 339949 h 359693"/>
                <a:gd name="connsiteX30" fmla="*/ 264107 w 362532"/>
                <a:gd name="connsiteY30" fmla="*/ 341843 h 359693"/>
                <a:gd name="connsiteX31" fmla="*/ 265054 w 362532"/>
                <a:gd name="connsiteY31" fmla="*/ 341843 h 359693"/>
                <a:gd name="connsiteX32" fmla="*/ 284726 w 362532"/>
                <a:gd name="connsiteY32" fmla="*/ 344612 h 359693"/>
                <a:gd name="connsiteX33" fmla="*/ 285746 w 362532"/>
                <a:gd name="connsiteY33" fmla="*/ 344612 h 359693"/>
                <a:gd name="connsiteX34" fmla="*/ 288514 w 362532"/>
                <a:gd name="connsiteY34" fmla="*/ 344612 h 359693"/>
                <a:gd name="connsiteX35" fmla="*/ 326473 w 362532"/>
                <a:gd name="connsiteY35" fmla="*/ 326325 h 359693"/>
                <a:gd name="connsiteX36" fmla="*/ 343303 w 362532"/>
                <a:gd name="connsiteY36" fmla="*/ 309276 h 359693"/>
                <a:gd name="connsiteX37" fmla="*/ 347893 w 362532"/>
                <a:gd name="connsiteY37" fmla="*/ 298202 h 359693"/>
                <a:gd name="connsiteX38" fmla="*/ 343157 w 362532"/>
                <a:gd name="connsiteY38" fmla="*/ 287055 h 359693"/>
                <a:gd name="connsiteX39" fmla="*/ 293833 w 362532"/>
                <a:gd name="connsiteY39" fmla="*/ 238532 h 359693"/>
                <a:gd name="connsiteX40" fmla="*/ 271538 w 362532"/>
                <a:gd name="connsiteY40" fmla="*/ 238532 h 359693"/>
                <a:gd name="connsiteX41" fmla="*/ 239044 w 362532"/>
                <a:gd name="connsiteY41" fmla="*/ 271317 h 359693"/>
                <a:gd name="connsiteX42" fmla="*/ 230374 w 362532"/>
                <a:gd name="connsiteY42" fmla="*/ 272556 h 359693"/>
                <a:gd name="connsiteX43" fmla="*/ 87283 w 362532"/>
                <a:gd name="connsiteY43" fmla="*/ 130703 h 359693"/>
                <a:gd name="connsiteX44" fmla="*/ 88448 w 362532"/>
                <a:gd name="connsiteY44" fmla="*/ 121960 h 359693"/>
                <a:gd name="connsiteX45" fmla="*/ 120943 w 362532"/>
                <a:gd name="connsiteY45" fmla="*/ 89247 h 359693"/>
                <a:gd name="connsiteX46" fmla="*/ 120943 w 362532"/>
                <a:gd name="connsiteY46" fmla="*/ 67026 h 359693"/>
                <a:gd name="connsiteX47" fmla="*/ 71618 w 362532"/>
                <a:gd name="connsiteY47" fmla="*/ 18503 h 359693"/>
                <a:gd name="connsiteX48" fmla="*/ 60398 w 362532"/>
                <a:gd name="connsiteY48" fmla="*/ 14205 h 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62532" h="359693">
                  <a:moveTo>
                    <a:pt x="280718" y="359693"/>
                  </a:moveTo>
                  <a:cubicBezTo>
                    <a:pt x="273968" y="359604"/>
                    <a:pt x="267275" y="358423"/>
                    <a:pt x="260901" y="356196"/>
                  </a:cubicBezTo>
                  <a:lnTo>
                    <a:pt x="259881" y="356196"/>
                  </a:lnTo>
                  <a:cubicBezTo>
                    <a:pt x="257411" y="355471"/>
                    <a:pt x="254979" y="354620"/>
                    <a:pt x="252596" y="353646"/>
                  </a:cubicBezTo>
                  <a:lnTo>
                    <a:pt x="252596" y="353646"/>
                  </a:lnTo>
                  <a:cubicBezTo>
                    <a:pt x="121453" y="295360"/>
                    <a:pt x="34680" y="169390"/>
                    <a:pt x="6994" y="110740"/>
                  </a:cubicBezTo>
                  <a:cubicBezTo>
                    <a:pt x="-6320" y="81887"/>
                    <a:pt x="-276" y="47795"/>
                    <a:pt x="22148" y="25279"/>
                  </a:cubicBezTo>
                  <a:lnTo>
                    <a:pt x="38614" y="8667"/>
                  </a:lnTo>
                  <a:cubicBezTo>
                    <a:pt x="50585" y="-2889"/>
                    <a:pt x="69557" y="-2889"/>
                    <a:pt x="81527" y="8667"/>
                  </a:cubicBezTo>
                  <a:lnTo>
                    <a:pt x="130851" y="57263"/>
                  </a:lnTo>
                  <a:cubicBezTo>
                    <a:pt x="142681" y="68992"/>
                    <a:pt x="142763" y="88090"/>
                    <a:pt x="131035" y="99920"/>
                  </a:cubicBezTo>
                  <a:cubicBezTo>
                    <a:pt x="130974" y="99981"/>
                    <a:pt x="130913" y="100042"/>
                    <a:pt x="130851" y="100103"/>
                  </a:cubicBezTo>
                  <a:lnTo>
                    <a:pt x="102364" y="129246"/>
                  </a:lnTo>
                  <a:cubicBezTo>
                    <a:pt x="130268" y="173397"/>
                    <a:pt x="188554" y="231246"/>
                    <a:pt x="232633" y="257256"/>
                  </a:cubicBezTo>
                  <a:lnTo>
                    <a:pt x="261411" y="228477"/>
                  </a:lnTo>
                  <a:cubicBezTo>
                    <a:pt x="273286" y="216688"/>
                    <a:pt x="292449" y="216688"/>
                    <a:pt x="304324" y="228477"/>
                  </a:cubicBezTo>
                  <a:lnTo>
                    <a:pt x="353576" y="277000"/>
                  </a:lnTo>
                  <a:cubicBezTo>
                    <a:pt x="365405" y="288671"/>
                    <a:pt x="365534" y="307723"/>
                    <a:pt x="353863" y="319553"/>
                  </a:cubicBezTo>
                  <a:cubicBezTo>
                    <a:pt x="353768" y="319649"/>
                    <a:pt x="353672" y="319745"/>
                    <a:pt x="353576" y="319840"/>
                  </a:cubicBezTo>
                  <a:lnTo>
                    <a:pt x="336746" y="336889"/>
                  </a:lnTo>
                  <a:cubicBezTo>
                    <a:pt x="324304" y="349305"/>
                    <a:pt x="308021" y="357138"/>
                    <a:pt x="290554" y="359110"/>
                  </a:cubicBezTo>
                  <a:lnTo>
                    <a:pt x="287931" y="359110"/>
                  </a:lnTo>
                  <a:lnTo>
                    <a:pt x="287130" y="359110"/>
                  </a:lnTo>
                  <a:cubicBezTo>
                    <a:pt x="285005" y="359420"/>
                    <a:pt x="282865" y="359615"/>
                    <a:pt x="280718" y="359693"/>
                  </a:cubicBezTo>
                  <a:close/>
                  <a:moveTo>
                    <a:pt x="60398" y="14205"/>
                  </a:moveTo>
                  <a:cubicBezTo>
                    <a:pt x="56201" y="14172"/>
                    <a:pt x="52155" y="15764"/>
                    <a:pt x="49106" y="18649"/>
                  </a:cubicBezTo>
                  <a:lnTo>
                    <a:pt x="32640" y="35260"/>
                  </a:lnTo>
                  <a:cubicBezTo>
                    <a:pt x="14528" y="53430"/>
                    <a:pt x="9619" y="80943"/>
                    <a:pt x="20327" y="104256"/>
                  </a:cubicBezTo>
                  <a:cubicBezTo>
                    <a:pt x="51510" y="170410"/>
                    <a:pt x="140760" y="287783"/>
                    <a:pt x="258643" y="339949"/>
                  </a:cubicBezTo>
                  <a:lnTo>
                    <a:pt x="258643" y="339949"/>
                  </a:lnTo>
                  <a:cubicBezTo>
                    <a:pt x="260417" y="340710"/>
                    <a:pt x="262243" y="341343"/>
                    <a:pt x="264107" y="341843"/>
                  </a:cubicBezTo>
                  <a:lnTo>
                    <a:pt x="265054" y="341843"/>
                  </a:lnTo>
                  <a:cubicBezTo>
                    <a:pt x="271321" y="344226"/>
                    <a:pt x="278044" y="345172"/>
                    <a:pt x="284726" y="344612"/>
                  </a:cubicBezTo>
                  <a:lnTo>
                    <a:pt x="285746" y="344612"/>
                  </a:lnTo>
                  <a:lnTo>
                    <a:pt x="288514" y="344612"/>
                  </a:lnTo>
                  <a:cubicBezTo>
                    <a:pt x="302892" y="343057"/>
                    <a:pt x="316296" y="336600"/>
                    <a:pt x="326473" y="326325"/>
                  </a:cubicBezTo>
                  <a:lnTo>
                    <a:pt x="343303" y="309276"/>
                  </a:lnTo>
                  <a:cubicBezTo>
                    <a:pt x="346254" y="306349"/>
                    <a:pt x="347908" y="302359"/>
                    <a:pt x="347893" y="298202"/>
                  </a:cubicBezTo>
                  <a:cubicBezTo>
                    <a:pt x="347833" y="294010"/>
                    <a:pt x="346133" y="290008"/>
                    <a:pt x="343157" y="287055"/>
                  </a:cubicBezTo>
                  <a:lnTo>
                    <a:pt x="293833" y="238532"/>
                  </a:lnTo>
                  <a:cubicBezTo>
                    <a:pt x="287650" y="232440"/>
                    <a:pt x="277721" y="232440"/>
                    <a:pt x="271538" y="238532"/>
                  </a:cubicBezTo>
                  <a:lnTo>
                    <a:pt x="239044" y="271317"/>
                  </a:lnTo>
                  <a:cubicBezTo>
                    <a:pt x="236753" y="273615"/>
                    <a:pt x="233218" y="274120"/>
                    <a:pt x="230374" y="272556"/>
                  </a:cubicBezTo>
                  <a:cubicBezTo>
                    <a:pt x="182070" y="246327"/>
                    <a:pt x="115187" y="179663"/>
                    <a:pt x="87283" y="130703"/>
                  </a:cubicBezTo>
                  <a:cubicBezTo>
                    <a:pt x="85662" y="127858"/>
                    <a:pt x="86140" y="124282"/>
                    <a:pt x="88448" y="121960"/>
                  </a:cubicBezTo>
                  <a:lnTo>
                    <a:pt x="120943" y="89247"/>
                  </a:lnTo>
                  <a:cubicBezTo>
                    <a:pt x="127066" y="83106"/>
                    <a:pt x="127066" y="73168"/>
                    <a:pt x="120943" y="67026"/>
                  </a:cubicBezTo>
                  <a:lnTo>
                    <a:pt x="71618" y="18503"/>
                  </a:lnTo>
                  <a:cubicBezTo>
                    <a:pt x="68585" y="15657"/>
                    <a:pt x="64557" y="14113"/>
                    <a:pt x="60398" y="14205"/>
                  </a:cubicBez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Полилиния: фигура 30">
              <a:extLst>
                <a:ext uri="{FF2B5EF4-FFF2-40B4-BE49-F238E27FC236}">
                  <a16:creationId xmlns:a16="http://schemas.microsoft.com/office/drawing/2014/main" id="{F933168B-5372-45D9-951D-9311A9451964}"/>
                </a:ext>
              </a:extLst>
            </p:cNvPr>
            <p:cNvSpPr/>
            <p:nvPr/>
          </p:nvSpPr>
          <p:spPr>
            <a:xfrm>
              <a:off x="2177848" y="4759972"/>
              <a:ext cx="68011" cy="67168"/>
            </a:xfrm>
            <a:custGeom>
              <a:avLst/>
              <a:gdLst>
                <a:gd name="connsiteX0" fmla="*/ 60538 w 68011"/>
                <a:gd name="connsiteY0" fmla="*/ 66949 h 67168"/>
                <a:gd name="connsiteX1" fmla="*/ 55584 w 68011"/>
                <a:gd name="connsiteY1" fmla="*/ 65055 h 67168"/>
                <a:gd name="connsiteX2" fmla="*/ 2179 w 68011"/>
                <a:gd name="connsiteY2" fmla="*/ 12525 h 67168"/>
                <a:gd name="connsiteX3" fmla="*/ 2107 w 68011"/>
                <a:gd name="connsiteY3" fmla="*/ 2179 h 67168"/>
                <a:gd name="connsiteX4" fmla="*/ 12452 w 68011"/>
                <a:gd name="connsiteY4" fmla="*/ 2107 h 67168"/>
                <a:gd name="connsiteX5" fmla="*/ 65857 w 68011"/>
                <a:gd name="connsiteY5" fmla="*/ 54709 h 67168"/>
                <a:gd name="connsiteX6" fmla="*/ 65899 w 68011"/>
                <a:gd name="connsiteY6" fmla="*/ 65013 h 67168"/>
                <a:gd name="connsiteX7" fmla="*/ 60684 w 68011"/>
                <a:gd name="connsiteY7" fmla="*/ 67168 h 6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11" h="67168">
                  <a:moveTo>
                    <a:pt x="60538" y="66949"/>
                  </a:moveTo>
                  <a:cubicBezTo>
                    <a:pt x="58707" y="66963"/>
                    <a:pt x="56938" y="66286"/>
                    <a:pt x="55584" y="65055"/>
                  </a:cubicBezTo>
                  <a:lnTo>
                    <a:pt x="2179" y="12525"/>
                  </a:lnTo>
                  <a:cubicBezTo>
                    <a:pt x="-698" y="9688"/>
                    <a:pt x="-730" y="5057"/>
                    <a:pt x="2107" y="2179"/>
                  </a:cubicBezTo>
                  <a:cubicBezTo>
                    <a:pt x="4944" y="-698"/>
                    <a:pt x="9575" y="-730"/>
                    <a:pt x="12452" y="2107"/>
                  </a:cubicBezTo>
                  <a:lnTo>
                    <a:pt x="65857" y="54709"/>
                  </a:lnTo>
                  <a:cubicBezTo>
                    <a:pt x="68713" y="57543"/>
                    <a:pt x="68732" y="62156"/>
                    <a:pt x="65899" y="65013"/>
                  </a:cubicBezTo>
                  <a:cubicBezTo>
                    <a:pt x="64520" y="66403"/>
                    <a:pt x="62641" y="67180"/>
                    <a:pt x="60684" y="67168"/>
                  </a:cubicBez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Полилиния: фигура 33">
              <a:extLst>
                <a:ext uri="{FF2B5EF4-FFF2-40B4-BE49-F238E27FC236}">
                  <a16:creationId xmlns:a16="http://schemas.microsoft.com/office/drawing/2014/main" id="{5B583D62-0421-477B-85D4-E1D1C60D67DA}"/>
                </a:ext>
              </a:extLst>
            </p:cNvPr>
            <p:cNvSpPr/>
            <p:nvPr/>
          </p:nvSpPr>
          <p:spPr>
            <a:xfrm>
              <a:off x="2430214" y="5008586"/>
              <a:ext cx="66638" cy="65612"/>
            </a:xfrm>
            <a:custGeom>
              <a:avLst/>
              <a:gdLst>
                <a:gd name="connsiteX0" fmla="*/ 59383 w 66638"/>
                <a:gd name="connsiteY0" fmla="*/ 65612 h 65612"/>
                <a:gd name="connsiteX1" fmla="*/ 54283 w 66638"/>
                <a:gd name="connsiteY1" fmla="*/ 63500 h 65612"/>
                <a:gd name="connsiteX2" fmla="*/ 2190 w 66638"/>
                <a:gd name="connsiteY2" fmla="*/ 12500 h 65612"/>
                <a:gd name="connsiteX3" fmla="*/ 2081 w 66638"/>
                <a:gd name="connsiteY3" fmla="*/ 2190 h 65612"/>
                <a:gd name="connsiteX4" fmla="*/ 12390 w 66638"/>
                <a:gd name="connsiteY4" fmla="*/ 2081 h 65612"/>
                <a:gd name="connsiteX5" fmla="*/ 64483 w 66638"/>
                <a:gd name="connsiteY5" fmla="*/ 53081 h 65612"/>
                <a:gd name="connsiteX6" fmla="*/ 64525 w 66638"/>
                <a:gd name="connsiteY6" fmla="*/ 63384 h 65612"/>
                <a:gd name="connsiteX7" fmla="*/ 64483 w 66638"/>
                <a:gd name="connsiteY7" fmla="*/ 63427 h 65612"/>
                <a:gd name="connsiteX8" fmla="*/ 59383 w 66638"/>
                <a:gd name="connsiteY8" fmla="*/ 65612 h 6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638" h="65612">
                  <a:moveTo>
                    <a:pt x="59383" y="65612"/>
                  </a:moveTo>
                  <a:cubicBezTo>
                    <a:pt x="57472" y="65604"/>
                    <a:pt x="55640" y="64845"/>
                    <a:pt x="54283" y="63500"/>
                  </a:cubicBezTo>
                  <a:lnTo>
                    <a:pt x="2190" y="12500"/>
                  </a:lnTo>
                  <a:cubicBezTo>
                    <a:pt x="-687" y="9683"/>
                    <a:pt x="-736" y="5067"/>
                    <a:pt x="2081" y="2190"/>
                  </a:cubicBezTo>
                  <a:cubicBezTo>
                    <a:pt x="4898" y="-687"/>
                    <a:pt x="9513" y="-736"/>
                    <a:pt x="12390" y="2081"/>
                  </a:cubicBezTo>
                  <a:lnTo>
                    <a:pt x="64483" y="53081"/>
                  </a:lnTo>
                  <a:cubicBezTo>
                    <a:pt x="67340" y="55914"/>
                    <a:pt x="67359" y="60528"/>
                    <a:pt x="64525" y="63384"/>
                  </a:cubicBezTo>
                  <a:cubicBezTo>
                    <a:pt x="64511" y="63398"/>
                    <a:pt x="64497" y="63413"/>
                    <a:pt x="64483" y="63427"/>
                  </a:cubicBezTo>
                  <a:cubicBezTo>
                    <a:pt x="63138" y="64799"/>
                    <a:pt x="61305" y="65585"/>
                    <a:pt x="59383" y="65612"/>
                  </a:cubicBez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1377989" y="4417276"/>
            <a:ext cx="339129" cy="234781"/>
            <a:chOff x="2152496" y="4788599"/>
            <a:chExt cx="378857" cy="262285"/>
          </a:xfrm>
          <a:solidFill>
            <a:schemeClr val="accent1"/>
          </a:solidFill>
        </p:grpSpPr>
        <p:sp>
          <p:nvSpPr>
            <p:cNvPr id="32" name="Полилиния: фигура 46">
              <a:extLst>
                <a:ext uri="{FF2B5EF4-FFF2-40B4-BE49-F238E27FC236}">
                  <a16:creationId xmlns:a16="http://schemas.microsoft.com/office/drawing/2014/main" id="{57CF435A-B0E9-4B2F-A7EC-B02300236CFE}"/>
                </a:ext>
              </a:extLst>
            </p:cNvPr>
            <p:cNvSpPr/>
            <p:nvPr/>
          </p:nvSpPr>
          <p:spPr>
            <a:xfrm>
              <a:off x="2152496" y="4788599"/>
              <a:ext cx="378857" cy="262285"/>
            </a:xfrm>
            <a:custGeom>
              <a:avLst/>
              <a:gdLst>
                <a:gd name="connsiteX0" fmla="*/ 357000 w 378857"/>
                <a:gd name="connsiteY0" fmla="*/ 262286 h 262285"/>
                <a:gd name="connsiteX1" fmla="*/ 21857 w 378857"/>
                <a:gd name="connsiteY1" fmla="*/ 262286 h 262285"/>
                <a:gd name="connsiteX2" fmla="*/ 0 w 378857"/>
                <a:gd name="connsiteY2" fmla="*/ 240429 h 262285"/>
                <a:gd name="connsiteX3" fmla="*/ 0 w 378857"/>
                <a:gd name="connsiteY3" fmla="*/ 21857 h 262285"/>
                <a:gd name="connsiteX4" fmla="*/ 21857 w 378857"/>
                <a:gd name="connsiteY4" fmla="*/ 0 h 262285"/>
                <a:gd name="connsiteX5" fmla="*/ 357000 w 378857"/>
                <a:gd name="connsiteY5" fmla="*/ 0 h 262285"/>
                <a:gd name="connsiteX6" fmla="*/ 378857 w 378857"/>
                <a:gd name="connsiteY6" fmla="*/ 21857 h 262285"/>
                <a:gd name="connsiteX7" fmla="*/ 378857 w 378857"/>
                <a:gd name="connsiteY7" fmla="*/ 240429 h 262285"/>
                <a:gd name="connsiteX8" fmla="*/ 357000 w 378857"/>
                <a:gd name="connsiteY8" fmla="*/ 262286 h 262285"/>
                <a:gd name="connsiteX9" fmla="*/ 21857 w 378857"/>
                <a:gd name="connsiteY9" fmla="*/ 14571 h 262285"/>
                <a:gd name="connsiteX10" fmla="*/ 14571 w 378857"/>
                <a:gd name="connsiteY10" fmla="*/ 21857 h 262285"/>
                <a:gd name="connsiteX11" fmla="*/ 14571 w 378857"/>
                <a:gd name="connsiteY11" fmla="*/ 240429 h 262285"/>
                <a:gd name="connsiteX12" fmla="*/ 21857 w 378857"/>
                <a:gd name="connsiteY12" fmla="*/ 247714 h 262285"/>
                <a:gd name="connsiteX13" fmla="*/ 357000 w 378857"/>
                <a:gd name="connsiteY13" fmla="*/ 247714 h 262285"/>
                <a:gd name="connsiteX14" fmla="*/ 364286 w 378857"/>
                <a:gd name="connsiteY14" fmla="*/ 240429 h 262285"/>
                <a:gd name="connsiteX15" fmla="*/ 364286 w 378857"/>
                <a:gd name="connsiteY15" fmla="*/ 21857 h 262285"/>
                <a:gd name="connsiteX16" fmla="*/ 357000 w 378857"/>
                <a:gd name="connsiteY16" fmla="*/ 14571 h 26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8857" h="262285">
                  <a:moveTo>
                    <a:pt x="357000" y="262286"/>
                  </a:moveTo>
                  <a:lnTo>
                    <a:pt x="21857" y="262286"/>
                  </a:lnTo>
                  <a:cubicBezTo>
                    <a:pt x="9785" y="262286"/>
                    <a:pt x="0" y="252500"/>
                    <a:pt x="0" y="240429"/>
                  </a:cubicBezTo>
                  <a:lnTo>
                    <a:pt x="0" y="21857"/>
                  </a:lnTo>
                  <a:cubicBezTo>
                    <a:pt x="0" y="9785"/>
                    <a:pt x="9785" y="0"/>
                    <a:pt x="21857" y="0"/>
                  </a:cubicBezTo>
                  <a:lnTo>
                    <a:pt x="357000" y="0"/>
                  </a:lnTo>
                  <a:cubicBezTo>
                    <a:pt x="369072" y="0"/>
                    <a:pt x="378857" y="9785"/>
                    <a:pt x="378857" y="21857"/>
                  </a:cubicBezTo>
                  <a:lnTo>
                    <a:pt x="378857" y="240429"/>
                  </a:lnTo>
                  <a:cubicBezTo>
                    <a:pt x="378857" y="252500"/>
                    <a:pt x="369072" y="262286"/>
                    <a:pt x="357000" y="262286"/>
                  </a:cubicBezTo>
                  <a:close/>
                  <a:moveTo>
                    <a:pt x="21857" y="14571"/>
                  </a:moveTo>
                  <a:cubicBezTo>
                    <a:pt x="17833" y="14571"/>
                    <a:pt x="14571" y="17833"/>
                    <a:pt x="14571" y="21857"/>
                  </a:cubicBezTo>
                  <a:lnTo>
                    <a:pt x="14571" y="240429"/>
                  </a:lnTo>
                  <a:cubicBezTo>
                    <a:pt x="14571" y="244452"/>
                    <a:pt x="17833" y="247714"/>
                    <a:pt x="21857" y="247714"/>
                  </a:cubicBezTo>
                  <a:lnTo>
                    <a:pt x="357000" y="247714"/>
                  </a:lnTo>
                  <a:cubicBezTo>
                    <a:pt x="361024" y="247714"/>
                    <a:pt x="364286" y="244452"/>
                    <a:pt x="364286" y="240429"/>
                  </a:cubicBezTo>
                  <a:lnTo>
                    <a:pt x="364286" y="21857"/>
                  </a:lnTo>
                  <a:cubicBezTo>
                    <a:pt x="364286" y="17833"/>
                    <a:pt x="361024" y="14571"/>
                    <a:pt x="357000" y="14571"/>
                  </a:cubicBez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Полилиния: фигура 47">
              <a:extLst>
                <a:ext uri="{FF2B5EF4-FFF2-40B4-BE49-F238E27FC236}">
                  <a16:creationId xmlns:a16="http://schemas.microsoft.com/office/drawing/2014/main" id="{AB30E615-6EC1-4201-BFE2-4149DDFCDD83}"/>
                </a:ext>
              </a:extLst>
            </p:cNvPr>
            <p:cNvSpPr/>
            <p:nvPr/>
          </p:nvSpPr>
          <p:spPr>
            <a:xfrm>
              <a:off x="2157569" y="4794325"/>
              <a:ext cx="370407" cy="116819"/>
            </a:xfrm>
            <a:custGeom>
              <a:avLst/>
              <a:gdLst>
                <a:gd name="connsiteX0" fmla="*/ 183699 w 370407"/>
                <a:gd name="connsiteY0" fmla="*/ 116820 h 116819"/>
                <a:gd name="connsiteX1" fmla="*/ 173426 w 370407"/>
                <a:gd name="connsiteY1" fmla="*/ 113978 h 116819"/>
                <a:gd name="connsiteX2" fmla="*/ 3378 w 370407"/>
                <a:gd name="connsiteY2" fmla="*/ 13435 h 116819"/>
                <a:gd name="connsiteX3" fmla="*/ 1138 w 370407"/>
                <a:gd name="connsiteY3" fmla="*/ 3378 h 116819"/>
                <a:gd name="connsiteX4" fmla="*/ 10664 w 370407"/>
                <a:gd name="connsiteY4" fmla="*/ 831 h 116819"/>
                <a:gd name="connsiteX5" fmla="*/ 180858 w 370407"/>
                <a:gd name="connsiteY5" fmla="*/ 101447 h 116819"/>
                <a:gd name="connsiteX6" fmla="*/ 186541 w 370407"/>
                <a:gd name="connsiteY6" fmla="*/ 101447 h 116819"/>
                <a:gd name="connsiteX7" fmla="*/ 359212 w 370407"/>
                <a:gd name="connsiteY7" fmla="*/ 2434 h 116819"/>
                <a:gd name="connsiteX8" fmla="*/ 369269 w 370407"/>
                <a:gd name="connsiteY8" fmla="*/ 4673 h 116819"/>
                <a:gd name="connsiteX9" fmla="*/ 367030 w 370407"/>
                <a:gd name="connsiteY9" fmla="*/ 14731 h 116819"/>
                <a:gd name="connsiteX10" fmla="*/ 366498 w 370407"/>
                <a:gd name="connsiteY10" fmla="*/ 15038 h 116819"/>
                <a:gd name="connsiteX11" fmla="*/ 193826 w 370407"/>
                <a:gd name="connsiteY11" fmla="*/ 114124 h 116819"/>
                <a:gd name="connsiteX12" fmla="*/ 183699 w 370407"/>
                <a:gd name="connsiteY12" fmla="*/ 116820 h 116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0407" h="116819">
                  <a:moveTo>
                    <a:pt x="183699" y="116820"/>
                  </a:moveTo>
                  <a:cubicBezTo>
                    <a:pt x="180081" y="116817"/>
                    <a:pt x="176532" y="115835"/>
                    <a:pt x="173426" y="113978"/>
                  </a:cubicBezTo>
                  <a:lnTo>
                    <a:pt x="3378" y="13435"/>
                  </a:lnTo>
                  <a:cubicBezTo>
                    <a:pt x="-18" y="11276"/>
                    <a:pt x="-1020" y="6774"/>
                    <a:pt x="1138" y="3378"/>
                  </a:cubicBezTo>
                  <a:cubicBezTo>
                    <a:pt x="3169" y="183"/>
                    <a:pt x="7309" y="-924"/>
                    <a:pt x="10664" y="831"/>
                  </a:cubicBezTo>
                  <a:lnTo>
                    <a:pt x="180858" y="101447"/>
                  </a:lnTo>
                  <a:cubicBezTo>
                    <a:pt x="182616" y="102462"/>
                    <a:pt x="184783" y="102462"/>
                    <a:pt x="186541" y="101447"/>
                  </a:cubicBezTo>
                  <a:lnTo>
                    <a:pt x="359212" y="2434"/>
                  </a:lnTo>
                  <a:cubicBezTo>
                    <a:pt x="362608" y="275"/>
                    <a:pt x="367111" y="1278"/>
                    <a:pt x="369269" y="4673"/>
                  </a:cubicBezTo>
                  <a:cubicBezTo>
                    <a:pt x="371428" y="8069"/>
                    <a:pt x="370425" y="12572"/>
                    <a:pt x="367030" y="14731"/>
                  </a:cubicBezTo>
                  <a:cubicBezTo>
                    <a:pt x="366856" y="14841"/>
                    <a:pt x="366679" y="14943"/>
                    <a:pt x="366498" y="15038"/>
                  </a:cubicBezTo>
                  <a:lnTo>
                    <a:pt x="193826" y="114124"/>
                  </a:lnTo>
                  <a:cubicBezTo>
                    <a:pt x="190736" y="115870"/>
                    <a:pt x="187250" y="116798"/>
                    <a:pt x="183699" y="116820"/>
                  </a:cubicBez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712764" y="5572153"/>
            <a:ext cx="8754794" cy="5924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 defTabSz="1007943">
              <a:lnSpc>
                <a:spcPct val="100000"/>
              </a:lnSpc>
              <a:spcBef>
                <a:spcPts val="300"/>
              </a:spcBef>
              <a:buClr>
                <a:srgbClr val="2455D8"/>
              </a:buClr>
              <a:buFont typeface="Cera CY" panose="00000500000000000000" pitchFamily="2" charset="-52"/>
              <a:buChar char="▷"/>
            </a:pPr>
            <a:r>
              <a:rPr lang="ru-RU" sz="1000" dirty="0">
                <a:solidFill>
                  <a:srgbClr val="424242"/>
                </a:solidFill>
              </a:rPr>
              <a:t>Все права защищены ГПБ.</a:t>
            </a:r>
          </a:p>
          <a:p>
            <a:pPr marL="171450" lvl="0" indent="-171450" algn="just" defTabSz="1007943">
              <a:lnSpc>
                <a:spcPct val="100000"/>
              </a:lnSpc>
              <a:spcBef>
                <a:spcPts val="300"/>
              </a:spcBef>
              <a:buClr>
                <a:srgbClr val="2455D8"/>
              </a:buClr>
              <a:buFont typeface="Cera CY" panose="00000500000000000000" pitchFamily="2" charset="-52"/>
              <a:buChar char="▷"/>
            </a:pPr>
            <a:r>
              <a:rPr lang="ru-RU" sz="1000" dirty="0">
                <a:solidFill>
                  <a:srgbClr val="424242"/>
                </a:solidFill>
              </a:rPr>
              <a:t>Данная презентация не предназначена для передачи третьим лицам, воспроизведению или цитированию без заранее полученного письменного согласия от </a:t>
            </a:r>
            <a:r>
              <a:rPr lang="ru-RU" sz="1000" dirty="0" smtClean="0">
                <a:solidFill>
                  <a:srgbClr val="424242"/>
                </a:solidFill>
              </a:rPr>
              <a:t>Банка ГПБ (АО).</a:t>
            </a:r>
            <a:endParaRPr lang="ru-RU" sz="1000" dirty="0">
              <a:solidFill>
                <a:srgbClr val="4242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80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6397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65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55420F7-98B0-495E-818B-F0F32424EA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A9CFFD-EE99-4E11-B8BC-23AC5DDB75ED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79425" y="260350"/>
            <a:ext cx="9288463" cy="1200329"/>
          </a:xfrm>
        </p:spPr>
        <p:txBody>
          <a:bodyPr vert="horz"/>
          <a:lstStyle/>
          <a:p>
            <a:pPr lvl="0">
              <a:lnSpc>
                <a:spcPct val="100000"/>
              </a:lnSpc>
              <a:spcBef>
                <a:spcPts val="0"/>
              </a:spcBef>
              <a:buClr>
                <a:srgbClr val="FF7900"/>
              </a:buClr>
            </a:pPr>
            <a:r>
              <a:rPr lang="ru-RU" sz="2600" dirty="0" smtClean="0">
                <a:solidFill>
                  <a:srgbClr val="000000"/>
                </a:solidFill>
              </a:rPr>
              <a:t>2025</a:t>
            </a:r>
            <a:r>
              <a:rPr lang="ru-RU" sz="2600" dirty="0">
                <a:solidFill>
                  <a:srgbClr val="000000"/>
                </a:solidFill>
              </a:rPr>
              <a:t>: новая экономическая </a:t>
            </a:r>
            <a:r>
              <a:rPr lang="ru-RU" sz="2600" dirty="0" smtClean="0">
                <a:solidFill>
                  <a:srgbClr val="000000"/>
                </a:solidFill>
              </a:rPr>
              <a:t>реальность</a:t>
            </a:r>
            <a:r>
              <a:rPr lang="ru-RU" sz="2600" dirty="0">
                <a:solidFill>
                  <a:srgbClr val="000000"/>
                </a:solidFill>
              </a:rPr>
              <a:t/>
            </a:r>
            <a:br>
              <a:rPr lang="ru-RU" sz="2600" dirty="0">
                <a:solidFill>
                  <a:srgbClr val="000000"/>
                </a:solidFill>
              </a:rPr>
            </a:br>
            <a:endParaRPr lang="ru-RU" dirty="0"/>
          </a:p>
        </p:txBody>
      </p:sp>
      <p:sp>
        <p:nvSpPr>
          <p:cNvPr id="22" name="Левая круглая скобка 21">
            <a:extLst>
              <a:ext uri="{FF2B5EF4-FFF2-40B4-BE49-F238E27FC236}">
                <a16:creationId xmlns:a16="http://schemas.microsoft.com/office/drawing/2014/main" id="{5B5EE5AF-795D-4C4F-BA87-B53D09B19940}"/>
              </a:ext>
            </a:extLst>
          </p:cNvPr>
          <p:cNvSpPr/>
          <p:nvPr/>
        </p:nvSpPr>
        <p:spPr>
          <a:xfrm rot="10800000">
            <a:off x="10184275" y="1701387"/>
            <a:ext cx="638597" cy="2400514"/>
          </a:xfrm>
          <a:prstGeom prst="leftBracket">
            <a:avLst>
              <a:gd name="adj" fmla="val 102544"/>
            </a:avLst>
          </a:prstGeom>
          <a:ln w="63500">
            <a:solidFill>
              <a:srgbClr val="FFAB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247C6E69-A1E3-4A28-BB24-87286DD7BB19}"/>
              </a:ext>
            </a:extLst>
          </p:cNvPr>
          <p:cNvCxnSpPr>
            <a:cxnSpLocks/>
            <a:stCxn id="30" idx="3"/>
          </p:cNvCxnSpPr>
          <p:nvPr/>
        </p:nvCxnSpPr>
        <p:spPr>
          <a:xfrm flipV="1">
            <a:off x="7196383" y="4104400"/>
            <a:ext cx="2987893" cy="1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1039A006-BF1F-4FDE-8D37-E9E829E035F0}"/>
              </a:ext>
            </a:extLst>
          </p:cNvPr>
          <p:cNvSpPr/>
          <p:nvPr/>
        </p:nvSpPr>
        <p:spPr>
          <a:xfrm>
            <a:off x="6692383" y="3852401"/>
            <a:ext cx="504000" cy="504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FFFFFF"/>
                </a:solidFill>
                <a:latin typeface="Cera CY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4ED0040A-56D9-482F-8EC1-10C08D7758E7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1806791" y="4101901"/>
            <a:ext cx="4885592" cy="250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13016CA1-20B7-45F4-BEA7-7B22D80AA9CF}"/>
              </a:ext>
            </a:extLst>
          </p:cNvPr>
          <p:cNvSpPr/>
          <p:nvPr/>
        </p:nvSpPr>
        <p:spPr>
          <a:xfrm>
            <a:off x="1302791" y="1449388"/>
            <a:ext cx="504000" cy="504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1</a:t>
            </a:r>
          </a:p>
        </p:txBody>
      </p: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B18F87B4-74FA-4841-AC90-191A03433164}"/>
              </a:ext>
            </a:extLst>
          </p:cNvPr>
          <p:cNvGrpSpPr/>
          <p:nvPr/>
        </p:nvGrpSpPr>
        <p:grpSpPr>
          <a:xfrm>
            <a:off x="1806791" y="1005302"/>
            <a:ext cx="3259139" cy="1981850"/>
            <a:chOff x="4743108" y="520975"/>
            <a:chExt cx="3259139" cy="1183701"/>
          </a:xfrm>
        </p:grpSpPr>
        <p:sp>
          <p:nvSpPr>
            <p:cNvPr id="55" name="Текст 4">
              <a:extLst>
                <a:ext uri="{FF2B5EF4-FFF2-40B4-BE49-F238E27FC236}">
                  <a16:creationId xmlns:a16="http://schemas.microsoft.com/office/drawing/2014/main" id="{B6110F5F-8B56-4589-9554-D68C9900B0F5}"/>
                </a:ext>
              </a:extLst>
            </p:cNvPr>
            <p:cNvSpPr txBox="1">
              <a:spLocks/>
            </p:cNvSpPr>
            <p:nvPr/>
          </p:nvSpPr>
          <p:spPr>
            <a:xfrm>
              <a:off x="4743108" y="520975"/>
              <a:ext cx="3259139" cy="220591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70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2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8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354D6"/>
                  </a:solidFill>
                  <a:effectLst/>
                  <a:uLnTx/>
                  <a:uFillTx/>
                  <a:latin typeface="Cera CY"/>
                  <a:ea typeface="Tahoma" panose="020B0604030504040204" pitchFamily="34" charset="0"/>
                  <a:cs typeface="Tahoma" panose="020B0604030504040204" pitchFamily="34" charset="0"/>
                </a:rPr>
                <a:t>Сокращение инвестиций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6" name="Текст 4">
              <a:extLst>
                <a:ext uri="{FF2B5EF4-FFF2-40B4-BE49-F238E27FC236}">
                  <a16:creationId xmlns:a16="http://schemas.microsoft.com/office/drawing/2014/main" id="{553C86A6-EEB7-4F7C-9A68-92E029708F33}"/>
                </a:ext>
              </a:extLst>
            </p:cNvPr>
            <p:cNvSpPr txBox="1">
              <a:spLocks/>
            </p:cNvSpPr>
            <p:nvPr/>
          </p:nvSpPr>
          <p:spPr>
            <a:xfrm>
              <a:off x="4809782" y="1131752"/>
              <a:ext cx="3192465" cy="57292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70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2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8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ru-RU" sz="1200" dirty="0">
                  <a:latin typeface="Cera CY" panose="00000500000000000000" pitchFamily="2" charset="-52"/>
                </a:rPr>
                <a:t>Рост зависимости </a:t>
              </a:r>
              <a:r>
                <a:rPr lang="ru-RU" sz="1200" dirty="0" smtClean="0">
                  <a:latin typeface="Cera CY" panose="00000500000000000000" pitchFamily="2" charset="-52"/>
                </a:rPr>
                <a:t>подрядчиков от</a:t>
              </a:r>
              <a:r>
                <a:rPr lang="en-US" sz="1200" dirty="0" smtClean="0">
                  <a:latin typeface="Cera CY" panose="00000500000000000000" pitchFamily="2" charset="-52"/>
                </a:rPr>
                <a:t> </a:t>
              </a:r>
              <a:r>
                <a:rPr lang="ru-RU" sz="1200" dirty="0">
                  <a:latin typeface="Cera CY" panose="00000500000000000000" pitchFamily="2" charset="-52"/>
                </a:rPr>
                <a:t>государственного заказа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ru-RU" sz="1200" dirty="0" smtClean="0">
                  <a:latin typeface="Cera CY" panose="00000500000000000000" pitchFamily="2" charset="-52"/>
                </a:rPr>
                <a:t>Рост </a:t>
              </a:r>
              <a:r>
                <a:rPr lang="ru-RU" sz="1200" dirty="0">
                  <a:latin typeface="Cera CY" panose="00000500000000000000" pitchFamily="2" charset="-52"/>
                </a:rPr>
                <a:t>стоимости </a:t>
              </a:r>
              <a:r>
                <a:rPr lang="ru-RU" sz="1200" dirty="0" smtClean="0">
                  <a:latin typeface="Cera CY" panose="00000500000000000000" pitchFamily="2" charset="-52"/>
                </a:rPr>
                <a:t>МТР, </a:t>
              </a:r>
              <a:r>
                <a:rPr lang="ru-RU" sz="1200" dirty="0">
                  <a:latin typeface="Cera CY" panose="00000500000000000000" pitchFamily="2" charset="-52"/>
                </a:rPr>
                <a:t>превышающий инфляцию, в условиях твердой цены </a:t>
              </a:r>
              <a:r>
                <a:rPr lang="ru-RU" sz="1200" dirty="0" smtClean="0">
                  <a:latin typeface="Cera CY" panose="00000500000000000000" pitchFamily="2" charset="-52"/>
                </a:rPr>
                <a:t>контракта</a:t>
              </a:r>
              <a:r>
                <a:rPr kumimoji="0" lang="ru-RU" sz="12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ra CY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  <a:endPara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A705C46D-2229-41F7-A66A-539C2530062F}"/>
              </a:ext>
            </a:extLst>
          </p:cNvPr>
          <p:cNvGrpSpPr/>
          <p:nvPr/>
        </p:nvGrpSpPr>
        <p:grpSpPr>
          <a:xfrm>
            <a:off x="7159731" y="983054"/>
            <a:ext cx="3192465" cy="1799940"/>
            <a:chOff x="4276063" y="107958"/>
            <a:chExt cx="3192465" cy="1799940"/>
          </a:xfrm>
        </p:grpSpPr>
        <p:sp>
          <p:nvSpPr>
            <p:cNvPr id="61" name="Текст 4">
              <a:extLst>
                <a:ext uri="{FF2B5EF4-FFF2-40B4-BE49-F238E27FC236}">
                  <a16:creationId xmlns:a16="http://schemas.microsoft.com/office/drawing/2014/main" id="{B0680D14-317D-41CE-8800-1DCA915FBD07}"/>
                </a:ext>
              </a:extLst>
            </p:cNvPr>
            <p:cNvSpPr txBox="1">
              <a:spLocks/>
            </p:cNvSpPr>
            <p:nvPr/>
          </p:nvSpPr>
          <p:spPr>
            <a:xfrm>
              <a:off x="4312715" y="107958"/>
              <a:ext cx="2921219" cy="369332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70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2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8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354D6"/>
                  </a:solidFill>
                  <a:effectLst/>
                  <a:uLnTx/>
                  <a:uFillTx/>
                  <a:latin typeface="Cera CY"/>
                  <a:ea typeface="Tahoma" panose="020B0604030504040204" pitchFamily="34" charset="0"/>
                  <a:cs typeface="Tahoma" panose="020B0604030504040204" pitchFamily="34" charset="0"/>
                </a:rPr>
                <a:t>Рост стоимости денег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2" name="Текст 4">
              <a:extLst>
                <a:ext uri="{FF2B5EF4-FFF2-40B4-BE49-F238E27FC236}">
                  <a16:creationId xmlns:a16="http://schemas.microsoft.com/office/drawing/2014/main" id="{11368C52-9C7D-4C08-9FBE-690889968B0D}"/>
                </a:ext>
              </a:extLst>
            </p:cNvPr>
            <p:cNvSpPr txBox="1">
              <a:spLocks/>
            </p:cNvSpPr>
            <p:nvPr/>
          </p:nvSpPr>
          <p:spPr>
            <a:xfrm>
              <a:off x="4276063" y="1152819"/>
              <a:ext cx="3192465" cy="75507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70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2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8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ru-RU" sz="1200" dirty="0" smtClean="0">
                  <a:latin typeface="Cera CY" panose="00000500000000000000" pitchFamily="2" charset="-52"/>
                </a:rPr>
                <a:t>Высокая ключевая ставка </a:t>
              </a:r>
              <a:r>
                <a:rPr lang="ru-RU" sz="1200" dirty="0">
                  <a:latin typeface="Cera CY" panose="00000500000000000000" pitchFamily="2" charset="-52"/>
                </a:rPr>
                <a:t>ЦБ РФ</a:t>
              </a:r>
              <a:endParaRPr lang="en-US" sz="1200" dirty="0">
                <a:latin typeface="Cera CY" panose="00000500000000000000" pitchFamily="2" charset="-52"/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ru-RU" sz="1200" dirty="0" smtClean="0">
                  <a:latin typeface="Cera CY" panose="00000500000000000000" pitchFamily="2" charset="-52"/>
                </a:rPr>
                <a:t>Снижение </a:t>
              </a:r>
              <a:r>
                <a:rPr lang="ru-RU" sz="1200" dirty="0">
                  <a:latin typeface="Cera CY" panose="00000500000000000000" pitchFamily="2" charset="-52"/>
                </a:rPr>
                <a:t>кредитного качества</a:t>
              </a:r>
              <a:endParaRPr lang="en-US" sz="1200" dirty="0">
                <a:latin typeface="Cera CY" panose="00000500000000000000" pitchFamily="2" charset="-52"/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endParaRPr lang="en-US" sz="1200" dirty="0">
                <a:latin typeface="Cera CY" panose="00000500000000000000" pitchFamily="2" charset="-52"/>
              </a:endParaRPr>
            </a:p>
          </p:txBody>
        </p: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4216A8EE-A18E-4BA6-A3B7-638A823ECF36}"/>
              </a:ext>
            </a:extLst>
          </p:cNvPr>
          <p:cNvGrpSpPr/>
          <p:nvPr/>
        </p:nvGrpSpPr>
        <p:grpSpPr>
          <a:xfrm>
            <a:off x="7196383" y="3359692"/>
            <a:ext cx="3333152" cy="2633648"/>
            <a:chOff x="4621018" y="1322"/>
            <a:chExt cx="3333152" cy="2633648"/>
          </a:xfrm>
        </p:grpSpPr>
        <p:sp>
          <p:nvSpPr>
            <p:cNvPr id="70" name="Текст 4">
              <a:extLst>
                <a:ext uri="{FF2B5EF4-FFF2-40B4-BE49-F238E27FC236}">
                  <a16:creationId xmlns:a16="http://schemas.microsoft.com/office/drawing/2014/main" id="{E4689600-E271-4C2F-838A-E97124734ABF}"/>
                </a:ext>
              </a:extLst>
            </p:cNvPr>
            <p:cNvSpPr txBox="1">
              <a:spLocks/>
            </p:cNvSpPr>
            <p:nvPr/>
          </p:nvSpPr>
          <p:spPr>
            <a:xfrm>
              <a:off x="4621018" y="1322"/>
              <a:ext cx="2571505" cy="369332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70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2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8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354D6"/>
                  </a:solidFill>
                  <a:effectLst/>
                  <a:uLnTx/>
                  <a:uFillTx/>
                  <a:latin typeface="Cera CY"/>
                  <a:ea typeface="Tahoma" panose="020B0604030504040204" pitchFamily="34" charset="0"/>
                  <a:cs typeface="Tahoma" panose="020B0604030504040204" pitchFamily="34" charset="0"/>
                </a:rPr>
                <a:t>Дефицит ресурсов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1" name="Текст 4">
              <a:extLst>
                <a:ext uri="{FF2B5EF4-FFF2-40B4-BE49-F238E27FC236}">
                  <a16:creationId xmlns:a16="http://schemas.microsoft.com/office/drawing/2014/main" id="{D2B54E07-49D1-439E-891F-9DD1E2B9A99F}"/>
                </a:ext>
              </a:extLst>
            </p:cNvPr>
            <p:cNvSpPr txBox="1">
              <a:spLocks/>
            </p:cNvSpPr>
            <p:nvPr/>
          </p:nvSpPr>
          <p:spPr>
            <a:xfrm>
              <a:off x="4761705" y="1215094"/>
              <a:ext cx="3192465" cy="141987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70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2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8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ru-RU" sz="1200" dirty="0">
                  <a:latin typeface="Cera CY" panose="00000500000000000000" pitchFamily="2" charset="-52"/>
                </a:rPr>
                <a:t>Снижение авансирования до минимальных значений</a:t>
              </a:r>
              <a:endParaRPr lang="en-US" sz="1200" dirty="0">
                <a:latin typeface="Cera CY" panose="00000500000000000000" pitchFamily="2" charset="-52"/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ru-RU" sz="1200" dirty="0" smtClean="0">
                  <a:latin typeface="Cera CY" panose="00000500000000000000" pitchFamily="2" charset="-52"/>
                </a:rPr>
                <a:t>Переход </a:t>
              </a:r>
              <a:r>
                <a:rPr lang="ru-RU" sz="1200" dirty="0">
                  <a:latin typeface="Cera CY" panose="00000500000000000000" pitchFamily="2" charset="-52"/>
                </a:rPr>
                <a:t>на режим</a:t>
              </a:r>
              <a:r>
                <a:rPr lang="en-US" sz="1200" dirty="0">
                  <a:latin typeface="Cera CY" panose="00000500000000000000" pitchFamily="2" charset="-52"/>
                </a:rPr>
                <a:t> </a:t>
              </a:r>
              <a:r>
                <a:rPr lang="ru-RU" sz="1200" dirty="0">
                  <a:latin typeface="Cera CY" panose="00000500000000000000" pitchFamily="2" charset="-52"/>
                </a:rPr>
                <a:t>«финансирование под потребность»</a:t>
              </a:r>
              <a:endParaRPr lang="en-US" sz="1200" dirty="0">
                <a:latin typeface="Cera CY" panose="00000500000000000000" pitchFamily="2" charset="-52"/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ru-RU" sz="1200" dirty="0" smtClean="0">
                  <a:latin typeface="Cera CY" panose="00000500000000000000" pitchFamily="2" charset="-52"/>
                </a:rPr>
                <a:t>Ухудшение </a:t>
              </a:r>
              <a:r>
                <a:rPr lang="ru-RU" sz="1200" dirty="0">
                  <a:latin typeface="Cera CY" panose="00000500000000000000" pitchFamily="2" charset="-52"/>
                </a:rPr>
                <a:t>операционных показателей и финансового положения компаний-исполнителей</a:t>
              </a:r>
              <a:endParaRPr lang="en-US" sz="1200" dirty="0">
                <a:latin typeface="Cera CY" panose="00000500000000000000" pitchFamily="2" charset="-52"/>
              </a:endParaRPr>
            </a:p>
          </p:txBody>
        </p:sp>
      </p:grp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4ED0040A-56D9-482F-8EC1-10C08D7758E7}"/>
              </a:ext>
            </a:extLst>
          </p:cNvPr>
          <p:cNvCxnSpPr>
            <a:cxnSpLocks/>
            <a:endCxn id="22" idx="2"/>
          </p:cNvCxnSpPr>
          <p:nvPr/>
        </p:nvCxnSpPr>
        <p:spPr>
          <a:xfrm flipV="1">
            <a:off x="7196383" y="1701387"/>
            <a:ext cx="2987892" cy="2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4216A8EE-A18E-4BA6-A3B7-638A823ECF36}"/>
              </a:ext>
            </a:extLst>
          </p:cNvPr>
          <p:cNvGrpSpPr/>
          <p:nvPr/>
        </p:nvGrpSpPr>
        <p:grpSpPr>
          <a:xfrm>
            <a:off x="1920536" y="3374472"/>
            <a:ext cx="3269040" cy="2782567"/>
            <a:chOff x="4685130" y="18602"/>
            <a:chExt cx="3269040" cy="2782567"/>
          </a:xfrm>
        </p:grpSpPr>
        <p:sp>
          <p:nvSpPr>
            <p:cNvPr id="51" name="Текст 4">
              <a:extLst>
                <a:ext uri="{FF2B5EF4-FFF2-40B4-BE49-F238E27FC236}">
                  <a16:creationId xmlns:a16="http://schemas.microsoft.com/office/drawing/2014/main" id="{E4689600-E271-4C2F-838A-E97124734ABF}"/>
                </a:ext>
              </a:extLst>
            </p:cNvPr>
            <p:cNvSpPr txBox="1">
              <a:spLocks/>
            </p:cNvSpPr>
            <p:nvPr/>
          </p:nvSpPr>
          <p:spPr>
            <a:xfrm>
              <a:off x="4685130" y="18602"/>
              <a:ext cx="2460964" cy="339901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70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2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8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354D6"/>
                  </a:solidFill>
                  <a:effectLst/>
                  <a:uLnTx/>
                  <a:uFillTx/>
                  <a:latin typeface="Cera CY"/>
                  <a:ea typeface="Tahoma" panose="020B0604030504040204" pitchFamily="34" charset="0"/>
                  <a:cs typeface="Tahoma" panose="020B0604030504040204" pitchFamily="34" charset="0"/>
                </a:rPr>
                <a:t>Рост неплатежей*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2" name="Текст 4">
              <a:extLst>
                <a:ext uri="{FF2B5EF4-FFF2-40B4-BE49-F238E27FC236}">
                  <a16:creationId xmlns:a16="http://schemas.microsoft.com/office/drawing/2014/main" id="{D2B54E07-49D1-439E-891F-9DD1E2B9A99F}"/>
                </a:ext>
              </a:extLst>
            </p:cNvPr>
            <p:cNvSpPr txBox="1">
              <a:spLocks/>
            </p:cNvSpPr>
            <p:nvPr/>
          </p:nvSpPr>
          <p:spPr>
            <a:xfrm>
              <a:off x="4761705" y="1215094"/>
              <a:ext cx="3192465" cy="1586075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70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2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80" kern="1200">
                  <a:solidFill>
                    <a:schemeClr val="tx1"/>
                  </a:solidFill>
                  <a:latin typeface="Cera CY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ru-RU" sz="1200" dirty="0">
                  <a:latin typeface="Cera CY" panose="00000500000000000000" pitchFamily="2" charset="-52"/>
                </a:rPr>
                <a:t>Исчерпание ресурсов для снижения долговой нагрузки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ru-RU" sz="1200" dirty="0" smtClean="0">
                  <a:latin typeface="Cera CY" panose="00000500000000000000" pitchFamily="2" charset="-52"/>
                </a:rPr>
                <a:t>Ухудшение </a:t>
              </a:r>
              <a:r>
                <a:rPr lang="ru-RU" sz="1200" dirty="0">
                  <a:latin typeface="Cera CY" panose="00000500000000000000" pitchFamily="2" charset="-52"/>
                </a:rPr>
                <a:t>условий поставки сырья и комплектующих, рост логистических расходов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ru-RU" sz="1200" dirty="0" smtClean="0">
                  <a:latin typeface="Cera CY" panose="00000500000000000000" pitchFamily="2" charset="-52"/>
                </a:rPr>
                <a:t>Снижение </a:t>
              </a:r>
              <a:r>
                <a:rPr lang="ru-RU" sz="1200" dirty="0">
                  <a:latin typeface="Cera CY" panose="00000500000000000000" pitchFamily="2" charset="-52"/>
                </a:rPr>
                <a:t>срока жизни компаний -исполнителей, рост количества банкротств</a:t>
              </a:r>
            </a:p>
          </p:txBody>
        </p:sp>
      </p:grp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4ED0040A-56D9-482F-8EC1-10C08D7758E7}"/>
              </a:ext>
            </a:extLst>
          </p:cNvPr>
          <p:cNvCxnSpPr>
            <a:cxnSpLocks/>
            <a:stCxn id="24" idx="3"/>
            <a:endCxn id="64" idx="1"/>
          </p:cNvCxnSpPr>
          <p:nvPr/>
        </p:nvCxnSpPr>
        <p:spPr>
          <a:xfrm>
            <a:off x="1806791" y="1701388"/>
            <a:ext cx="4885592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Прямоугольник: скругленные углы 24">
            <a:extLst>
              <a:ext uri="{FF2B5EF4-FFF2-40B4-BE49-F238E27FC236}">
                <a16:creationId xmlns:a16="http://schemas.microsoft.com/office/drawing/2014/main" id="{6315F78F-402C-4990-9C65-0FE82A94F1D8}"/>
              </a:ext>
            </a:extLst>
          </p:cNvPr>
          <p:cNvSpPr/>
          <p:nvPr/>
        </p:nvSpPr>
        <p:spPr>
          <a:xfrm>
            <a:off x="6692383" y="1449388"/>
            <a:ext cx="504000" cy="504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2</a:t>
            </a:r>
            <a:endParaRPr lang="ru-RU" sz="1600" b="1" dirty="0">
              <a:solidFill>
                <a:schemeClr val="accent1"/>
              </a:solidFill>
            </a:endParaRPr>
          </a:p>
        </p:txBody>
      </p:sp>
      <p:sp>
        <p:nvSpPr>
          <p:cNvPr id="65" name="Прямоугольник: скругленные углы 28">
            <a:extLst>
              <a:ext uri="{FF2B5EF4-FFF2-40B4-BE49-F238E27FC236}">
                <a16:creationId xmlns:a16="http://schemas.microsoft.com/office/drawing/2014/main" id="{4BB4FEC9-917F-478E-BE0D-CA328AC5B0DC}"/>
              </a:ext>
            </a:extLst>
          </p:cNvPr>
          <p:cNvSpPr/>
          <p:nvPr/>
        </p:nvSpPr>
        <p:spPr>
          <a:xfrm>
            <a:off x="1318665" y="3852401"/>
            <a:ext cx="504000" cy="504000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42669AE2-921F-4A94-9D30-3D9816660080}"/>
              </a:ext>
            </a:extLst>
          </p:cNvPr>
          <p:cNvSpPr txBox="1">
            <a:spLocks/>
          </p:cNvSpPr>
          <p:nvPr/>
        </p:nvSpPr>
        <p:spPr>
          <a:xfrm>
            <a:off x="479424" y="6387743"/>
            <a:ext cx="10715699" cy="3046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4478FF"/>
              </a:buClr>
              <a:buSzPct val="15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era CY" panose="00000500000000000000" pitchFamily="2" charset="-52"/>
                <a:ea typeface="Calibri" panose="020F0502020204030204" pitchFamily="34" charset="0"/>
                <a:cs typeface="+mn-cs"/>
              </a:rPr>
              <a:t>*37%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era CY" panose="00000500000000000000" pitchFamily="2" charset="-52"/>
                <a:ea typeface="Calibri" panose="020F0502020204030204" pitchFamily="34" charset="0"/>
                <a:cs typeface="+mn-cs"/>
              </a:rPr>
              <a:t>компаний заявили о неплатежах со стороны контрагентов,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ra CY" panose="00000500000000000000" pitchFamily="2" charset="-52"/>
                <a:ea typeface="Calibri" panose="020F0502020204030204" pitchFamily="34" charset="0"/>
                <a:cs typeface="+mn-cs"/>
              </a:rPr>
              <a:t>согласно данным РСПП в рамках мониторинга «Состояние российской экономики и деятельности компаний 2024». 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ra CY" panose="00000500000000000000" pitchFamily="2" charset="-52"/>
              <a:ea typeface="Calibri" panose="020F0502020204030204" pitchFamily="34" charset="0"/>
              <a:cs typeface="+mn-cs"/>
            </a:endParaRPr>
          </a:p>
        </p:txBody>
      </p:sp>
      <p:sp>
        <p:nvSpPr>
          <p:cNvPr id="28" name="Текст 4">
            <a:extLst>
              <a:ext uri="{FF2B5EF4-FFF2-40B4-BE49-F238E27FC236}">
                <a16:creationId xmlns:a16="http://schemas.microsoft.com/office/drawing/2014/main" id="{6E896D59-3BBA-4D19-AF36-2DFA6332EC64}"/>
              </a:ext>
            </a:extLst>
          </p:cNvPr>
          <p:cNvSpPr txBox="1">
            <a:spLocks/>
          </p:cNvSpPr>
          <p:nvPr/>
        </p:nvSpPr>
        <p:spPr>
          <a:xfrm>
            <a:off x="4236887" y="2271568"/>
            <a:ext cx="3332639" cy="237649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9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37</a:t>
            </a:r>
            <a:r>
              <a:rPr kumimoji="0" lang="ru-RU" sz="9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A06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  <a:endParaRPr kumimoji="0" lang="ru-RU" sz="9600" b="1" i="0" u="none" strike="noStrike" kern="1200" cap="none" spc="0" normalizeH="0" baseline="0" noProof="0" dirty="0">
              <a:ln>
                <a:noFill/>
              </a:ln>
              <a:solidFill>
                <a:srgbClr val="FFA066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5267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767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07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4">
            <a:extLst>
              <a:ext uri="{FF2B5EF4-FFF2-40B4-BE49-F238E27FC236}">
                <a16:creationId xmlns:a16="http://schemas.microsoft.com/office/drawing/2014/main" id="{6E896D59-3BBA-4D19-AF36-2DFA6332EC64}"/>
              </a:ext>
            </a:extLst>
          </p:cNvPr>
          <p:cNvSpPr txBox="1">
            <a:spLocks/>
          </p:cNvSpPr>
          <p:nvPr/>
        </p:nvSpPr>
        <p:spPr>
          <a:xfrm>
            <a:off x="486197" y="1035314"/>
            <a:ext cx="5609803" cy="237649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9600" b="1" dirty="0">
                <a:solidFill>
                  <a:srgbClr val="2355D7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&gt;</a:t>
            </a:r>
            <a:r>
              <a:rPr kumimoji="0" lang="ru-RU" sz="9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50</a:t>
            </a:r>
            <a:r>
              <a:rPr kumimoji="0" lang="ru-RU" sz="9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A06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  <a:endParaRPr kumimoji="0" lang="ru-RU" sz="9600" b="1" i="0" u="none" strike="noStrike" kern="1200" cap="none" spc="0" normalizeH="0" baseline="0" noProof="0" dirty="0">
              <a:ln>
                <a:noFill/>
              </a:ln>
              <a:solidFill>
                <a:srgbClr val="FFA066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709FA3C2-36A5-414F-A4BC-5815EC0AE1E9}"/>
              </a:ext>
            </a:extLst>
          </p:cNvPr>
          <p:cNvSpPr txBox="1">
            <a:spLocks/>
          </p:cNvSpPr>
          <p:nvPr/>
        </p:nvSpPr>
        <p:spPr>
          <a:xfrm>
            <a:off x="631825" y="3451986"/>
            <a:ext cx="4003675" cy="118186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defPPr>
              <a:defRPr lang="ru-RU"/>
            </a:defPPr>
            <a:lvl1pPr indent="0" defTabSz="914377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>
                <a:latin typeface="Cera CY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>
                <a:latin typeface="Cera CY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>
                <a:latin typeface="Cera CY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>
                <a:latin typeface="Cera CY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just">
              <a:defRPr/>
            </a:pPr>
            <a:r>
              <a:rPr lang="ru-RU" sz="1600" dirty="0">
                <a:solidFill>
                  <a:srgbClr val="000000"/>
                </a:solidFill>
                <a:latin typeface="Cera CY"/>
              </a:rPr>
              <a:t>При текущем уровне </a:t>
            </a:r>
            <a:r>
              <a:rPr lang="ru-RU" sz="1600" dirty="0" smtClean="0">
                <a:solidFill>
                  <a:srgbClr val="000000"/>
                </a:solidFill>
                <a:latin typeface="Cera CY"/>
              </a:rPr>
              <a:t>процентных </a:t>
            </a:r>
            <a:r>
              <a:rPr lang="ru-RU" sz="1600" dirty="0">
                <a:solidFill>
                  <a:srgbClr val="000000"/>
                </a:solidFill>
                <a:latin typeface="Cera CY"/>
              </a:rPr>
              <a:t>ставок, </a:t>
            </a:r>
            <a:r>
              <a:rPr lang="ru-RU" sz="1600" dirty="0" smtClean="0">
                <a:solidFill>
                  <a:srgbClr val="000000"/>
                </a:solidFill>
                <a:latin typeface="Cera CY"/>
              </a:rPr>
              <a:t>для </a:t>
            </a:r>
            <a:r>
              <a:rPr lang="ru-RU" sz="1600" dirty="0">
                <a:solidFill>
                  <a:srgbClr val="000000"/>
                </a:solidFill>
                <a:latin typeface="Cera CY"/>
              </a:rPr>
              <a:t>более 50% предприятий будут недоступны продукты долгового рынка.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9425" y="260350"/>
            <a:ext cx="9288463" cy="360099"/>
          </a:xfrm>
        </p:spPr>
        <p:txBody>
          <a:bodyPr vert="horz"/>
          <a:lstStyle/>
          <a:p>
            <a:r>
              <a:rPr lang="ru-RU" sz="2600" dirty="0">
                <a:solidFill>
                  <a:srgbClr val="000000"/>
                </a:solidFill>
              </a:rPr>
              <a:t>2025: </a:t>
            </a:r>
            <a:r>
              <a:rPr lang="ru-RU" sz="2600" dirty="0" smtClean="0">
                <a:solidFill>
                  <a:srgbClr val="000000"/>
                </a:solidFill>
              </a:rPr>
              <a:t>дефицит оборотных средств</a:t>
            </a:r>
            <a:endParaRPr lang="ru-RU" dirty="0"/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2408993817"/>
              </p:ext>
            </p:extLst>
          </p:nvPr>
        </p:nvGraphicFramePr>
        <p:xfrm>
          <a:off x="5123656" y="476648"/>
          <a:ext cx="5786071" cy="55964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6096000" y="5380429"/>
            <a:ext cx="4660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Диаграмма</a:t>
            </a:r>
            <a:r>
              <a:rPr lang="en-US" sz="12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тражающая индикаторы </a:t>
            </a:r>
            <a:r>
              <a:rPr lang="ru-RU" sz="12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редитоспособности</a:t>
            </a:r>
            <a:r>
              <a:rPr lang="en-US" sz="12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субподрядных компаний в </a:t>
            </a:r>
            <a:r>
              <a:rPr lang="ru-RU" sz="12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марте 2025 гг.* </a:t>
            </a:r>
            <a:endParaRPr lang="ru-RU" sz="12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79425" y="6272564"/>
            <a:ext cx="1056963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4478FF"/>
              </a:buClr>
              <a:buSzPct val="150000"/>
            </a:pPr>
            <a:r>
              <a:rPr lang="ru-RU" sz="1100" dirty="0" smtClean="0">
                <a:latin typeface="Cera CY" panose="00000500000000000000" pitchFamily="2" charset="-52"/>
                <a:ea typeface="Calibri" panose="020F0502020204030204" pitchFamily="34" charset="0"/>
              </a:rPr>
              <a:t>*Аналитический материал подготовлен на основе данных АС БСК: секция «Риски Бизнеса» Банка ГПБ (АО). </a:t>
            </a:r>
            <a:endParaRPr lang="ru-RU" sz="1100" dirty="0">
              <a:latin typeface="Cera CY" panose="00000500000000000000" pitchFamily="2" charset="-52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078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7119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47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59B3632B-C17D-4C6B-9CA4-B5B26A60E3C6}"/>
              </a:ext>
            </a:extLst>
          </p:cNvPr>
          <p:cNvSpPr/>
          <p:nvPr/>
        </p:nvSpPr>
        <p:spPr>
          <a:xfrm>
            <a:off x="476493" y="4053185"/>
            <a:ext cx="8162502" cy="2179381"/>
          </a:xfrm>
          <a:prstGeom prst="roundRect">
            <a:avLst>
              <a:gd name="adj" fmla="val 5526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E87147A8-451A-4699-9ACA-DE475A103D5D}"/>
              </a:ext>
            </a:extLst>
          </p:cNvPr>
          <p:cNvSpPr/>
          <p:nvPr/>
        </p:nvSpPr>
        <p:spPr>
          <a:xfrm>
            <a:off x="486196" y="1444317"/>
            <a:ext cx="8162503" cy="2455862"/>
          </a:xfrm>
          <a:prstGeom prst="roundRect">
            <a:avLst>
              <a:gd name="adj" fmla="val 5526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8E2AF2DE-5C87-4EAF-BF66-B97003E95967}"/>
              </a:ext>
            </a:extLst>
          </p:cNvPr>
          <p:cNvSpPr/>
          <p:nvPr/>
        </p:nvSpPr>
        <p:spPr>
          <a:xfrm>
            <a:off x="8801101" y="4021394"/>
            <a:ext cx="2911474" cy="2179381"/>
          </a:xfrm>
          <a:prstGeom prst="roundRect">
            <a:avLst>
              <a:gd name="adj" fmla="val 5526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12161821-918A-4DAD-85BC-6B70A781E53E}"/>
              </a:ext>
            </a:extLst>
          </p:cNvPr>
          <p:cNvSpPr/>
          <p:nvPr/>
        </p:nvSpPr>
        <p:spPr>
          <a:xfrm>
            <a:off x="8801101" y="1454579"/>
            <a:ext cx="2911474" cy="2445600"/>
          </a:xfrm>
          <a:prstGeom prst="roundRect">
            <a:avLst>
              <a:gd name="adj" fmla="val 5526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7" name="Текст 4">
            <a:extLst>
              <a:ext uri="{FF2B5EF4-FFF2-40B4-BE49-F238E27FC236}">
                <a16:creationId xmlns:a16="http://schemas.microsoft.com/office/drawing/2014/main" id="{F56A5439-A4DD-43F9-A096-EC7B72A05961}"/>
              </a:ext>
            </a:extLst>
          </p:cNvPr>
          <p:cNvSpPr txBox="1">
            <a:spLocks/>
          </p:cNvSpPr>
          <p:nvPr/>
        </p:nvSpPr>
        <p:spPr>
          <a:xfrm>
            <a:off x="9081194" y="1658585"/>
            <a:ext cx="2624610" cy="20581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 sz="12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ea typeface="Tahoma" panose="020B0604030504040204" pitchFamily="34" charset="0"/>
                <a:cs typeface="Tahoma" panose="020B0604030504040204" pitchFamily="34" charset="0"/>
              </a:rPr>
              <a:t>ОБЪЕМ ИНВЕСТИЦИЙ </a:t>
            </a:r>
            <a:r>
              <a:rPr lang="ru-RU" sz="1400" b="1" dirty="0" smtClean="0">
                <a:ea typeface="Tahoma" panose="020B0604030504040204" pitchFamily="34" charset="0"/>
                <a:cs typeface="Tahoma" panose="020B0604030504040204" pitchFamily="34" charset="0"/>
              </a:rPr>
              <a:t>в основной капитал </a:t>
            </a:r>
            <a:r>
              <a:rPr lang="en-US" sz="1400" b="1" dirty="0" smtClean="0"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1400" b="1" dirty="0" smtClean="0">
                <a:ea typeface="Tahoma" panose="020B0604030504040204" pitchFamily="34" charset="0"/>
                <a:cs typeface="Tahoma" panose="020B0604030504040204" pitchFamily="34" charset="0"/>
              </a:rPr>
              <a:t>РФ</a:t>
            </a:r>
            <a:endParaRPr lang="en-US" sz="1400" b="1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 sz="12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 smtClean="0">
                <a:ea typeface="Tahoma" panose="020B0604030504040204" pitchFamily="34" charset="0"/>
                <a:cs typeface="Tahoma" panose="020B0604030504040204" pitchFamily="34" charset="0"/>
              </a:rPr>
              <a:t>в текущих ценах (млн долларов США)</a:t>
            </a:r>
            <a:r>
              <a:rPr lang="en-US" sz="1200" dirty="0" smtClean="0"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endParaRPr lang="ru-RU" sz="1200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13-16 падение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-66%</a:t>
            </a:r>
          </a:p>
          <a:p>
            <a:pPr marL="0" marR="0" lvl="0" indent="0" algn="l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400" baseline="0" dirty="0" smtClean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22-25 падение </a:t>
            </a:r>
            <a:r>
              <a:rPr lang="ru-RU" sz="2000" b="1" baseline="0" dirty="0" smtClean="0">
                <a:solidFill>
                  <a:srgbClr val="FF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-58%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Текст 4">
            <a:extLst>
              <a:ext uri="{FF2B5EF4-FFF2-40B4-BE49-F238E27FC236}">
                <a16:creationId xmlns:a16="http://schemas.microsoft.com/office/drawing/2014/main" id="{B78EB4C6-4DE4-4E35-B2CC-ECBD1923D0AB}"/>
              </a:ext>
            </a:extLst>
          </p:cNvPr>
          <p:cNvSpPr txBox="1">
            <a:spLocks/>
          </p:cNvSpPr>
          <p:nvPr/>
        </p:nvSpPr>
        <p:spPr>
          <a:xfrm>
            <a:off x="9093201" y="4240367"/>
            <a:ext cx="2624611" cy="1116203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 sz="12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АНКРОТС</a:t>
            </a:r>
            <a:r>
              <a:rPr lang="ru-RU" sz="1400" b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Т</a:t>
            </a:r>
            <a:r>
              <a:rPr lang="ru-RU" sz="1400" b="1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А ЮЛ </a:t>
            </a:r>
            <a:r>
              <a:rPr lang="en-US" sz="1400" b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1400" b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Ф</a:t>
            </a:r>
            <a:endParaRPr lang="en-US" sz="1400" b="1" dirty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  <a:defRPr sz="12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год*</a:t>
            </a:r>
            <a:r>
              <a:rPr lang="en-US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r>
              <a:rPr lang="ru-RU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endParaRPr lang="ru-RU" sz="1200" dirty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0" indent="0" defTabSz="914377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None/>
              <a:defRPr/>
            </a:pPr>
            <a:r>
              <a:rPr lang="ru-RU" sz="1400" dirty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1400" dirty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00" dirty="0" smtClean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023-25 рост </a:t>
            </a:r>
            <a:r>
              <a:rPr lang="en-US" sz="1400" b="1" dirty="0" smtClean="0">
                <a:solidFill>
                  <a:srgbClr val="FF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~</a:t>
            </a:r>
            <a:r>
              <a:rPr lang="ru-RU" sz="2000" b="1" dirty="0" smtClean="0">
                <a:solidFill>
                  <a:srgbClr val="FF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50%</a:t>
            </a:r>
            <a:endParaRPr lang="ru-RU" sz="2000" b="1" dirty="0">
              <a:solidFill>
                <a:srgbClr val="FF0000"/>
              </a:solidFill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D3BC87A-CE7A-43C8-9708-E035CFF0263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A9CFFD-EE99-4E11-B8BC-23AC5DDB75ED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9425" y="260350"/>
            <a:ext cx="9288463" cy="360099"/>
          </a:xfrm>
        </p:spPr>
        <p:txBody>
          <a:bodyPr vert="horz"/>
          <a:lstStyle/>
          <a:p>
            <a:r>
              <a:rPr lang="ru-RU" sz="2600" dirty="0">
                <a:solidFill>
                  <a:srgbClr val="000000"/>
                </a:solidFill>
              </a:rPr>
              <a:t>2025: </a:t>
            </a:r>
            <a:r>
              <a:rPr lang="ru-RU" sz="2600" dirty="0" smtClean="0">
                <a:solidFill>
                  <a:srgbClr val="000000"/>
                </a:solidFill>
              </a:rPr>
              <a:t>растущий риск банкротств </a:t>
            </a:r>
            <a:endParaRPr lang="ru-RU" dirty="0"/>
          </a:p>
        </p:txBody>
      </p:sp>
      <p:graphicFrame>
        <p:nvGraphicFramePr>
          <p:cNvPr id="27" name="Диаграмма 26"/>
          <p:cNvGraphicFramePr/>
          <p:nvPr>
            <p:extLst>
              <p:ext uri="{D42A27DB-BD31-4B8C-83A1-F6EECF244321}">
                <p14:modId xmlns:p14="http://schemas.microsoft.com/office/powerpoint/2010/main" val="3157074298"/>
              </p:ext>
            </p:extLst>
          </p:nvPr>
        </p:nvGraphicFramePr>
        <p:xfrm>
          <a:off x="486197" y="875815"/>
          <a:ext cx="7664272" cy="3054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9" name="Овал 28"/>
          <p:cNvSpPr/>
          <p:nvPr/>
        </p:nvSpPr>
        <p:spPr>
          <a:xfrm>
            <a:off x="3542246" y="2039004"/>
            <a:ext cx="185692" cy="182033"/>
          </a:xfrm>
          <a:prstGeom prst="ellipse">
            <a:avLst/>
          </a:prstGeom>
          <a:solidFill>
            <a:srgbClr val="D5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497970" y="1106710"/>
            <a:ext cx="714765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latin typeface="Cera CY" panose="00000500000000000000" pitchFamily="2" charset="-52"/>
              </a:rPr>
              <a:t>*Отчет Евразийской экономической комиссии: </a:t>
            </a:r>
            <a:r>
              <a:rPr lang="ru-RU" sz="1100" dirty="0">
                <a:latin typeface="Cera CY" panose="00000500000000000000" pitchFamily="2" charset="-52"/>
              </a:rPr>
              <a:t>Инвестиции в основной капитал. </a:t>
            </a:r>
          </a:p>
        </p:txBody>
      </p:sp>
      <p:sp>
        <p:nvSpPr>
          <p:cNvPr id="33" name="Овал 32"/>
          <p:cNvSpPr/>
          <p:nvPr/>
        </p:nvSpPr>
        <p:spPr>
          <a:xfrm>
            <a:off x="4587543" y="2382220"/>
            <a:ext cx="185692" cy="182033"/>
          </a:xfrm>
          <a:prstGeom prst="ellipse">
            <a:avLst/>
          </a:prstGeom>
          <a:solidFill>
            <a:srgbClr val="D5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Овал 33"/>
          <p:cNvSpPr/>
          <p:nvPr/>
        </p:nvSpPr>
        <p:spPr>
          <a:xfrm>
            <a:off x="6681093" y="2035361"/>
            <a:ext cx="185692" cy="182033"/>
          </a:xfrm>
          <a:prstGeom prst="ellipse">
            <a:avLst/>
          </a:prstGeom>
          <a:solidFill>
            <a:srgbClr val="D5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Овал 34"/>
          <p:cNvSpPr/>
          <p:nvPr/>
        </p:nvSpPr>
        <p:spPr>
          <a:xfrm>
            <a:off x="7724869" y="2368970"/>
            <a:ext cx="185692" cy="182033"/>
          </a:xfrm>
          <a:prstGeom prst="ellipse">
            <a:avLst/>
          </a:prstGeom>
          <a:pattFill prst="lgCheck">
            <a:fgClr>
              <a:srgbClr val="D50000"/>
            </a:fgClr>
            <a:bgClr>
              <a:schemeClr val="bg1"/>
            </a:bgClr>
          </a:pattFill>
          <a:ln>
            <a:solidFill>
              <a:srgbClr val="D5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7" name="Диаграмма 36"/>
          <p:cNvGraphicFramePr/>
          <p:nvPr>
            <p:extLst>
              <p:ext uri="{D42A27DB-BD31-4B8C-83A1-F6EECF244321}">
                <p14:modId xmlns:p14="http://schemas.microsoft.com/office/powerpoint/2010/main" val="1788187167"/>
              </p:ext>
            </p:extLst>
          </p:nvPr>
        </p:nvGraphicFramePr>
        <p:xfrm>
          <a:off x="844062" y="3507307"/>
          <a:ext cx="7263282" cy="2883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8" name="Прямоугольник 37"/>
          <p:cNvSpPr/>
          <p:nvPr/>
        </p:nvSpPr>
        <p:spPr>
          <a:xfrm>
            <a:off x="407109" y="6232566"/>
            <a:ext cx="10657386" cy="5058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 smtClean="0">
                <a:solidFill>
                  <a:schemeClr val="tx1"/>
                </a:solidFill>
                <a:latin typeface="+mj-lt"/>
              </a:rPr>
              <a:t>***Согласно </a:t>
            </a:r>
            <a:r>
              <a:rPr lang="ru-RU" sz="1100" dirty="0">
                <a:solidFill>
                  <a:schemeClr val="tx1"/>
                </a:solidFill>
                <a:latin typeface="+mj-lt"/>
              </a:rPr>
              <a:t>данным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Единого федерального реестра </a:t>
            </a:r>
            <a:r>
              <a:rPr lang="ru-RU" sz="1100" dirty="0">
                <a:solidFill>
                  <a:schemeClr val="tx1"/>
                </a:solidFill>
                <a:latin typeface="+mj-lt"/>
              </a:rPr>
              <a:t>юридически значимых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сведений о </a:t>
            </a:r>
            <a:r>
              <a:rPr lang="ru-RU" sz="1100" dirty="0">
                <a:solidFill>
                  <a:schemeClr val="tx1"/>
                </a:solidFill>
                <a:latin typeface="+mj-lt"/>
              </a:rPr>
              <a:t>фактах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деятельности </a:t>
            </a:r>
            <a:r>
              <a:rPr lang="ru-RU" sz="1100" dirty="0">
                <a:solidFill>
                  <a:schemeClr val="tx1"/>
                </a:solidFill>
                <a:latin typeface="+mj-lt"/>
              </a:rPr>
              <a:t>юридических лиц, индивидуальных предпринимателей и иных субъектов экономической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деятельности, 2020 -</a:t>
            </a:r>
            <a:r>
              <a:rPr lang="en-US" sz="11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2024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9" name="Овал 38"/>
          <p:cNvSpPr/>
          <p:nvPr/>
        </p:nvSpPr>
        <p:spPr>
          <a:xfrm>
            <a:off x="7632023" y="4427743"/>
            <a:ext cx="185692" cy="182033"/>
          </a:xfrm>
          <a:prstGeom prst="ellipse">
            <a:avLst/>
          </a:prstGeom>
          <a:pattFill prst="lgCheck">
            <a:fgClr>
              <a:srgbClr val="D50000"/>
            </a:fgClr>
            <a:bgClr>
              <a:schemeClr val="bg1"/>
            </a:bgClr>
          </a:pattFill>
          <a:ln>
            <a:solidFill>
              <a:srgbClr val="D5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Овал 39"/>
          <p:cNvSpPr/>
          <p:nvPr/>
        </p:nvSpPr>
        <p:spPr>
          <a:xfrm>
            <a:off x="6906977" y="4852609"/>
            <a:ext cx="185692" cy="182033"/>
          </a:xfrm>
          <a:prstGeom prst="ellipse">
            <a:avLst/>
          </a:prstGeom>
          <a:solidFill>
            <a:srgbClr val="D5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Овал 40"/>
          <p:cNvSpPr/>
          <p:nvPr/>
        </p:nvSpPr>
        <p:spPr>
          <a:xfrm>
            <a:off x="3835867" y="4498663"/>
            <a:ext cx="185692" cy="182033"/>
          </a:xfrm>
          <a:prstGeom prst="ellipse">
            <a:avLst/>
          </a:prstGeom>
          <a:solidFill>
            <a:srgbClr val="D5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415467" y="198540"/>
            <a:ext cx="3470003" cy="816359"/>
          </a:xfrm>
          <a:prstGeom prst="roundRect">
            <a:avLst/>
          </a:prstGeom>
          <a:solidFill>
            <a:srgbClr val="FFAB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latin typeface="Cera CY" panose="00000500000000000000" pitchFamily="2" charset="-52"/>
              </a:rPr>
              <a:t>Каждая </a:t>
            </a:r>
            <a:r>
              <a:rPr lang="ru-RU" sz="1400" b="1" dirty="0">
                <a:latin typeface="Cera CY" panose="00000500000000000000" pitchFamily="2" charset="-52"/>
              </a:rPr>
              <a:t>5-ая компания, признанная несостоятельной – представитель строительной </a:t>
            </a:r>
            <a:r>
              <a:rPr lang="ru-RU" sz="1400" b="1" dirty="0" smtClean="0">
                <a:latin typeface="Cera CY" panose="00000500000000000000" pitchFamily="2" charset="-52"/>
              </a:rPr>
              <a:t>отрасли*</a:t>
            </a:r>
            <a:r>
              <a:rPr lang="en-US" sz="1400" b="1" dirty="0" smtClean="0">
                <a:latin typeface="Cera CY" panose="00000500000000000000" pitchFamily="2" charset="-52"/>
              </a:rPr>
              <a:t>*</a:t>
            </a:r>
            <a:r>
              <a:rPr lang="ru-RU" sz="1400" b="1" dirty="0" smtClean="0">
                <a:latin typeface="Cera CY" panose="00000500000000000000" pitchFamily="2" charset="-52"/>
              </a:rPr>
              <a:t>. </a:t>
            </a:r>
            <a:endParaRPr lang="ru-RU" sz="1400" b="1" dirty="0">
              <a:latin typeface="Cera CY" panose="00000500000000000000" pitchFamily="2" charset="-52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415467" y="1112501"/>
            <a:ext cx="411925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4478FF"/>
              </a:buClr>
              <a:buSzPct val="150000"/>
            </a:pPr>
            <a:r>
              <a:rPr lang="en-US" sz="1100" dirty="0" smtClean="0">
                <a:latin typeface="Cera CY" panose="00000500000000000000" pitchFamily="2" charset="-52"/>
                <a:ea typeface="Calibri" panose="020F0502020204030204" pitchFamily="34" charset="0"/>
              </a:rPr>
              <a:t>*</a:t>
            </a:r>
            <a:r>
              <a:rPr lang="ru-RU" sz="1100" dirty="0" smtClean="0">
                <a:latin typeface="Cera CY" panose="00000500000000000000" pitchFamily="2" charset="-52"/>
                <a:ea typeface="Calibri" panose="020F0502020204030204" pitchFamily="34" charset="0"/>
              </a:rPr>
              <a:t>*Согласно данным отчета ЦМАКП от</a:t>
            </a:r>
            <a:r>
              <a:rPr lang="en-US" sz="1100" dirty="0" smtClean="0">
                <a:latin typeface="Cera CY" panose="00000500000000000000" pitchFamily="2" charset="-52"/>
                <a:ea typeface="Calibri" panose="020F0502020204030204" pitchFamily="34" charset="0"/>
              </a:rPr>
              <a:t> </a:t>
            </a:r>
            <a:r>
              <a:rPr lang="ru-RU" sz="1100" dirty="0" smtClean="0">
                <a:latin typeface="Cera CY" panose="00000500000000000000" pitchFamily="2" charset="-52"/>
                <a:ea typeface="Calibri" panose="020F0502020204030204" pitchFamily="34" charset="0"/>
              </a:rPr>
              <a:t>19.01.2021</a:t>
            </a:r>
            <a:r>
              <a:rPr lang="ru-RU" sz="1100" b="1" dirty="0" smtClean="0">
                <a:latin typeface="Cera CY" panose="00000500000000000000" pitchFamily="2" charset="-52"/>
                <a:ea typeface="Calibri" panose="020F0502020204030204" pitchFamily="34" charset="0"/>
              </a:rPr>
              <a:t> </a:t>
            </a:r>
            <a:endParaRPr lang="ru-RU" sz="1100" b="1" dirty="0">
              <a:latin typeface="Cera CY" panose="00000500000000000000" pitchFamily="2" charset="-52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0255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3331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83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A025212C-41CA-4280-B47B-72DF7F850FD9}"/>
              </a:ext>
            </a:extLst>
          </p:cNvPr>
          <p:cNvGrpSpPr/>
          <p:nvPr/>
        </p:nvGrpSpPr>
        <p:grpSpPr>
          <a:xfrm>
            <a:off x="4574992" y="1186317"/>
            <a:ext cx="6282213" cy="5047356"/>
            <a:chOff x="382856" y="1199496"/>
            <a:chExt cx="7477937" cy="6008042"/>
          </a:xfrm>
          <a:scene3d>
            <a:camera prst="orthographicFront">
              <a:rot lat="0" lon="0" rev="0"/>
            </a:camera>
            <a:lightRig rig="threePt" dir="t"/>
          </a:scene3d>
        </p:grpSpPr>
        <p:sp>
          <p:nvSpPr>
            <p:cNvPr id="38" name="Shape">
              <a:extLst>
                <a:ext uri="{FF2B5EF4-FFF2-40B4-BE49-F238E27FC236}">
                  <a16:creationId xmlns:a16="http://schemas.microsoft.com/office/drawing/2014/main" id="{BE80C3A0-B5C9-47C2-8598-795FD49CB3C8}"/>
                </a:ext>
              </a:extLst>
            </p:cNvPr>
            <p:cNvSpPr/>
            <p:nvPr/>
          </p:nvSpPr>
          <p:spPr>
            <a:xfrm>
              <a:off x="3115362" y="1199496"/>
              <a:ext cx="1980666" cy="1503605"/>
            </a:xfrm>
            <a:custGeom>
              <a:avLst/>
              <a:gdLst>
                <a:gd name="connsiteX0" fmla="*/ 10927 w 21600"/>
                <a:gd name="connsiteY0" fmla="*/ 0 h 37254"/>
                <a:gd name="connsiteX1" fmla="*/ 5473 w 21600"/>
                <a:gd name="connsiteY1" fmla="*/ 15654 h 37254"/>
                <a:gd name="connsiteX2" fmla="*/ 0 w 21600"/>
                <a:gd name="connsiteY2" fmla="*/ 37254 h 37254"/>
                <a:gd name="connsiteX3" fmla="*/ 21600 w 21600"/>
                <a:gd name="connsiteY3" fmla="*/ 37254 h 37254"/>
                <a:gd name="connsiteX4" fmla="*/ 10927 w 21600"/>
                <a:gd name="connsiteY4" fmla="*/ 0 h 37254"/>
                <a:gd name="connsiteX0" fmla="*/ 10927 w 21600"/>
                <a:gd name="connsiteY0" fmla="*/ 0 h 37254"/>
                <a:gd name="connsiteX1" fmla="*/ 6112 w 21600"/>
                <a:gd name="connsiteY1" fmla="*/ 17103 h 37254"/>
                <a:gd name="connsiteX2" fmla="*/ 0 w 21600"/>
                <a:gd name="connsiteY2" fmla="*/ 37254 h 37254"/>
                <a:gd name="connsiteX3" fmla="*/ 21600 w 21600"/>
                <a:gd name="connsiteY3" fmla="*/ 37254 h 37254"/>
                <a:gd name="connsiteX4" fmla="*/ 10927 w 21600"/>
                <a:gd name="connsiteY4" fmla="*/ 0 h 37254"/>
                <a:gd name="connsiteX0" fmla="*/ 10927 w 21600"/>
                <a:gd name="connsiteY0" fmla="*/ 0 h 37254"/>
                <a:gd name="connsiteX1" fmla="*/ 5826 w 21600"/>
                <a:gd name="connsiteY1" fmla="*/ 17535 h 37254"/>
                <a:gd name="connsiteX2" fmla="*/ 0 w 21600"/>
                <a:gd name="connsiteY2" fmla="*/ 37254 h 37254"/>
                <a:gd name="connsiteX3" fmla="*/ 21600 w 21600"/>
                <a:gd name="connsiteY3" fmla="*/ 37254 h 37254"/>
                <a:gd name="connsiteX4" fmla="*/ 10927 w 21600"/>
                <a:gd name="connsiteY4" fmla="*/ 0 h 37254"/>
                <a:gd name="connsiteX0" fmla="*/ 10736 w 21600"/>
                <a:gd name="connsiteY0" fmla="*/ 0 h 37182"/>
                <a:gd name="connsiteX1" fmla="*/ 5826 w 21600"/>
                <a:gd name="connsiteY1" fmla="*/ 17463 h 37182"/>
                <a:gd name="connsiteX2" fmla="*/ 0 w 21600"/>
                <a:gd name="connsiteY2" fmla="*/ 37182 h 37182"/>
                <a:gd name="connsiteX3" fmla="*/ 21600 w 21600"/>
                <a:gd name="connsiteY3" fmla="*/ 37182 h 37182"/>
                <a:gd name="connsiteX4" fmla="*/ 10736 w 21600"/>
                <a:gd name="connsiteY4" fmla="*/ 0 h 37182"/>
                <a:gd name="connsiteX0" fmla="*/ 10736 w 21600"/>
                <a:gd name="connsiteY0" fmla="*/ 0 h 37182"/>
                <a:gd name="connsiteX1" fmla="*/ 5731 w 21600"/>
                <a:gd name="connsiteY1" fmla="*/ 16959 h 37182"/>
                <a:gd name="connsiteX2" fmla="*/ 0 w 21600"/>
                <a:gd name="connsiteY2" fmla="*/ 37182 h 37182"/>
                <a:gd name="connsiteX3" fmla="*/ 21600 w 21600"/>
                <a:gd name="connsiteY3" fmla="*/ 37182 h 37182"/>
                <a:gd name="connsiteX4" fmla="*/ 10736 w 21600"/>
                <a:gd name="connsiteY4" fmla="*/ 0 h 37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00" h="37182" extrusionOk="0">
                  <a:moveTo>
                    <a:pt x="10736" y="0"/>
                  </a:moveTo>
                  <a:lnTo>
                    <a:pt x="5731" y="16959"/>
                  </a:lnTo>
                  <a:lnTo>
                    <a:pt x="0" y="37182"/>
                  </a:lnTo>
                  <a:lnTo>
                    <a:pt x="21600" y="37182"/>
                  </a:lnTo>
                  <a:lnTo>
                    <a:pt x="10736" y="0"/>
                  </a:lnTo>
                  <a:close/>
                </a:path>
              </a:pathLst>
            </a:cu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defTabSz="912828">
                <a:defRPr sz="1800" b="0">
                  <a:solidFill>
                    <a:srgbClr val="4AA4A7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797" kern="0" dirty="0">
                <a:solidFill>
                  <a:schemeClr val="accent6"/>
                </a:solidFill>
                <a:latin typeface="Cera CY" panose="00000500000000000000" pitchFamily="50" charset="-52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Email">
              <a:extLst>
                <a:ext uri="{FF2B5EF4-FFF2-40B4-BE49-F238E27FC236}">
                  <a16:creationId xmlns:a16="http://schemas.microsoft.com/office/drawing/2014/main" id="{D38C44F7-F263-45FF-BB45-CA3D283A4AEF}"/>
                </a:ext>
              </a:extLst>
            </p:cNvPr>
            <p:cNvSpPr txBox="1"/>
            <p:nvPr/>
          </p:nvSpPr>
          <p:spPr>
            <a:xfrm>
              <a:off x="4107550" y="1838775"/>
              <a:ext cx="121" cy="8928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>
                <a:lnSpc>
                  <a:spcPct val="120000"/>
                </a:lnSpc>
                <a:defRPr sz="2600">
                  <a:solidFill>
                    <a:srgbClr val="F6FAFF"/>
                  </a:solidFill>
                  <a:latin typeface="Aileron"/>
                  <a:ea typeface="Aileron"/>
                  <a:cs typeface="Aileron"/>
                  <a:sym typeface="Aileron"/>
                </a:defRPr>
              </a:lvl1pPr>
            </a:lstStyle>
            <a:p>
              <a:pPr algn="ctr" defTabSz="912828">
                <a:defRPr/>
              </a:pPr>
              <a:endParaRPr sz="2596" kern="0" dirty="0">
                <a:latin typeface="Cera CY"/>
              </a:endParaRPr>
            </a:p>
          </p:txBody>
        </p:sp>
        <p:sp>
          <p:nvSpPr>
            <p:cNvPr id="40" name="Shape">
              <a:extLst>
                <a:ext uri="{FF2B5EF4-FFF2-40B4-BE49-F238E27FC236}">
                  <a16:creationId xmlns:a16="http://schemas.microsoft.com/office/drawing/2014/main" id="{CE523DDA-0980-4F76-8824-03FC3D4E7973}"/>
                </a:ext>
              </a:extLst>
            </p:cNvPr>
            <p:cNvSpPr/>
            <p:nvPr/>
          </p:nvSpPr>
          <p:spPr>
            <a:xfrm>
              <a:off x="2456025" y="2928132"/>
              <a:ext cx="3325370" cy="8734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65" y="0"/>
                  </a:moveTo>
                  <a:lnTo>
                    <a:pt x="3235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18365" y="0"/>
                  </a:lnTo>
                  <a:close/>
                </a:path>
              </a:pathLst>
            </a:custGeom>
            <a:solidFill>
              <a:schemeClr val="accent3">
                <a:lumMod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defTabSz="912828">
                <a:defRPr sz="1800" b="0">
                  <a:solidFill>
                    <a:srgbClr val="2E3239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797" kern="0" dirty="0">
                <a:solidFill>
                  <a:srgbClr val="2E3239"/>
                </a:solidFill>
                <a:latin typeface="Cera CY" panose="00000500000000000000" pitchFamily="50" charset="-52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Marketing">
              <a:extLst>
                <a:ext uri="{FF2B5EF4-FFF2-40B4-BE49-F238E27FC236}">
                  <a16:creationId xmlns:a16="http://schemas.microsoft.com/office/drawing/2014/main" id="{874FEA51-A4A3-4998-AB23-C35CD3AE989B}"/>
                </a:ext>
              </a:extLst>
            </p:cNvPr>
            <p:cNvSpPr txBox="1"/>
            <p:nvPr/>
          </p:nvSpPr>
          <p:spPr>
            <a:xfrm>
              <a:off x="4118649" y="2937289"/>
              <a:ext cx="121" cy="8928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>
                <a:lnSpc>
                  <a:spcPct val="120000"/>
                </a:lnSpc>
                <a:defRPr sz="2600">
                  <a:solidFill>
                    <a:srgbClr val="F6FAFF"/>
                  </a:solidFill>
                  <a:latin typeface="Aileron"/>
                  <a:ea typeface="Aileron"/>
                  <a:cs typeface="Aileron"/>
                  <a:sym typeface="Aileron"/>
                </a:defRPr>
              </a:lvl1pPr>
            </a:lstStyle>
            <a:p>
              <a:pPr algn="ctr" defTabSz="912828">
                <a:defRPr/>
              </a:pPr>
              <a:endParaRPr sz="2596" kern="0" dirty="0">
                <a:latin typeface="Cera CY"/>
              </a:endParaRPr>
            </a:p>
          </p:txBody>
        </p:sp>
        <p:sp>
          <p:nvSpPr>
            <p:cNvPr id="42" name="Shape">
              <a:extLst>
                <a:ext uri="{FF2B5EF4-FFF2-40B4-BE49-F238E27FC236}">
                  <a16:creationId xmlns:a16="http://schemas.microsoft.com/office/drawing/2014/main" id="{D39B61F8-0084-4ABD-A1F5-1E6F67AE6301}"/>
                </a:ext>
              </a:extLst>
            </p:cNvPr>
            <p:cNvSpPr/>
            <p:nvPr/>
          </p:nvSpPr>
          <p:spPr>
            <a:xfrm>
              <a:off x="1781756" y="4027670"/>
              <a:ext cx="4673907" cy="8734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9281" y="0"/>
                  </a:lnTo>
                  <a:lnTo>
                    <a:pt x="2319" y="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defTabSz="912828">
                <a:defRPr sz="1800" b="0">
                  <a:solidFill>
                    <a:srgbClr val="2E3239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797" kern="0" dirty="0">
                <a:solidFill>
                  <a:srgbClr val="2E3239"/>
                </a:solidFill>
                <a:latin typeface="Cera CY" panose="00000500000000000000" pitchFamily="50" charset="-52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Shape">
              <a:extLst>
                <a:ext uri="{FF2B5EF4-FFF2-40B4-BE49-F238E27FC236}">
                  <a16:creationId xmlns:a16="http://schemas.microsoft.com/office/drawing/2014/main" id="{B449908F-16B7-4B29-9A82-93094D55230E}"/>
                </a:ext>
              </a:extLst>
            </p:cNvPr>
            <p:cNvSpPr/>
            <p:nvPr/>
          </p:nvSpPr>
          <p:spPr>
            <a:xfrm>
              <a:off x="1107487" y="5130048"/>
              <a:ext cx="6030107" cy="8734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9775" y="0"/>
                  </a:lnTo>
                  <a:lnTo>
                    <a:pt x="1798" y="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defTabSz="912828">
                <a:defRPr sz="1800" b="0">
                  <a:solidFill>
                    <a:srgbClr val="2E3239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797" kern="0" dirty="0">
                <a:solidFill>
                  <a:srgbClr val="2E3239"/>
                </a:solidFill>
                <a:latin typeface="Cera CY" panose="00000500000000000000" pitchFamily="50" charset="-52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Shape">
              <a:extLst>
                <a:ext uri="{FF2B5EF4-FFF2-40B4-BE49-F238E27FC236}">
                  <a16:creationId xmlns:a16="http://schemas.microsoft.com/office/drawing/2014/main" id="{EACFEBD7-E3AB-474B-9C00-1D17D9ECB6DE}"/>
                </a:ext>
              </a:extLst>
            </p:cNvPr>
            <p:cNvSpPr/>
            <p:nvPr/>
          </p:nvSpPr>
          <p:spPr>
            <a:xfrm>
              <a:off x="382856" y="6360183"/>
              <a:ext cx="7477937" cy="847355"/>
            </a:xfrm>
            <a:custGeom>
              <a:avLst/>
              <a:gdLst>
                <a:gd name="connsiteX0" fmla="*/ 0 w 21600"/>
                <a:gd name="connsiteY0" fmla="*/ 21600 h 21600"/>
                <a:gd name="connsiteX1" fmla="*/ 21600 w 21600"/>
                <a:gd name="connsiteY1" fmla="*/ 21600 h 21600"/>
                <a:gd name="connsiteX2" fmla="*/ 19775 w 21600"/>
                <a:gd name="connsiteY2" fmla="*/ 0 h 21600"/>
                <a:gd name="connsiteX3" fmla="*/ 1662 w 21600"/>
                <a:gd name="connsiteY3" fmla="*/ 0 h 21600"/>
                <a:gd name="connsiteX4" fmla="*/ 0 w 21600"/>
                <a:gd name="connsiteY4" fmla="*/ 21600 h 21600"/>
                <a:gd name="connsiteX0" fmla="*/ 0 w 21600"/>
                <a:gd name="connsiteY0" fmla="*/ 21600 h 21600"/>
                <a:gd name="connsiteX1" fmla="*/ 21600 w 21600"/>
                <a:gd name="connsiteY1" fmla="*/ 21600 h 21600"/>
                <a:gd name="connsiteX2" fmla="*/ 19941 w 21600"/>
                <a:gd name="connsiteY2" fmla="*/ 0 h 21600"/>
                <a:gd name="connsiteX3" fmla="*/ 1662 w 21600"/>
                <a:gd name="connsiteY3" fmla="*/ 0 h 21600"/>
                <a:gd name="connsiteX4" fmla="*/ 0 w 21600"/>
                <a:gd name="connsiteY4" fmla="*/ 21600 h 2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9941" y="0"/>
                  </a:lnTo>
                  <a:lnTo>
                    <a:pt x="1662" y="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defTabSz="912828">
                <a:defRPr/>
              </a:pPr>
              <a:endParaRPr sz="1797" kern="0" dirty="0">
                <a:solidFill>
                  <a:srgbClr val="2E3239"/>
                </a:solidFill>
                <a:latin typeface="Cera CY" panose="00000500000000000000" pitchFamily="50" charset="-52"/>
                <a:cs typeface="Calibri"/>
              </a:endParaRPr>
            </a:p>
          </p:txBody>
        </p:sp>
      </p:grp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66B4602C-2D96-4CD8-B407-402D7F1F93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A9CFFD-EE99-4E11-B8BC-23AC5DDB75ED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79425" y="260350"/>
            <a:ext cx="9288463" cy="360099"/>
          </a:xfrm>
        </p:spPr>
        <p:txBody>
          <a:bodyPr vert="horz"/>
          <a:lstStyle/>
          <a:p>
            <a:r>
              <a:rPr lang="ru-RU" sz="2600" dirty="0">
                <a:solidFill>
                  <a:srgbClr val="000000"/>
                </a:solidFill>
              </a:rPr>
              <a:t>2025</a:t>
            </a:r>
            <a:r>
              <a:rPr lang="ru-RU" sz="2000" dirty="0">
                <a:solidFill>
                  <a:srgbClr val="000000"/>
                </a:solidFill>
              </a:rPr>
              <a:t>: </a:t>
            </a:r>
            <a:r>
              <a:rPr lang="ru-RU" sz="2000" dirty="0" smtClean="0">
                <a:solidFill>
                  <a:srgbClr val="000000"/>
                </a:solidFill>
              </a:rPr>
              <a:t>инструмент успешной реализации проектов</a:t>
            </a:r>
            <a:endParaRPr lang="ru-RU" sz="2000" dirty="0"/>
          </a:p>
        </p:txBody>
      </p:sp>
      <p:sp>
        <p:nvSpPr>
          <p:cNvPr id="6" name="Прямоугольник: скругленные углы 37">
            <a:extLst>
              <a:ext uri="{FF2B5EF4-FFF2-40B4-BE49-F238E27FC236}">
                <a16:creationId xmlns:a16="http://schemas.microsoft.com/office/drawing/2014/main" id="{6BD27D8C-B410-4DF7-8A23-C4081CFAF756}"/>
              </a:ext>
            </a:extLst>
          </p:cNvPr>
          <p:cNvSpPr/>
          <p:nvPr/>
        </p:nvSpPr>
        <p:spPr>
          <a:xfrm>
            <a:off x="717101" y="1780555"/>
            <a:ext cx="3070912" cy="4430000"/>
          </a:xfrm>
          <a:prstGeom prst="roundRect">
            <a:avLst>
              <a:gd name="adj" fmla="val 4195"/>
            </a:avLst>
          </a:prstGeom>
          <a:solidFill>
            <a:srgbClr val="FFAB7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 </a:t>
            </a:r>
          </a:p>
        </p:txBody>
      </p:sp>
      <p:sp>
        <p:nvSpPr>
          <p:cNvPr id="10" name="Прямоугольник: скругленные углы 37">
            <a:extLst>
              <a:ext uri="{FF2B5EF4-FFF2-40B4-BE49-F238E27FC236}">
                <a16:creationId xmlns:a16="http://schemas.microsoft.com/office/drawing/2014/main" id="{BF62AD89-FDD2-4DE2-9663-7EBDE927851A}"/>
              </a:ext>
            </a:extLst>
          </p:cNvPr>
          <p:cNvSpPr/>
          <p:nvPr/>
        </p:nvSpPr>
        <p:spPr>
          <a:xfrm>
            <a:off x="7024080" y="1604125"/>
            <a:ext cx="4212628" cy="4653537"/>
          </a:xfrm>
          <a:prstGeom prst="roundRect">
            <a:avLst>
              <a:gd name="adj" fmla="val 4195"/>
            </a:avLst>
          </a:prstGeom>
          <a:solidFill>
            <a:schemeClr val="bg2">
              <a:alpha val="8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 </a:t>
            </a:r>
          </a:p>
        </p:txBody>
      </p:sp>
      <p:sp>
        <p:nvSpPr>
          <p:cNvPr id="18" name="Текст 7">
            <a:extLst>
              <a:ext uri="{FF2B5EF4-FFF2-40B4-BE49-F238E27FC236}">
                <a16:creationId xmlns:a16="http://schemas.microsoft.com/office/drawing/2014/main" id="{A0326FE6-CC5F-4613-8920-E9090B8432C3}"/>
              </a:ext>
            </a:extLst>
          </p:cNvPr>
          <p:cNvSpPr txBox="1">
            <a:spLocks/>
          </p:cNvSpPr>
          <p:nvPr/>
        </p:nvSpPr>
        <p:spPr>
          <a:xfrm>
            <a:off x="7398281" y="1734847"/>
            <a:ext cx="3709245" cy="12522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3538" indent="-3635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lang="ru-RU"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804863" indent="-34766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255713" indent="-34131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708150" indent="-3365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147888" indent="-3190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716615">
              <a:lnSpc>
                <a:spcPct val="100000"/>
              </a:lnSpc>
              <a:spcAft>
                <a:spcPts val="0"/>
              </a:spcAft>
              <a:buClrTx/>
              <a:buNone/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Своевременные расчеты между исполнителями:</a:t>
            </a:r>
          </a:p>
          <a:p>
            <a:pPr lvl="1" defTabSz="716615">
              <a:lnSpc>
                <a:spcPct val="100000"/>
              </a:lnSpc>
              <a:spcAft>
                <a:spcPts val="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оказывающими </a:t>
            </a:r>
            <a:r>
              <a:rPr lang="ru-RU" sz="1600" b="1" dirty="0">
                <a:solidFill>
                  <a:schemeClr val="tx1"/>
                </a:solidFill>
                <a:latin typeface="Cera CY" panose="00000500000000000000" pitchFamily="2" charset="-52"/>
              </a:rPr>
              <a:t>услуги, </a:t>
            </a:r>
            <a:endParaRPr lang="ru-RU" sz="1600" b="1" dirty="0" smtClean="0">
              <a:solidFill>
                <a:schemeClr val="tx1"/>
              </a:solidFill>
              <a:latin typeface="Cera CY" panose="00000500000000000000" pitchFamily="2" charset="-52"/>
            </a:endParaRPr>
          </a:p>
          <a:p>
            <a:pPr lvl="1" defTabSz="716615">
              <a:lnSpc>
                <a:spcPct val="100000"/>
              </a:lnSpc>
              <a:spcAft>
                <a:spcPts val="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выполняющими </a:t>
            </a:r>
            <a:r>
              <a:rPr lang="ru-RU" sz="1600" b="1" dirty="0">
                <a:solidFill>
                  <a:schemeClr val="tx1"/>
                </a:solidFill>
                <a:latin typeface="Cera CY" panose="00000500000000000000" pitchFamily="2" charset="-52"/>
              </a:rPr>
              <a:t>работы, </a:t>
            </a:r>
          </a:p>
          <a:p>
            <a:pPr lvl="1" defTabSz="716615">
              <a:lnSpc>
                <a:spcPct val="100000"/>
              </a:lnSpc>
              <a:spcAft>
                <a:spcPts val="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ru-RU" sz="1600" b="1" dirty="0">
                <a:solidFill>
                  <a:schemeClr val="tx1"/>
                </a:solidFill>
                <a:latin typeface="Cera CY" panose="00000500000000000000" pitchFamily="2" charset="-52"/>
              </a:rPr>
              <a:t>поставляющими продукцию и </a:t>
            </a:r>
            <a:r>
              <a:rPr lang="ru-RU" sz="1600" b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оборудование</a:t>
            </a:r>
            <a:endParaRPr lang="ru-RU" sz="1600" b="1" dirty="0">
              <a:solidFill>
                <a:schemeClr val="tx1"/>
              </a:solidFill>
              <a:latin typeface="Cera CY" panose="00000500000000000000" pitchFamily="2" charset="-52"/>
            </a:endParaRPr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id="{8EA84028-DC91-401B-85DF-E4352E15FE01}"/>
              </a:ext>
            </a:extLst>
          </p:cNvPr>
          <p:cNvSpPr txBox="1">
            <a:spLocks/>
          </p:cNvSpPr>
          <p:nvPr/>
        </p:nvSpPr>
        <p:spPr>
          <a:xfrm>
            <a:off x="1019334" y="2343173"/>
            <a:ext cx="2611728" cy="10549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3538" indent="-3635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lang="ru-RU"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804863" indent="-34766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255713" indent="-34131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708150" indent="-3365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147888" indent="-3190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800"/>
              </a:spcAft>
              <a:buClr>
                <a:srgbClr val="FF7900"/>
              </a:buClr>
              <a:buNone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itchFamily="2" charset="0"/>
                <a:ea typeface="Tahoma" panose="020B0604030504040204" pitchFamily="34" charset="0"/>
                <a:cs typeface="Tahoma" panose="020B0604030504040204" pitchFamily="34" charset="0"/>
              </a:rPr>
              <a:t>Рост неплатежей со стороны контрагентов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>
                <a:srgbClr val="FF7900"/>
              </a:buClr>
              <a:buSzTx/>
              <a:buFont typeface="Tahoma" panose="020B0604030504040204" pitchFamily="34" charset="0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ra CY" pitchFamily="2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id="{AC801360-CB80-475E-AB80-2F82E5371211}"/>
              </a:ext>
            </a:extLst>
          </p:cNvPr>
          <p:cNvSpPr txBox="1">
            <a:spLocks/>
          </p:cNvSpPr>
          <p:nvPr/>
        </p:nvSpPr>
        <p:spPr>
          <a:xfrm>
            <a:off x="985821" y="4801108"/>
            <a:ext cx="2611728" cy="1089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3538" indent="-3635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lang="ru-RU"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804863" indent="-34766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255713" indent="-34131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708150" indent="-3365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147888" indent="-3190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>
                <a:srgbClr val="FF7900"/>
              </a:buClr>
              <a:buSzTx/>
              <a:buFont typeface="Tahoma" panose="020B060403050404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itchFamily="2" charset="0"/>
                <a:ea typeface="Tahoma" panose="020B0604030504040204" pitchFamily="34" charset="0"/>
                <a:cs typeface="Tahoma" panose="020B0604030504040204" pitchFamily="34" charset="0"/>
              </a:rPr>
              <a:t>Рост риска банкротств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itchFamily="2" charset="0"/>
                <a:ea typeface="Tahoma" panose="020B0604030504040204" pitchFamily="34" charset="0"/>
                <a:cs typeface="Tahoma" panose="020B0604030504040204" pitchFamily="34" charset="0"/>
              </a:rPr>
              <a:t> контрагентов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ra CY" pitchFamily="2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Прямоугольник: скругленные углы 37">
            <a:extLst>
              <a:ext uri="{FF2B5EF4-FFF2-40B4-BE49-F238E27FC236}">
                <a16:creationId xmlns:a16="http://schemas.microsoft.com/office/drawing/2014/main" id="{04B079EF-18A6-A94C-07F9-6A66302E2DDF}"/>
              </a:ext>
            </a:extLst>
          </p:cNvPr>
          <p:cNvSpPr/>
          <p:nvPr/>
        </p:nvSpPr>
        <p:spPr>
          <a:xfrm>
            <a:off x="572307" y="713973"/>
            <a:ext cx="10431757" cy="531789"/>
          </a:xfrm>
          <a:prstGeom prst="roundRect">
            <a:avLst>
              <a:gd name="adj" fmla="val 4222"/>
            </a:avLst>
          </a:prstGeom>
          <a:noFill/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7166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Отвечает на вопрос</a:t>
            </a:r>
            <a:r>
              <a:rPr kumimoji="0" lang="ru-RU" sz="1500" b="1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 - </a:t>
            </a:r>
            <a:r>
              <a:rPr lang="ru-RU" sz="1500" b="1" dirty="0">
                <a:solidFill>
                  <a:schemeClr val="tx1"/>
                </a:solidFill>
                <a:latin typeface="Cera CY"/>
              </a:rPr>
              <a:t>н</a:t>
            </a:r>
            <a:r>
              <a:rPr kumimoji="0" lang="ru-RU" sz="1500" b="1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аправят</a:t>
            </a:r>
            <a:r>
              <a:rPr kumimoji="0" lang="ru-RU" sz="15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 ли Исполнители РЕСУРСЫ на объекты Заказчика? </a:t>
            </a:r>
            <a:endParaRPr kumimoji="0" lang="ru-RU" sz="1500" b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EEC938E1-02BB-4326-AB26-C94AAE8CF45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10510" y="2332501"/>
            <a:ext cx="609600" cy="5872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33C801C-31F3-98F1-0764-56022EA729A6}"/>
              </a:ext>
            </a:extLst>
          </p:cNvPr>
          <p:cNvSpPr txBox="1"/>
          <p:nvPr/>
        </p:nvSpPr>
        <p:spPr>
          <a:xfrm>
            <a:off x="5073923" y="5666784"/>
            <a:ext cx="5574871" cy="5170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>
              <a:defRPr b="1">
                <a:solidFill>
                  <a:schemeClr val="accent1"/>
                </a:solidFill>
                <a:effectLst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Механизм взаимного доверия</a:t>
            </a:r>
            <a:endParaRPr kumimoji="0" lang="ru-RU" sz="2800" i="0" u="none" strike="noStrike" kern="1200" cap="none" spc="0" normalizeH="0" baseline="0" noProof="0" dirty="0">
              <a:ln>
                <a:noFill/>
              </a:ln>
              <a:solidFill>
                <a:srgbClr val="2355D7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FCA8B1B1-48C4-4FA3-ABD4-8B149EECC98F}"/>
              </a:ext>
            </a:extLst>
          </p:cNvPr>
          <p:cNvGrpSpPr/>
          <p:nvPr/>
        </p:nvGrpSpPr>
        <p:grpSpPr>
          <a:xfrm>
            <a:off x="454632" y="1604125"/>
            <a:ext cx="612000" cy="612000"/>
            <a:chOff x="9150018" y="4120700"/>
            <a:chExt cx="612000" cy="612000"/>
          </a:xfrm>
        </p:grpSpPr>
        <p:sp>
          <p:nvSpPr>
            <p:cNvPr id="48" name="Полилиния: фигура 225">
              <a:extLst>
                <a:ext uri="{FF2B5EF4-FFF2-40B4-BE49-F238E27FC236}">
                  <a16:creationId xmlns:a16="http://schemas.microsoft.com/office/drawing/2014/main" id="{16450379-DBBE-4B99-9C69-7CDDE9ED26C7}"/>
                </a:ext>
              </a:extLst>
            </p:cNvPr>
            <p:cNvSpPr/>
            <p:nvPr/>
          </p:nvSpPr>
          <p:spPr>
            <a:xfrm>
              <a:off x="9150018" y="4120700"/>
              <a:ext cx="612000" cy="612000"/>
            </a:xfrm>
            <a:custGeom>
              <a:avLst/>
              <a:gdLst>
                <a:gd name="connsiteX0" fmla="*/ 612000 w 612000"/>
                <a:gd name="connsiteY0" fmla="*/ 306000 h 612000"/>
                <a:gd name="connsiteX1" fmla="*/ 306000 w 612000"/>
                <a:gd name="connsiteY1" fmla="*/ 612000 h 612000"/>
                <a:gd name="connsiteX2" fmla="*/ 0 w 612000"/>
                <a:gd name="connsiteY2" fmla="*/ 306000 h 612000"/>
                <a:gd name="connsiteX3" fmla="*/ 306000 w 612000"/>
                <a:gd name="connsiteY3" fmla="*/ 0 h 612000"/>
                <a:gd name="connsiteX4" fmla="*/ 612000 w 612000"/>
                <a:gd name="connsiteY4" fmla="*/ 30600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612000">
                  <a:moveTo>
                    <a:pt x="612000" y="306000"/>
                  </a:move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ubicBezTo>
                    <a:pt x="474999" y="0"/>
                    <a:pt x="612000" y="137001"/>
                    <a:pt x="612000" y="306000"/>
                  </a:cubicBezTo>
                  <a:close/>
                </a:path>
              </a:pathLst>
            </a:custGeom>
            <a:solidFill>
              <a:srgbClr val="FF7900"/>
            </a:solidFill>
            <a:ln w="725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49" name="Полилиния: фигура 226">
              <a:extLst>
                <a:ext uri="{FF2B5EF4-FFF2-40B4-BE49-F238E27FC236}">
                  <a16:creationId xmlns:a16="http://schemas.microsoft.com/office/drawing/2014/main" id="{C70D78BE-EF26-400B-BDD0-17B17F311D4A}"/>
                </a:ext>
              </a:extLst>
            </p:cNvPr>
            <p:cNvSpPr/>
            <p:nvPr/>
          </p:nvSpPr>
          <p:spPr>
            <a:xfrm>
              <a:off x="9273837" y="4317924"/>
              <a:ext cx="364061" cy="217624"/>
            </a:xfrm>
            <a:custGeom>
              <a:avLst/>
              <a:gdLst>
                <a:gd name="connsiteX0" fmla="*/ 292632 w 364061"/>
                <a:gd name="connsiteY0" fmla="*/ 217625 h 217624"/>
                <a:gd name="connsiteX1" fmla="*/ 80181 w 364061"/>
                <a:gd name="connsiteY1" fmla="*/ 217625 h 217624"/>
                <a:gd name="connsiteX2" fmla="*/ 1 w 364061"/>
                <a:gd name="connsiteY2" fmla="*/ 136498 h 217624"/>
                <a:gd name="connsiteX3" fmla="*/ 81128 w 364061"/>
                <a:gd name="connsiteY3" fmla="*/ 56319 h 217624"/>
                <a:gd name="connsiteX4" fmla="*/ 83896 w 364061"/>
                <a:gd name="connsiteY4" fmla="*/ 56319 h 217624"/>
                <a:gd name="connsiteX5" fmla="*/ 91182 w 364061"/>
                <a:gd name="connsiteY5" fmla="*/ 63605 h 217624"/>
                <a:gd name="connsiteX6" fmla="*/ 83896 w 364061"/>
                <a:gd name="connsiteY6" fmla="*/ 70890 h 217624"/>
                <a:gd name="connsiteX7" fmla="*/ 81565 w 364061"/>
                <a:gd name="connsiteY7" fmla="*/ 70890 h 217624"/>
                <a:gd name="connsiteX8" fmla="*/ 15484 w 364061"/>
                <a:gd name="connsiteY8" fmla="*/ 136972 h 217624"/>
                <a:gd name="connsiteX9" fmla="*/ 81565 w 364061"/>
                <a:gd name="connsiteY9" fmla="*/ 203053 h 217624"/>
                <a:gd name="connsiteX10" fmla="*/ 291466 w 364061"/>
                <a:gd name="connsiteY10" fmla="*/ 203053 h 217624"/>
                <a:gd name="connsiteX11" fmla="*/ 292414 w 364061"/>
                <a:gd name="connsiteY11" fmla="*/ 203053 h 217624"/>
                <a:gd name="connsiteX12" fmla="*/ 348509 w 364061"/>
                <a:gd name="connsiteY12" fmla="*/ 141536 h 217624"/>
                <a:gd name="connsiteX13" fmla="*/ 290811 w 364061"/>
                <a:gd name="connsiteY13" fmla="*/ 85389 h 217624"/>
                <a:gd name="connsiteX14" fmla="*/ 288406 w 364061"/>
                <a:gd name="connsiteY14" fmla="*/ 85389 h 217624"/>
                <a:gd name="connsiteX15" fmla="*/ 287386 w 364061"/>
                <a:gd name="connsiteY15" fmla="*/ 85389 h 217624"/>
                <a:gd name="connsiteX16" fmla="*/ 279664 w 364061"/>
                <a:gd name="connsiteY16" fmla="*/ 78686 h 217624"/>
                <a:gd name="connsiteX17" fmla="*/ 235221 w 364061"/>
                <a:gd name="connsiteY17" fmla="*/ 37522 h 217624"/>
                <a:gd name="connsiteX18" fmla="*/ 209721 w 364061"/>
                <a:gd name="connsiteY18" fmla="*/ 45536 h 217624"/>
                <a:gd name="connsiteX19" fmla="*/ 204038 w 364061"/>
                <a:gd name="connsiteY19" fmla="*/ 46702 h 217624"/>
                <a:gd name="connsiteX20" fmla="*/ 199302 w 364061"/>
                <a:gd name="connsiteY20" fmla="*/ 43277 h 217624"/>
                <a:gd name="connsiteX21" fmla="*/ 118877 w 364061"/>
                <a:gd name="connsiteY21" fmla="*/ 22575 h 217624"/>
                <a:gd name="connsiteX22" fmla="*/ 107284 w 364061"/>
                <a:gd name="connsiteY22" fmla="*/ 31547 h 217624"/>
                <a:gd name="connsiteX23" fmla="*/ 97043 w 364061"/>
                <a:gd name="connsiteY23" fmla="*/ 30410 h 217624"/>
                <a:gd name="connsiteX24" fmla="*/ 97011 w 364061"/>
                <a:gd name="connsiteY24" fmla="*/ 21347 h 217624"/>
                <a:gd name="connsiteX25" fmla="*/ 148739 w 364061"/>
                <a:gd name="connsiteY25" fmla="*/ 0 h 217624"/>
                <a:gd name="connsiteX26" fmla="*/ 207754 w 364061"/>
                <a:gd name="connsiteY26" fmla="*/ 29872 h 217624"/>
                <a:gd name="connsiteX27" fmla="*/ 235221 w 364061"/>
                <a:gd name="connsiteY27" fmla="*/ 23096 h 217624"/>
                <a:gd name="connsiteX28" fmla="*/ 293506 w 364061"/>
                <a:gd name="connsiteY28" fmla="*/ 70817 h 217624"/>
                <a:gd name="connsiteX29" fmla="*/ 364004 w 364061"/>
                <a:gd name="connsiteY29" fmla="*/ 147086 h 217624"/>
                <a:gd name="connsiteX30" fmla="*/ 294235 w 364061"/>
                <a:gd name="connsiteY30" fmla="*/ 217552 h 21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64061" h="217624">
                  <a:moveTo>
                    <a:pt x="292632" y="217625"/>
                  </a:moveTo>
                  <a:lnTo>
                    <a:pt x="80181" y="217625"/>
                  </a:lnTo>
                  <a:cubicBezTo>
                    <a:pt x="35637" y="217363"/>
                    <a:pt x="-260" y="181042"/>
                    <a:pt x="1" y="136498"/>
                  </a:cubicBezTo>
                  <a:cubicBezTo>
                    <a:pt x="263" y="91955"/>
                    <a:pt x="36584" y="56057"/>
                    <a:pt x="81128" y="56319"/>
                  </a:cubicBezTo>
                  <a:lnTo>
                    <a:pt x="83896" y="56319"/>
                  </a:lnTo>
                  <a:cubicBezTo>
                    <a:pt x="87920" y="56319"/>
                    <a:pt x="91182" y="59581"/>
                    <a:pt x="91182" y="63605"/>
                  </a:cubicBezTo>
                  <a:cubicBezTo>
                    <a:pt x="91182" y="67628"/>
                    <a:pt x="87920" y="70890"/>
                    <a:pt x="83896" y="70890"/>
                  </a:cubicBezTo>
                  <a:lnTo>
                    <a:pt x="81565" y="70890"/>
                  </a:lnTo>
                  <a:cubicBezTo>
                    <a:pt x="45069" y="70890"/>
                    <a:pt x="15484" y="100476"/>
                    <a:pt x="15484" y="136972"/>
                  </a:cubicBezTo>
                  <a:cubicBezTo>
                    <a:pt x="15484" y="173467"/>
                    <a:pt x="45069" y="203053"/>
                    <a:pt x="81565" y="203053"/>
                  </a:cubicBezTo>
                  <a:lnTo>
                    <a:pt x="291466" y="203053"/>
                  </a:lnTo>
                  <a:lnTo>
                    <a:pt x="292414" y="203053"/>
                  </a:lnTo>
                  <a:cubicBezTo>
                    <a:pt x="324891" y="201556"/>
                    <a:pt x="350006" y="174014"/>
                    <a:pt x="348509" y="141536"/>
                  </a:cubicBezTo>
                  <a:cubicBezTo>
                    <a:pt x="347080" y="110539"/>
                    <a:pt x="321835" y="85972"/>
                    <a:pt x="290811" y="85389"/>
                  </a:cubicBezTo>
                  <a:lnTo>
                    <a:pt x="288406" y="85389"/>
                  </a:lnTo>
                  <a:lnTo>
                    <a:pt x="287386" y="85389"/>
                  </a:lnTo>
                  <a:cubicBezTo>
                    <a:pt x="283413" y="85640"/>
                    <a:pt x="279974" y="82655"/>
                    <a:pt x="279664" y="78686"/>
                  </a:cubicBezTo>
                  <a:cubicBezTo>
                    <a:pt x="277807" y="55496"/>
                    <a:pt x="258485" y="37599"/>
                    <a:pt x="235221" y="37522"/>
                  </a:cubicBezTo>
                  <a:cubicBezTo>
                    <a:pt x="226098" y="37503"/>
                    <a:pt x="217193" y="40303"/>
                    <a:pt x="209721" y="45536"/>
                  </a:cubicBezTo>
                  <a:cubicBezTo>
                    <a:pt x="208070" y="46694"/>
                    <a:pt x="206012" y="47116"/>
                    <a:pt x="204038" y="46702"/>
                  </a:cubicBezTo>
                  <a:cubicBezTo>
                    <a:pt x="202050" y="46271"/>
                    <a:pt x="200334" y="45030"/>
                    <a:pt x="199302" y="43277"/>
                  </a:cubicBezTo>
                  <a:cubicBezTo>
                    <a:pt x="182810" y="15352"/>
                    <a:pt x="146803" y="6083"/>
                    <a:pt x="118877" y="22575"/>
                  </a:cubicBezTo>
                  <a:cubicBezTo>
                    <a:pt x="114653" y="25070"/>
                    <a:pt x="110758" y="28085"/>
                    <a:pt x="107284" y="31547"/>
                  </a:cubicBezTo>
                  <a:cubicBezTo>
                    <a:pt x="104142" y="34061"/>
                    <a:pt x="99557" y="33552"/>
                    <a:pt x="97043" y="30410"/>
                  </a:cubicBezTo>
                  <a:cubicBezTo>
                    <a:pt x="94926" y="27765"/>
                    <a:pt x="94912" y="24008"/>
                    <a:pt x="97011" y="21347"/>
                  </a:cubicBezTo>
                  <a:cubicBezTo>
                    <a:pt x="110725" y="7629"/>
                    <a:pt x="129343" y="-54"/>
                    <a:pt x="148739" y="0"/>
                  </a:cubicBezTo>
                  <a:cubicBezTo>
                    <a:pt x="172019" y="103"/>
                    <a:pt x="193887" y="11173"/>
                    <a:pt x="207754" y="29872"/>
                  </a:cubicBezTo>
                  <a:cubicBezTo>
                    <a:pt x="216223" y="25417"/>
                    <a:pt x="225651" y="23091"/>
                    <a:pt x="235221" y="23096"/>
                  </a:cubicBezTo>
                  <a:cubicBezTo>
                    <a:pt x="263514" y="23151"/>
                    <a:pt x="287869" y="43092"/>
                    <a:pt x="293506" y="70817"/>
                  </a:cubicBezTo>
                  <a:cubicBezTo>
                    <a:pt x="334035" y="72412"/>
                    <a:pt x="365598" y="106558"/>
                    <a:pt x="364004" y="147086"/>
                  </a:cubicBezTo>
                  <a:cubicBezTo>
                    <a:pt x="362509" y="185100"/>
                    <a:pt x="332232" y="215679"/>
                    <a:pt x="294235" y="217552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Полилиния: фигура 227">
              <a:extLst>
                <a:ext uri="{FF2B5EF4-FFF2-40B4-BE49-F238E27FC236}">
                  <a16:creationId xmlns:a16="http://schemas.microsoft.com/office/drawing/2014/main" id="{8811C00F-497D-411C-94CE-545770CF6098}"/>
                </a:ext>
              </a:extLst>
            </p:cNvPr>
            <p:cNvSpPr/>
            <p:nvPr/>
          </p:nvSpPr>
          <p:spPr>
            <a:xfrm>
              <a:off x="9347315" y="4374388"/>
              <a:ext cx="68093" cy="37740"/>
            </a:xfrm>
            <a:custGeom>
              <a:avLst/>
              <a:gdLst>
                <a:gd name="connsiteX0" fmla="*/ 60763 w 68093"/>
                <a:gd name="connsiteY0" fmla="*/ 37740 h 37740"/>
                <a:gd name="connsiteX1" fmla="*/ 55517 w 68093"/>
                <a:gd name="connsiteY1" fmla="*/ 35409 h 37740"/>
                <a:gd name="connsiteX2" fmla="*/ 7286 w 68093"/>
                <a:gd name="connsiteY2" fmla="*/ 14571 h 37740"/>
                <a:gd name="connsiteX3" fmla="*/ 0 w 68093"/>
                <a:gd name="connsiteY3" fmla="*/ 7286 h 37740"/>
                <a:gd name="connsiteX4" fmla="*/ 7286 w 68093"/>
                <a:gd name="connsiteY4" fmla="*/ 0 h 37740"/>
                <a:gd name="connsiteX5" fmla="*/ 66081 w 68093"/>
                <a:gd name="connsiteY5" fmla="*/ 25427 h 37740"/>
                <a:gd name="connsiteX6" fmla="*/ 65835 w 68093"/>
                <a:gd name="connsiteY6" fmla="*/ 35728 h 37740"/>
                <a:gd name="connsiteX7" fmla="*/ 60763 w 68093"/>
                <a:gd name="connsiteY7" fmla="*/ 37740 h 3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93" h="37740">
                  <a:moveTo>
                    <a:pt x="60763" y="37740"/>
                  </a:moveTo>
                  <a:cubicBezTo>
                    <a:pt x="58769" y="37714"/>
                    <a:pt x="56873" y="36871"/>
                    <a:pt x="55517" y="35409"/>
                  </a:cubicBezTo>
                  <a:cubicBezTo>
                    <a:pt x="43047" y="22044"/>
                    <a:pt x="25564" y="14491"/>
                    <a:pt x="7286" y="14571"/>
                  </a:cubicBezTo>
                  <a:cubicBezTo>
                    <a:pt x="3262" y="14571"/>
                    <a:pt x="0" y="11310"/>
                    <a:pt x="0" y="7286"/>
                  </a:cubicBezTo>
                  <a:cubicBezTo>
                    <a:pt x="0" y="3262"/>
                    <a:pt x="3262" y="0"/>
                    <a:pt x="7286" y="0"/>
                  </a:cubicBezTo>
                  <a:cubicBezTo>
                    <a:pt x="29551" y="13"/>
                    <a:pt x="50823" y="9213"/>
                    <a:pt x="66081" y="25427"/>
                  </a:cubicBezTo>
                  <a:cubicBezTo>
                    <a:pt x="68858" y="28339"/>
                    <a:pt x="68748" y="32951"/>
                    <a:pt x="65835" y="35728"/>
                  </a:cubicBezTo>
                  <a:cubicBezTo>
                    <a:pt x="64469" y="37030"/>
                    <a:pt x="62651" y="37752"/>
                    <a:pt x="60763" y="37740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1AAFE4AF-6324-4553-99FB-35CA1764E955}"/>
              </a:ext>
            </a:extLst>
          </p:cNvPr>
          <p:cNvGrpSpPr/>
          <p:nvPr/>
        </p:nvGrpSpPr>
        <p:grpSpPr>
          <a:xfrm>
            <a:off x="10836580" y="1330153"/>
            <a:ext cx="612000" cy="612000"/>
            <a:chOff x="607834" y="4132160"/>
            <a:chExt cx="612000" cy="612000"/>
          </a:xfrm>
        </p:grpSpPr>
        <p:sp>
          <p:nvSpPr>
            <p:cNvPr id="57" name="Полилиния: фигура 3">
              <a:extLst>
                <a:ext uri="{FF2B5EF4-FFF2-40B4-BE49-F238E27FC236}">
                  <a16:creationId xmlns:a16="http://schemas.microsoft.com/office/drawing/2014/main" id="{E134888B-FB43-444D-A26D-FF2E994882DD}"/>
                </a:ext>
              </a:extLst>
            </p:cNvPr>
            <p:cNvSpPr/>
            <p:nvPr/>
          </p:nvSpPr>
          <p:spPr>
            <a:xfrm>
              <a:off x="607834" y="4132160"/>
              <a:ext cx="612000" cy="612000"/>
            </a:xfrm>
            <a:custGeom>
              <a:avLst/>
              <a:gdLst>
                <a:gd name="connsiteX0" fmla="*/ 612000 w 612000"/>
                <a:gd name="connsiteY0" fmla="*/ 306000 h 612000"/>
                <a:gd name="connsiteX1" fmla="*/ 306000 w 612000"/>
                <a:gd name="connsiteY1" fmla="*/ 612000 h 612000"/>
                <a:gd name="connsiteX2" fmla="*/ 0 w 612000"/>
                <a:gd name="connsiteY2" fmla="*/ 306000 h 612000"/>
                <a:gd name="connsiteX3" fmla="*/ 306000 w 612000"/>
                <a:gd name="connsiteY3" fmla="*/ 0 h 612000"/>
                <a:gd name="connsiteX4" fmla="*/ 612000 w 612000"/>
                <a:gd name="connsiteY4" fmla="*/ 30600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612000">
                  <a:moveTo>
                    <a:pt x="612000" y="306000"/>
                  </a:move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ubicBezTo>
                    <a:pt x="474999" y="0"/>
                    <a:pt x="612000" y="137001"/>
                    <a:pt x="612000" y="306000"/>
                  </a:cubicBezTo>
                  <a:close/>
                </a:path>
              </a:pathLst>
            </a:custGeom>
            <a:solidFill>
              <a:srgbClr val="2355D7"/>
            </a:solidFill>
            <a:ln w="725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8" name="Полилиния: фигура 5">
              <a:extLst>
                <a:ext uri="{FF2B5EF4-FFF2-40B4-BE49-F238E27FC236}">
                  <a16:creationId xmlns:a16="http://schemas.microsoft.com/office/drawing/2014/main" id="{8B326ACC-D093-42EF-9B3D-3A81C26A1B7E}"/>
                </a:ext>
              </a:extLst>
            </p:cNvPr>
            <p:cNvSpPr/>
            <p:nvPr/>
          </p:nvSpPr>
          <p:spPr>
            <a:xfrm>
              <a:off x="961774" y="4372515"/>
              <a:ext cx="28493" cy="84733"/>
            </a:xfrm>
            <a:custGeom>
              <a:avLst/>
              <a:gdLst>
                <a:gd name="connsiteX0" fmla="*/ 20910 w 28493"/>
                <a:gd name="connsiteY0" fmla="*/ 84733 h 84733"/>
                <a:gd name="connsiteX1" fmla="*/ 20473 w 28493"/>
                <a:gd name="connsiteY1" fmla="*/ 84733 h 84733"/>
                <a:gd name="connsiteX2" fmla="*/ 13623 w 28493"/>
                <a:gd name="connsiteY2" fmla="*/ 77036 h 84733"/>
                <a:gd name="connsiteX3" fmla="*/ 13624 w 28493"/>
                <a:gd name="connsiteY3" fmla="*/ 77010 h 84733"/>
                <a:gd name="connsiteX4" fmla="*/ 583 w 28493"/>
                <a:gd name="connsiteY4" fmla="*/ 8087 h 84733"/>
                <a:gd name="connsiteX5" fmla="*/ 0 w 28493"/>
                <a:gd name="connsiteY5" fmla="*/ 6921 h 84733"/>
                <a:gd name="connsiteX6" fmla="*/ 6339 w 28493"/>
                <a:gd name="connsiteY6" fmla="*/ 3206 h 84733"/>
                <a:gd name="connsiteX7" fmla="*/ 12823 w 28493"/>
                <a:gd name="connsiteY7" fmla="*/ 0 h 84733"/>
                <a:gd name="connsiteX8" fmla="*/ 13697 w 28493"/>
                <a:gd name="connsiteY8" fmla="*/ 1749 h 84733"/>
                <a:gd name="connsiteX9" fmla="*/ 28269 w 28493"/>
                <a:gd name="connsiteY9" fmla="*/ 77811 h 84733"/>
                <a:gd name="connsiteX10" fmla="*/ 20910 w 28493"/>
                <a:gd name="connsiteY10" fmla="*/ 84733 h 84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493" h="84733">
                  <a:moveTo>
                    <a:pt x="20910" y="84733"/>
                  </a:moveTo>
                  <a:lnTo>
                    <a:pt x="20473" y="84733"/>
                  </a:lnTo>
                  <a:cubicBezTo>
                    <a:pt x="16456" y="84499"/>
                    <a:pt x="13389" y="81053"/>
                    <a:pt x="13623" y="77036"/>
                  </a:cubicBezTo>
                  <a:cubicBezTo>
                    <a:pt x="13624" y="77027"/>
                    <a:pt x="13624" y="77019"/>
                    <a:pt x="13624" y="77010"/>
                  </a:cubicBezTo>
                  <a:cubicBezTo>
                    <a:pt x="14904" y="53320"/>
                    <a:pt x="10430" y="29672"/>
                    <a:pt x="583" y="8087"/>
                  </a:cubicBezTo>
                  <a:lnTo>
                    <a:pt x="0" y="6921"/>
                  </a:lnTo>
                  <a:lnTo>
                    <a:pt x="6339" y="3206"/>
                  </a:lnTo>
                  <a:lnTo>
                    <a:pt x="12823" y="0"/>
                  </a:lnTo>
                  <a:lnTo>
                    <a:pt x="13697" y="1749"/>
                  </a:lnTo>
                  <a:cubicBezTo>
                    <a:pt x="24650" y="25546"/>
                    <a:pt x="29651" y="51651"/>
                    <a:pt x="28269" y="77811"/>
                  </a:cubicBezTo>
                  <a:cubicBezTo>
                    <a:pt x="28073" y="81721"/>
                    <a:pt x="24824" y="84777"/>
                    <a:pt x="20910" y="84733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Полилиния: фигура 7">
              <a:extLst>
                <a:ext uri="{FF2B5EF4-FFF2-40B4-BE49-F238E27FC236}">
                  <a16:creationId xmlns:a16="http://schemas.microsoft.com/office/drawing/2014/main" id="{EC987851-761C-4037-BDD7-F00FF6D4D1A2}"/>
                </a:ext>
              </a:extLst>
            </p:cNvPr>
            <p:cNvSpPr/>
            <p:nvPr/>
          </p:nvSpPr>
          <p:spPr>
            <a:xfrm>
              <a:off x="837139" y="4307858"/>
              <a:ext cx="83758" cy="149390"/>
            </a:xfrm>
            <a:custGeom>
              <a:avLst/>
              <a:gdLst>
                <a:gd name="connsiteX0" fmla="*/ 7480 w 83758"/>
                <a:gd name="connsiteY0" fmla="*/ 149390 h 149390"/>
                <a:gd name="connsiteX1" fmla="*/ 194 w 83758"/>
                <a:gd name="connsiteY1" fmla="*/ 142469 h 149390"/>
                <a:gd name="connsiteX2" fmla="*/ 14766 w 83758"/>
                <a:gd name="connsiteY2" fmla="*/ 66333 h 149390"/>
                <a:gd name="connsiteX3" fmla="*/ 74290 w 83758"/>
                <a:gd name="connsiteY3" fmla="*/ 325 h 149390"/>
                <a:gd name="connsiteX4" fmla="*/ 83434 w 83758"/>
                <a:gd name="connsiteY4" fmla="*/ 5170 h 149390"/>
                <a:gd name="connsiteX5" fmla="*/ 78589 w 83758"/>
                <a:gd name="connsiteY5" fmla="*/ 14313 h 149390"/>
                <a:gd name="connsiteX6" fmla="*/ 27589 w 83758"/>
                <a:gd name="connsiteY6" fmla="*/ 72599 h 149390"/>
                <a:gd name="connsiteX7" fmla="*/ 14547 w 83758"/>
                <a:gd name="connsiteY7" fmla="*/ 141595 h 149390"/>
                <a:gd name="connsiteX8" fmla="*/ 7262 w 83758"/>
                <a:gd name="connsiteY8" fmla="*/ 148880 h 14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758" h="149390">
                  <a:moveTo>
                    <a:pt x="7480" y="149390"/>
                  </a:moveTo>
                  <a:cubicBezTo>
                    <a:pt x="3595" y="149395"/>
                    <a:pt x="389" y="146350"/>
                    <a:pt x="194" y="142469"/>
                  </a:cubicBezTo>
                  <a:cubicBezTo>
                    <a:pt x="-1079" y="116292"/>
                    <a:pt x="3916" y="90190"/>
                    <a:pt x="14766" y="66333"/>
                  </a:cubicBezTo>
                  <a:cubicBezTo>
                    <a:pt x="42015" y="10743"/>
                    <a:pt x="73052" y="762"/>
                    <a:pt x="74290" y="325"/>
                  </a:cubicBezTo>
                  <a:cubicBezTo>
                    <a:pt x="78153" y="-862"/>
                    <a:pt x="82247" y="1307"/>
                    <a:pt x="83434" y="5170"/>
                  </a:cubicBezTo>
                  <a:cubicBezTo>
                    <a:pt x="84621" y="9033"/>
                    <a:pt x="82452" y="13126"/>
                    <a:pt x="78589" y="14313"/>
                  </a:cubicBezTo>
                  <a:cubicBezTo>
                    <a:pt x="78589" y="14313"/>
                    <a:pt x="51996" y="23493"/>
                    <a:pt x="27589" y="72599"/>
                  </a:cubicBezTo>
                  <a:cubicBezTo>
                    <a:pt x="17791" y="94225"/>
                    <a:pt x="13318" y="117885"/>
                    <a:pt x="14547" y="141595"/>
                  </a:cubicBezTo>
                  <a:cubicBezTo>
                    <a:pt x="14547" y="145619"/>
                    <a:pt x="11286" y="148880"/>
                    <a:pt x="7262" y="148880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Полилиния: фигура 8">
              <a:extLst>
                <a:ext uri="{FF2B5EF4-FFF2-40B4-BE49-F238E27FC236}">
                  <a16:creationId xmlns:a16="http://schemas.microsoft.com/office/drawing/2014/main" id="{D96F8C98-989A-4780-8FE4-1969A4A65F43}"/>
                </a:ext>
              </a:extLst>
            </p:cNvPr>
            <p:cNvSpPr/>
            <p:nvPr/>
          </p:nvSpPr>
          <p:spPr>
            <a:xfrm>
              <a:off x="770684" y="4308125"/>
              <a:ext cx="286279" cy="151892"/>
            </a:xfrm>
            <a:custGeom>
              <a:avLst/>
              <a:gdLst>
                <a:gd name="connsiteX0" fmla="*/ 211781 w 286279"/>
                <a:gd name="connsiteY0" fmla="*/ 151892 h 151892"/>
                <a:gd name="connsiteX1" fmla="*/ 21915 w 286279"/>
                <a:gd name="connsiteY1" fmla="*/ 151892 h 151892"/>
                <a:gd name="connsiteX2" fmla="*/ 5449 w 286279"/>
                <a:gd name="connsiteY2" fmla="*/ 144606 h 151892"/>
                <a:gd name="connsiteX3" fmla="*/ 131 w 286279"/>
                <a:gd name="connsiteY3" fmla="*/ 128068 h 151892"/>
                <a:gd name="connsiteX4" fmla="*/ 158987 w 286279"/>
                <a:gd name="connsiteY4" fmla="*/ 887 h 151892"/>
                <a:gd name="connsiteX5" fmla="*/ 286168 w 286279"/>
                <a:gd name="connsiteY5" fmla="*/ 128068 h 151892"/>
                <a:gd name="connsiteX6" fmla="*/ 280922 w 286279"/>
                <a:gd name="connsiteY6" fmla="*/ 144606 h 151892"/>
                <a:gd name="connsiteX7" fmla="*/ 264529 w 286279"/>
                <a:gd name="connsiteY7" fmla="*/ 151892 h 151892"/>
                <a:gd name="connsiteX8" fmla="*/ 211781 w 286279"/>
                <a:gd name="connsiteY8" fmla="*/ 151892 h 151892"/>
                <a:gd name="connsiteX9" fmla="*/ 143149 w 286279"/>
                <a:gd name="connsiteY9" fmla="*/ 14338 h 151892"/>
                <a:gd name="connsiteX10" fmla="*/ 14629 w 286279"/>
                <a:gd name="connsiteY10" fmla="*/ 130035 h 151892"/>
                <a:gd name="connsiteX11" fmla="*/ 16305 w 286279"/>
                <a:gd name="connsiteY11" fmla="*/ 135208 h 151892"/>
                <a:gd name="connsiteX12" fmla="*/ 21915 w 286279"/>
                <a:gd name="connsiteY12" fmla="*/ 137685 h 151892"/>
                <a:gd name="connsiteX13" fmla="*/ 264456 w 286279"/>
                <a:gd name="connsiteY13" fmla="*/ 137685 h 151892"/>
                <a:gd name="connsiteX14" fmla="*/ 269993 w 286279"/>
                <a:gd name="connsiteY14" fmla="*/ 135208 h 151892"/>
                <a:gd name="connsiteX15" fmla="*/ 271669 w 286279"/>
                <a:gd name="connsiteY15" fmla="*/ 129962 h 151892"/>
                <a:gd name="connsiteX16" fmla="*/ 143149 w 286279"/>
                <a:gd name="connsiteY16" fmla="*/ 14338 h 151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6279" h="151892">
                  <a:moveTo>
                    <a:pt x="211781" y="151892"/>
                  </a:moveTo>
                  <a:lnTo>
                    <a:pt x="21915" y="151892"/>
                  </a:lnTo>
                  <a:cubicBezTo>
                    <a:pt x="15635" y="151942"/>
                    <a:pt x="9636" y="149288"/>
                    <a:pt x="5449" y="144606"/>
                  </a:cubicBezTo>
                  <a:cubicBezTo>
                    <a:pt x="1395" y="140106"/>
                    <a:pt x="-540" y="134087"/>
                    <a:pt x="131" y="128068"/>
                  </a:cubicBezTo>
                  <a:cubicBezTo>
                    <a:pt x="8878" y="49080"/>
                    <a:pt x="80000" y="-7860"/>
                    <a:pt x="158987" y="887"/>
                  </a:cubicBezTo>
                  <a:cubicBezTo>
                    <a:pt x="225917" y="8299"/>
                    <a:pt x="278756" y="61137"/>
                    <a:pt x="286168" y="128068"/>
                  </a:cubicBezTo>
                  <a:cubicBezTo>
                    <a:pt x="286776" y="134068"/>
                    <a:pt x="284877" y="140053"/>
                    <a:pt x="280922" y="144606"/>
                  </a:cubicBezTo>
                  <a:cubicBezTo>
                    <a:pt x="276752" y="149268"/>
                    <a:pt x="270784" y="151921"/>
                    <a:pt x="264529" y="151892"/>
                  </a:cubicBezTo>
                  <a:lnTo>
                    <a:pt x="211781" y="151892"/>
                  </a:lnTo>
                  <a:close/>
                  <a:moveTo>
                    <a:pt x="143149" y="14338"/>
                  </a:moveTo>
                  <a:cubicBezTo>
                    <a:pt x="77109" y="14579"/>
                    <a:pt x="21785" y="64383"/>
                    <a:pt x="14629" y="130035"/>
                  </a:cubicBezTo>
                  <a:cubicBezTo>
                    <a:pt x="14432" y="131918"/>
                    <a:pt x="15041" y="133798"/>
                    <a:pt x="16305" y="135208"/>
                  </a:cubicBezTo>
                  <a:cubicBezTo>
                    <a:pt x="17719" y="136819"/>
                    <a:pt x="19771" y="137725"/>
                    <a:pt x="21915" y="137685"/>
                  </a:cubicBezTo>
                  <a:lnTo>
                    <a:pt x="264456" y="137685"/>
                  </a:lnTo>
                  <a:cubicBezTo>
                    <a:pt x="266574" y="137703"/>
                    <a:pt x="268595" y="136799"/>
                    <a:pt x="269993" y="135208"/>
                  </a:cubicBezTo>
                  <a:cubicBezTo>
                    <a:pt x="271217" y="133745"/>
                    <a:pt x="271819" y="131862"/>
                    <a:pt x="271669" y="129962"/>
                  </a:cubicBezTo>
                  <a:cubicBezTo>
                    <a:pt x="264542" y="64307"/>
                    <a:pt x="209190" y="14509"/>
                    <a:pt x="143149" y="14338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Полилиния: фигура 9">
              <a:extLst>
                <a:ext uri="{FF2B5EF4-FFF2-40B4-BE49-F238E27FC236}">
                  <a16:creationId xmlns:a16="http://schemas.microsoft.com/office/drawing/2014/main" id="{BB4393BC-6B74-490D-BFE6-2477C9CBC7F7}"/>
                </a:ext>
              </a:extLst>
            </p:cNvPr>
            <p:cNvSpPr/>
            <p:nvPr/>
          </p:nvSpPr>
          <p:spPr>
            <a:xfrm>
              <a:off x="833691" y="4488722"/>
              <a:ext cx="87428" cy="105497"/>
            </a:xfrm>
            <a:custGeom>
              <a:avLst/>
              <a:gdLst>
                <a:gd name="connsiteX0" fmla="*/ 43714 w 87428"/>
                <a:gd name="connsiteY0" fmla="*/ 105497 h 105497"/>
                <a:gd name="connsiteX1" fmla="*/ 0 w 87428"/>
                <a:gd name="connsiteY1" fmla="*/ 61783 h 105497"/>
                <a:gd name="connsiteX2" fmla="*/ 0 w 87428"/>
                <a:gd name="connsiteY2" fmla="*/ 54497 h 105497"/>
                <a:gd name="connsiteX3" fmla="*/ 7286 w 87428"/>
                <a:gd name="connsiteY3" fmla="*/ 47211 h 105497"/>
                <a:gd name="connsiteX4" fmla="*/ 14571 w 87428"/>
                <a:gd name="connsiteY4" fmla="*/ 54497 h 105497"/>
                <a:gd name="connsiteX5" fmla="*/ 14571 w 87428"/>
                <a:gd name="connsiteY5" fmla="*/ 61783 h 105497"/>
                <a:gd name="connsiteX6" fmla="*/ 43714 w 87428"/>
                <a:gd name="connsiteY6" fmla="*/ 90926 h 105497"/>
                <a:gd name="connsiteX7" fmla="*/ 72857 w 87428"/>
                <a:gd name="connsiteY7" fmla="*/ 61783 h 105497"/>
                <a:gd name="connsiteX8" fmla="*/ 72857 w 87428"/>
                <a:gd name="connsiteY8" fmla="*/ 7286 h 105497"/>
                <a:gd name="connsiteX9" fmla="*/ 80143 w 87428"/>
                <a:gd name="connsiteY9" fmla="*/ 0 h 105497"/>
                <a:gd name="connsiteX10" fmla="*/ 87429 w 87428"/>
                <a:gd name="connsiteY10" fmla="*/ 7286 h 105497"/>
                <a:gd name="connsiteX11" fmla="*/ 87429 w 87428"/>
                <a:gd name="connsiteY11" fmla="*/ 61856 h 105497"/>
                <a:gd name="connsiteX12" fmla="*/ 43714 w 87428"/>
                <a:gd name="connsiteY12" fmla="*/ 105497 h 105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428" h="105497">
                  <a:moveTo>
                    <a:pt x="43714" y="105497"/>
                  </a:moveTo>
                  <a:cubicBezTo>
                    <a:pt x="19572" y="105497"/>
                    <a:pt x="0" y="85926"/>
                    <a:pt x="0" y="61783"/>
                  </a:cubicBezTo>
                  <a:lnTo>
                    <a:pt x="0" y="54497"/>
                  </a:lnTo>
                  <a:cubicBezTo>
                    <a:pt x="0" y="50473"/>
                    <a:pt x="3262" y="47211"/>
                    <a:pt x="7286" y="47211"/>
                  </a:cubicBezTo>
                  <a:cubicBezTo>
                    <a:pt x="11310" y="47211"/>
                    <a:pt x="14571" y="50473"/>
                    <a:pt x="14571" y="54497"/>
                  </a:cubicBezTo>
                  <a:lnTo>
                    <a:pt x="14571" y="61783"/>
                  </a:lnTo>
                  <a:cubicBezTo>
                    <a:pt x="14571" y="77878"/>
                    <a:pt x="27619" y="90926"/>
                    <a:pt x="43714" y="90926"/>
                  </a:cubicBezTo>
                  <a:cubicBezTo>
                    <a:pt x="59809" y="90926"/>
                    <a:pt x="72857" y="77878"/>
                    <a:pt x="72857" y="61783"/>
                  </a:cubicBezTo>
                  <a:lnTo>
                    <a:pt x="72857" y="7286"/>
                  </a:lnTo>
                  <a:cubicBezTo>
                    <a:pt x="72857" y="3262"/>
                    <a:pt x="76119" y="0"/>
                    <a:pt x="80143" y="0"/>
                  </a:cubicBezTo>
                  <a:cubicBezTo>
                    <a:pt x="84167" y="0"/>
                    <a:pt x="87429" y="3262"/>
                    <a:pt x="87429" y="7286"/>
                  </a:cubicBezTo>
                  <a:lnTo>
                    <a:pt x="87429" y="61856"/>
                  </a:lnTo>
                  <a:cubicBezTo>
                    <a:pt x="87388" y="85970"/>
                    <a:pt x="67829" y="105497"/>
                    <a:pt x="43714" y="105497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Полилиния: фигура 10">
              <a:extLst>
                <a:ext uri="{FF2B5EF4-FFF2-40B4-BE49-F238E27FC236}">
                  <a16:creationId xmlns:a16="http://schemas.microsoft.com/office/drawing/2014/main" id="{458C1520-8866-4A42-9EF5-4DACF2F3DCA9}"/>
                </a:ext>
              </a:extLst>
            </p:cNvPr>
            <p:cNvSpPr/>
            <p:nvPr/>
          </p:nvSpPr>
          <p:spPr>
            <a:xfrm>
              <a:off x="906548" y="4282391"/>
              <a:ext cx="14571" cy="174857"/>
            </a:xfrm>
            <a:custGeom>
              <a:avLst/>
              <a:gdLst>
                <a:gd name="connsiteX0" fmla="*/ 7286 w 14571"/>
                <a:gd name="connsiteY0" fmla="*/ 174857 h 174857"/>
                <a:gd name="connsiteX1" fmla="*/ 0 w 14571"/>
                <a:gd name="connsiteY1" fmla="*/ 167571 h 174857"/>
                <a:gd name="connsiteX2" fmla="*/ 0 w 14571"/>
                <a:gd name="connsiteY2" fmla="*/ 7286 h 174857"/>
                <a:gd name="connsiteX3" fmla="*/ 7286 w 14571"/>
                <a:gd name="connsiteY3" fmla="*/ 0 h 174857"/>
                <a:gd name="connsiteX4" fmla="*/ 14571 w 14571"/>
                <a:gd name="connsiteY4" fmla="*/ 7286 h 174857"/>
                <a:gd name="connsiteX5" fmla="*/ 14571 w 14571"/>
                <a:gd name="connsiteY5" fmla="*/ 167571 h 174857"/>
                <a:gd name="connsiteX6" fmla="*/ 7286 w 14571"/>
                <a:gd name="connsiteY6" fmla="*/ 174857 h 174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174857">
                  <a:moveTo>
                    <a:pt x="7286" y="174857"/>
                  </a:moveTo>
                  <a:cubicBezTo>
                    <a:pt x="3262" y="174857"/>
                    <a:pt x="0" y="171595"/>
                    <a:pt x="0" y="167571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167571"/>
                  </a:lnTo>
                  <a:cubicBezTo>
                    <a:pt x="14571" y="171595"/>
                    <a:pt x="11310" y="174857"/>
                    <a:pt x="7286" y="174857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4" name="Текст 7">
            <a:extLst>
              <a:ext uri="{FF2B5EF4-FFF2-40B4-BE49-F238E27FC236}">
                <a16:creationId xmlns:a16="http://schemas.microsoft.com/office/drawing/2014/main" id="{AC801360-CB80-475E-AB80-2F82E5371211}"/>
              </a:ext>
            </a:extLst>
          </p:cNvPr>
          <p:cNvSpPr txBox="1">
            <a:spLocks/>
          </p:cNvSpPr>
          <p:nvPr/>
        </p:nvSpPr>
        <p:spPr>
          <a:xfrm>
            <a:off x="985821" y="3546040"/>
            <a:ext cx="2611728" cy="1089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3538" indent="-3635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lang="ru-RU"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804863" indent="-34766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255713" indent="-34131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708150" indent="-3365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147888" indent="-3190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>
                <a:srgbClr val="FF7900"/>
              </a:buClr>
              <a:buSzTx/>
              <a:buFont typeface="Tahoma" panose="020B0604030504040204" pitchFamily="34" charset="0"/>
              <a:buNone/>
              <a:tabLst/>
              <a:defRPr/>
            </a:pPr>
            <a:r>
              <a:rPr lang="ru-RU" sz="1600" b="1" dirty="0" smtClean="0">
                <a:solidFill>
                  <a:schemeClr val="bg1"/>
                </a:solidFill>
                <a:latin typeface="Cera CY" pitchFamily="2" charset="0"/>
              </a:rPr>
              <a:t>Дефицит оборотных средств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ra CY" pitchFamily="2" charset="0"/>
            </a:endParaRPr>
          </a:p>
        </p:txBody>
      </p:sp>
      <p:sp>
        <p:nvSpPr>
          <p:cNvPr id="87" name="Текст 7">
            <a:extLst>
              <a:ext uri="{FF2B5EF4-FFF2-40B4-BE49-F238E27FC236}">
                <a16:creationId xmlns:a16="http://schemas.microsoft.com/office/drawing/2014/main" id="{A0326FE6-CC5F-4613-8920-E9090B8432C3}"/>
              </a:ext>
            </a:extLst>
          </p:cNvPr>
          <p:cNvSpPr txBox="1">
            <a:spLocks/>
          </p:cNvSpPr>
          <p:nvPr/>
        </p:nvSpPr>
        <p:spPr>
          <a:xfrm>
            <a:off x="7398281" y="3527370"/>
            <a:ext cx="3709245" cy="12522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3538" indent="-3635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lang="ru-RU"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804863" indent="-34766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255713" indent="-34131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708150" indent="-3365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147888" indent="-3190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716615">
              <a:lnSpc>
                <a:spcPct val="100000"/>
              </a:lnSpc>
              <a:spcAft>
                <a:spcPts val="0"/>
              </a:spcAft>
              <a:buClrTx/>
              <a:buNone/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Исключение из кооперации неблагонадежных исполнителей </a:t>
            </a:r>
            <a:endParaRPr lang="ru-RU" sz="1600" b="1" dirty="0">
              <a:solidFill>
                <a:schemeClr val="tx1"/>
              </a:solidFill>
              <a:latin typeface="Cera CY" panose="00000500000000000000" pitchFamily="2" charset="-52"/>
            </a:endParaRPr>
          </a:p>
        </p:txBody>
      </p:sp>
      <p:sp>
        <p:nvSpPr>
          <p:cNvPr id="88" name="Текст 7">
            <a:extLst>
              <a:ext uri="{FF2B5EF4-FFF2-40B4-BE49-F238E27FC236}">
                <a16:creationId xmlns:a16="http://schemas.microsoft.com/office/drawing/2014/main" id="{A0326FE6-CC5F-4613-8920-E9090B8432C3}"/>
              </a:ext>
            </a:extLst>
          </p:cNvPr>
          <p:cNvSpPr txBox="1">
            <a:spLocks/>
          </p:cNvSpPr>
          <p:nvPr/>
        </p:nvSpPr>
        <p:spPr>
          <a:xfrm>
            <a:off x="7423476" y="4534424"/>
            <a:ext cx="3695237" cy="12522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3538" indent="-3635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lang="ru-RU"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804863" indent="-34766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255713" indent="-34131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708150" indent="-3365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147888" indent="-3190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716615">
              <a:lnSpc>
                <a:spcPct val="100000"/>
              </a:lnSpc>
              <a:spcAft>
                <a:spcPts val="0"/>
              </a:spcAft>
              <a:buClrTx/>
              <a:buNone/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Возможность исключения дополнительного обеспечения исполнения обязательств по контракту</a:t>
            </a:r>
            <a:endParaRPr lang="ru-RU" sz="1600" b="1" dirty="0">
              <a:solidFill>
                <a:schemeClr val="tx1"/>
              </a:solidFill>
              <a:latin typeface="Cera CY" panose="00000500000000000000" pitchFamily="2" charset="-52"/>
            </a:endParaRPr>
          </a:p>
        </p:txBody>
      </p:sp>
      <p:sp>
        <p:nvSpPr>
          <p:cNvPr id="91" name="Прямоугольник 90"/>
          <p:cNvSpPr/>
          <p:nvPr/>
        </p:nvSpPr>
        <p:spPr>
          <a:xfrm rot="16200000">
            <a:off x="1989559" y="3898509"/>
            <a:ext cx="42498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ru-RU" sz="2000" b="1" dirty="0" smtClean="0">
                <a:solidFill>
                  <a:srgbClr val="C00000"/>
                </a:solidFill>
                <a:latin typeface="Cera CY" panose="00000500000000000000" pitchFamily="2" charset="-52"/>
              </a:rPr>
              <a:t>НАСТУПИЛО ВРЕМЯ ЗАКАЗЧИКА</a:t>
            </a:r>
            <a:endParaRPr lang="ru-RU" sz="2000" b="1" dirty="0">
              <a:solidFill>
                <a:srgbClr val="C00000"/>
              </a:solidFill>
              <a:latin typeface="Cera CY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702217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Прямоугольник: скругленные углы 37">
            <a:extLst>
              <a:ext uri="{FF2B5EF4-FFF2-40B4-BE49-F238E27FC236}">
                <a16:creationId xmlns:a16="http://schemas.microsoft.com/office/drawing/2014/main" id="{E60AEBCD-F10B-4476-93CB-D60A4A36EF7F}"/>
              </a:ext>
            </a:extLst>
          </p:cNvPr>
          <p:cNvSpPr/>
          <p:nvPr/>
        </p:nvSpPr>
        <p:spPr>
          <a:xfrm>
            <a:off x="473974" y="1088436"/>
            <a:ext cx="7782614" cy="2772000"/>
          </a:xfrm>
          <a:prstGeom prst="roundRect">
            <a:avLst>
              <a:gd name="adj" fmla="val 716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64" name="Прямоугольник: скругленные углы 37">
            <a:extLst>
              <a:ext uri="{FF2B5EF4-FFF2-40B4-BE49-F238E27FC236}">
                <a16:creationId xmlns:a16="http://schemas.microsoft.com/office/drawing/2014/main" id="{FE2C7521-BF3C-4DD7-B130-27E0DF65450F}"/>
              </a:ext>
            </a:extLst>
          </p:cNvPr>
          <p:cNvSpPr/>
          <p:nvPr/>
        </p:nvSpPr>
        <p:spPr>
          <a:xfrm>
            <a:off x="473974" y="3909303"/>
            <a:ext cx="7782614" cy="1256174"/>
          </a:xfrm>
          <a:prstGeom prst="roundRect">
            <a:avLst>
              <a:gd name="adj" fmla="val 164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>
                <a:solidFill>
                  <a:schemeClr val="tx1"/>
                </a:solidFill>
              </a:rPr>
              <a:t> </a:t>
            </a:r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A025212C-41CA-4280-B47B-72DF7F850FD9}"/>
              </a:ext>
            </a:extLst>
          </p:cNvPr>
          <p:cNvGrpSpPr/>
          <p:nvPr/>
        </p:nvGrpSpPr>
        <p:grpSpPr>
          <a:xfrm>
            <a:off x="526610" y="1198182"/>
            <a:ext cx="4014870" cy="3225691"/>
            <a:chOff x="382856" y="1199496"/>
            <a:chExt cx="7477937" cy="6008042"/>
          </a:xfrm>
        </p:grpSpPr>
        <p:sp>
          <p:nvSpPr>
            <p:cNvPr id="46" name="Shape">
              <a:extLst>
                <a:ext uri="{FF2B5EF4-FFF2-40B4-BE49-F238E27FC236}">
                  <a16:creationId xmlns:a16="http://schemas.microsoft.com/office/drawing/2014/main" id="{BE80C3A0-B5C9-47C2-8598-795FD49CB3C8}"/>
                </a:ext>
              </a:extLst>
            </p:cNvPr>
            <p:cNvSpPr/>
            <p:nvPr/>
          </p:nvSpPr>
          <p:spPr>
            <a:xfrm>
              <a:off x="3115362" y="1199496"/>
              <a:ext cx="1980666" cy="1503605"/>
            </a:xfrm>
            <a:custGeom>
              <a:avLst/>
              <a:gdLst>
                <a:gd name="connsiteX0" fmla="*/ 10927 w 21600"/>
                <a:gd name="connsiteY0" fmla="*/ 0 h 37254"/>
                <a:gd name="connsiteX1" fmla="*/ 5473 w 21600"/>
                <a:gd name="connsiteY1" fmla="*/ 15654 h 37254"/>
                <a:gd name="connsiteX2" fmla="*/ 0 w 21600"/>
                <a:gd name="connsiteY2" fmla="*/ 37254 h 37254"/>
                <a:gd name="connsiteX3" fmla="*/ 21600 w 21600"/>
                <a:gd name="connsiteY3" fmla="*/ 37254 h 37254"/>
                <a:gd name="connsiteX4" fmla="*/ 10927 w 21600"/>
                <a:gd name="connsiteY4" fmla="*/ 0 h 37254"/>
                <a:gd name="connsiteX0" fmla="*/ 10927 w 21600"/>
                <a:gd name="connsiteY0" fmla="*/ 0 h 37254"/>
                <a:gd name="connsiteX1" fmla="*/ 6112 w 21600"/>
                <a:gd name="connsiteY1" fmla="*/ 17103 h 37254"/>
                <a:gd name="connsiteX2" fmla="*/ 0 w 21600"/>
                <a:gd name="connsiteY2" fmla="*/ 37254 h 37254"/>
                <a:gd name="connsiteX3" fmla="*/ 21600 w 21600"/>
                <a:gd name="connsiteY3" fmla="*/ 37254 h 37254"/>
                <a:gd name="connsiteX4" fmla="*/ 10927 w 21600"/>
                <a:gd name="connsiteY4" fmla="*/ 0 h 37254"/>
                <a:gd name="connsiteX0" fmla="*/ 10927 w 21600"/>
                <a:gd name="connsiteY0" fmla="*/ 0 h 37254"/>
                <a:gd name="connsiteX1" fmla="*/ 5826 w 21600"/>
                <a:gd name="connsiteY1" fmla="*/ 17535 h 37254"/>
                <a:gd name="connsiteX2" fmla="*/ 0 w 21600"/>
                <a:gd name="connsiteY2" fmla="*/ 37254 h 37254"/>
                <a:gd name="connsiteX3" fmla="*/ 21600 w 21600"/>
                <a:gd name="connsiteY3" fmla="*/ 37254 h 37254"/>
                <a:gd name="connsiteX4" fmla="*/ 10927 w 21600"/>
                <a:gd name="connsiteY4" fmla="*/ 0 h 37254"/>
                <a:gd name="connsiteX0" fmla="*/ 10736 w 21600"/>
                <a:gd name="connsiteY0" fmla="*/ 0 h 37182"/>
                <a:gd name="connsiteX1" fmla="*/ 5826 w 21600"/>
                <a:gd name="connsiteY1" fmla="*/ 17463 h 37182"/>
                <a:gd name="connsiteX2" fmla="*/ 0 w 21600"/>
                <a:gd name="connsiteY2" fmla="*/ 37182 h 37182"/>
                <a:gd name="connsiteX3" fmla="*/ 21600 w 21600"/>
                <a:gd name="connsiteY3" fmla="*/ 37182 h 37182"/>
                <a:gd name="connsiteX4" fmla="*/ 10736 w 21600"/>
                <a:gd name="connsiteY4" fmla="*/ 0 h 37182"/>
                <a:gd name="connsiteX0" fmla="*/ 10736 w 21600"/>
                <a:gd name="connsiteY0" fmla="*/ 0 h 37182"/>
                <a:gd name="connsiteX1" fmla="*/ 5731 w 21600"/>
                <a:gd name="connsiteY1" fmla="*/ 16959 h 37182"/>
                <a:gd name="connsiteX2" fmla="*/ 0 w 21600"/>
                <a:gd name="connsiteY2" fmla="*/ 37182 h 37182"/>
                <a:gd name="connsiteX3" fmla="*/ 21600 w 21600"/>
                <a:gd name="connsiteY3" fmla="*/ 37182 h 37182"/>
                <a:gd name="connsiteX4" fmla="*/ 10736 w 21600"/>
                <a:gd name="connsiteY4" fmla="*/ 0 h 37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00" h="37182" extrusionOk="0">
                  <a:moveTo>
                    <a:pt x="10736" y="0"/>
                  </a:moveTo>
                  <a:lnTo>
                    <a:pt x="5731" y="16959"/>
                  </a:lnTo>
                  <a:lnTo>
                    <a:pt x="0" y="37182"/>
                  </a:lnTo>
                  <a:lnTo>
                    <a:pt x="21600" y="37182"/>
                  </a:lnTo>
                  <a:lnTo>
                    <a:pt x="10736" y="0"/>
                  </a:lnTo>
                  <a:close/>
                </a:path>
              </a:pathLst>
            </a:cu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defTabSz="912828">
                <a:defRPr sz="1800" b="0">
                  <a:solidFill>
                    <a:srgbClr val="4AA4A7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797" kern="0" dirty="0">
                <a:solidFill>
                  <a:schemeClr val="accent6"/>
                </a:solidFill>
                <a:latin typeface="Cera CY" panose="00000500000000000000" pitchFamily="50" charset="-52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Email">
              <a:extLst>
                <a:ext uri="{FF2B5EF4-FFF2-40B4-BE49-F238E27FC236}">
                  <a16:creationId xmlns:a16="http://schemas.microsoft.com/office/drawing/2014/main" id="{D38C44F7-F263-45FF-BB45-CA3D283A4AEF}"/>
                </a:ext>
              </a:extLst>
            </p:cNvPr>
            <p:cNvSpPr txBox="1"/>
            <p:nvPr/>
          </p:nvSpPr>
          <p:spPr>
            <a:xfrm>
              <a:off x="4107550" y="1838775"/>
              <a:ext cx="121" cy="8928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>
                <a:lnSpc>
                  <a:spcPct val="120000"/>
                </a:lnSpc>
                <a:defRPr sz="2600">
                  <a:solidFill>
                    <a:srgbClr val="F6FAFF"/>
                  </a:solidFill>
                  <a:latin typeface="Aileron"/>
                  <a:ea typeface="Aileron"/>
                  <a:cs typeface="Aileron"/>
                  <a:sym typeface="Aileron"/>
                </a:defRPr>
              </a:lvl1pPr>
            </a:lstStyle>
            <a:p>
              <a:pPr algn="ctr" defTabSz="912828">
                <a:defRPr/>
              </a:pPr>
              <a:endParaRPr sz="2596" kern="0" dirty="0">
                <a:latin typeface="Cera CY"/>
              </a:endParaRPr>
            </a:p>
          </p:txBody>
        </p:sp>
        <p:sp>
          <p:nvSpPr>
            <p:cNvPr id="50" name="Shape">
              <a:extLst>
                <a:ext uri="{FF2B5EF4-FFF2-40B4-BE49-F238E27FC236}">
                  <a16:creationId xmlns:a16="http://schemas.microsoft.com/office/drawing/2014/main" id="{CE523DDA-0980-4F76-8824-03FC3D4E7973}"/>
                </a:ext>
              </a:extLst>
            </p:cNvPr>
            <p:cNvSpPr/>
            <p:nvPr/>
          </p:nvSpPr>
          <p:spPr>
            <a:xfrm>
              <a:off x="2456025" y="2928132"/>
              <a:ext cx="3325370" cy="8734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65" y="0"/>
                  </a:moveTo>
                  <a:lnTo>
                    <a:pt x="3235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18365" y="0"/>
                  </a:lnTo>
                  <a:close/>
                </a:path>
              </a:pathLst>
            </a:custGeom>
            <a:solidFill>
              <a:schemeClr val="accent3">
                <a:lumMod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defTabSz="912828">
                <a:defRPr sz="1800" b="0">
                  <a:solidFill>
                    <a:srgbClr val="2E3239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797" kern="0" dirty="0">
                <a:solidFill>
                  <a:srgbClr val="2E3239"/>
                </a:solidFill>
                <a:latin typeface="Cera CY" panose="00000500000000000000" pitchFamily="50" charset="-52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Marketing">
              <a:extLst>
                <a:ext uri="{FF2B5EF4-FFF2-40B4-BE49-F238E27FC236}">
                  <a16:creationId xmlns:a16="http://schemas.microsoft.com/office/drawing/2014/main" id="{874FEA51-A4A3-4998-AB23-C35CD3AE989B}"/>
                </a:ext>
              </a:extLst>
            </p:cNvPr>
            <p:cNvSpPr txBox="1"/>
            <p:nvPr/>
          </p:nvSpPr>
          <p:spPr>
            <a:xfrm>
              <a:off x="4118649" y="2937289"/>
              <a:ext cx="121" cy="8928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>
                <a:lnSpc>
                  <a:spcPct val="120000"/>
                </a:lnSpc>
                <a:defRPr sz="2600">
                  <a:solidFill>
                    <a:srgbClr val="F6FAFF"/>
                  </a:solidFill>
                  <a:latin typeface="Aileron"/>
                  <a:ea typeface="Aileron"/>
                  <a:cs typeface="Aileron"/>
                  <a:sym typeface="Aileron"/>
                </a:defRPr>
              </a:lvl1pPr>
            </a:lstStyle>
            <a:p>
              <a:pPr algn="ctr" defTabSz="912828">
                <a:defRPr/>
              </a:pPr>
              <a:endParaRPr sz="2596" kern="0" dirty="0">
                <a:latin typeface="Cera CY"/>
              </a:endParaRPr>
            </a:p>
          </p:txBody>
        </p:sp>
        <p:sp>
          <p:nvSpPr>
            <p:cNvPr id="62" name="Shape">
              <a:extLst>
                <a:ext uri="{FF2B5EF4-FFF2-40B4-BE49-F238E27FC236}">
                  <a16:creationId xmlns:a16="http://schemas.microsoft.com/office/drawing/2014/main" id="{D39B61F8-0084-4ABD-A1F5-1E6F67AE6301}"/>
                </a:ext>
              </a:extLst>
            </p:cNvPr>
            <p:cNvSpPr/>
            <p:nvPr/>
          </p:nvSpPr>
          <p:spPr>
            <a:xfrm>
              <a:off x="1781756" y="4027670"/>
              <a:ext cx="4673907" cy="8734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9281" y="0"/>
                  </a:lnTo>
                  <a:lnTo>
                    <a:pt x="2319" y="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defTabSz="912828">
                <a:defRPr sz="1800" b="0">
                  <a:solidFill>
                    <a:srgbClr val="2E3239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797" kern="0" dirty="0">
                <a:solidFill>
                  <a:srgbClr val="2E3239"/>
                </a:solidFill>
                <a:latin typeface="Cera CY" panose="00000500000000000000" pitchFamily="50" charset="-52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Shape">
              <a:extLst>
                <a:ext uri="{FF2B5EF4-FFF2-40B4-BE49-F238E27FC236}">
                  <a16:creationId xmlns:a16="http://schemas.microsoft.com/office/drawing/2014/main" id="{B449908F-16B7-4B29-9A82-93094D55230E}"/>
                </a:ext>
              </a:extLst>
            </p:cNvPr>
            <p:cNvSpPr/>
            <p:nvPr/>
          </p:nvSpPr>
          <p:spPr>
            <a:xfrm>
              <a:off x="1107487" y="5130048"/>
              <a:ext cx="6030107" cy="8734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9775" y="0"/>
                  </a:lnTo>
                  <a:lnTo>
                    <a:pt x="1798" y="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defTabSz="912828">
                <a:defRPr sz="1800" b="0">
                  <a:solidFill>
                    <a:srgbClr val="2E3239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797" kern="0" dirty="0">
                <a:solidFill>
                  <a:srgbClr val="2E3239"/>
                </a:solidFill>
                <a:latin typeface="Cera CY" panose="00000500000000000000" pitchFamily="50" charset="-52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Shape">
              <a:extLst>
                <a:ext uri="{FF2B5EF4-FFF2-40B4-BE49-F238E27FC236}">
                  <a16:creationId xmlns:a16="http://schemas.microsoft.com/office/drawing/2014/main" id="{EACFEBD7-E3AB-474B-9C00-1D17D9ECB6DE}"/>
                </a:ext>
              </a:extLst>
            </p:cNvPr>
            <p:cNvSpPr/>
            <p:nvPr/>
          </p:nvSpPr>
          <p:spPr>
            <a:xfrm>
              <a:off x="382856" y="6360183"/>
              <a:ext cx="7477937" cy="847355"/>
            </a:xfrm>
            <a:custGeom>
              <a:avLst/>
              <a:gdLst>
                <a:gd name="connsiteX0" fmla="*/ 0 w 21600"/>
                <a:gd name="connsiteY0" fmla="*/ 21600 h 21600"/>
                <a:gd name="connsiteX1" fmla="*/ 21600 w 21600"/>
                <a:gd name="connsiteY1" fmla="*/ 21600 h 21600"/>
                <a:gd name="connsiteX2" fmla="*/ 19775 w 21600"/>
                <a:gd name="connsiteY2" fmla="*/ 0 h 21600"/>
                <a:gd name="connsiteX3" fmla="*/ 1662 w 21600"/>
                <a:gd name="connsiteY3" fmla="*/ 0 h 21600"/>
                <a:gd name="connsiteX4" fmla="*/ 0 w 21600"/>
                <a:gd name="connsiteY4" fmla="*/ 21600 h 21600"/>
                <a:gd name="connsiteX0" fmla="*/ 0 w 21600"/>
                <a:gd name="connsiteY0" fmla="*/ 21600 h 21600"/>
                <a:gd name="connsiteX1" fmla="*/ 21600 w 21600"/>
                <a:gd name="connsiteY1" fmla="*/ 21600 h 21600"/>
                <a:gd name="connsiteX2" fmla="*/ 19941 w 21600"/>
                <a:gd name="connsiteY2" fmla="*/ 0 h 21600"/>
                <a:gd name="connsiteX3" fmla="*/ 1662 w 21600"/>
                <a:gd name="connsiteY3" fmla="*/ 0 h 21600"/>
                <a:gd name="connsiteX4" fmla="*/ 0 w 21600"/>
                <a:gd name="connsiteY4" fmla="*/ 21600 h 2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9941" y="0"/>
                  </a:lnTo>
                  <a:lnTo>
                    <a:pt x="1662" y="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648" tIns="45648" rIns="45648" bIns="45648" numCol="1" anchor="t">
              <a:noAutofit/>
            </a:bodyPr>
            <a:lstStyle/>
            <a:p>
              <a:pPr defTabSz="912828">
                <a:defRPr/>
              </a:pPr>
              <a:endParaRPr sz="1797" kern="0" dirty="0">
                <a:solidFill>
                  <a:srgbClr val="2E3239"/>
                </a:solidFill>
                <a:latin typeface="Cera CY" panose="00000500000000000000" pitchFamily="50" charset="-52"/>
                <a:cs typeface="Calibri"/>
              </a:endParaRPr>
            </a:p>
          </p:txBody>
        </p:sp>
      </p:grpSp>
      <p:pic>
        <p:nvPicPr>
          <p:cNvPr id="67" name="Рисунок 66">
            <a:extLst>
              <a:ext uri="{FF2B5EF4-FFF2-40B4-BE49-F238E27FC236}">
                <a16:creationId xmlns:a16="http://schemas.microsoft.com/office/drawing/2014/main" id="{D68D47E1-B967-4EC7-B2B2-804424F43C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04767" y="1555670"/>
            <a:ext cx="260711" cy="338924"/>
          </a:xfrm>
          <a:prstGeom prst="rect">
            <a:avLst/>
          </a:prstGeom>
        </p:spPr>
      </p:pic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96AF1518-6FAF-45E2-8355-EE7750BC4251}"/>
              </a:ext>
            </a:extLst>
          </p:cNvPr>
          <p:cNvGrpSpPr/>
          <p:nvPr/>
        </p:nvGrpSpPr>
        <p:grpSpPr>
          <a:xfrm>
            <a:off x="2595015" y="1758836"/>
            <a:ext cx="153673" cy="135258"/>
            <a:chOff x="3271904" y="2490334"/>
            <a:chExt cx="183432" cy="161450"/>
          </a:xfrm>
          <a:solidFill>
            <a:srgbClr val="FFFFFF"/>
          </a:solidFill>
        </p:grpSpPr>
        <p:sp>
          <p:nvSpPr>
            <p:cNvPr id="69" name="Полилиния: фигура 39">
              <a:extLst>
                <a:ext uri="{FF2B5EF4-FFF2-40B4-BE49-F238E27FC236}">
                  <a16:creationId xmlns:a16="http://schemas.microsoft.com/office/drawing/2014/main" id="{B4105A01-5DBE-438A-9C20-2FD833C85A2B}"/>
                </a:ext>
              </a:extLst>
            </p:cNvPr>
            <p:cNvSpPr/>
            <p:nvPr/>
          </p:nvSpPr>
          <p:spPr>
            <a:xfrm>
              <a:off x="3271904" y="2620079"/>
              <a:ext cx="182939" cy="31705"/>
            </a:xfrm>
            <a:custGeom>
              <a:avLst/>
              <a:gdLst>
                <a:gd name="connsiteX0" fmla="*/ 172371 w 182939"/>
                <a:gd name="connsiteY0" fmla="*/ 31705 h 31705"/>
                <a:gd name="connsiteX1" fmla="*/ 10568 w 182939"/>
                <a:gd name="connsiteY1" fmla="*/ 31705 h 31705"/>
                <a:gd name="connsiteX2" fmla="*/ 0 w 182939"/>
                <a:gd name="connsiteY2" fmla="*/ 21137 h 31705"/>
                <a:gd name="connsiteX3" fmla="*/ 0 w 182939"/>
                <a:gd name="connsiteY3" fmla="*/ 3664 h 31705"/>
                <a:gd name="connsiteX4" fmla="*/ 3523 w 182939"/>
                <a:gd name="connsiteY4" fmla="*/ 141 h 31705"/>
                <a:gd name="connsiteX5" fmla="*/ 7046 w 182939"/>
                <a:gd name="connsiteY5" fmla="*/ 3664 h 31705"/>
                <a:gd name="connsiteX6" fmla="*/ 7046 w 182939"/>
                <a:gd name="connsiteY6" fmla="*/ 21137 h 31705"/>
                <a:gd name="connsiteX7" fmla="*/ 10568 w 182939"/>
                <a:gd name="connsiteY7" fmla="*/ 24660 h 31705"/>
                <a:gd name="connsiteX8" fmla="*/ 172371 w 182939"/>
                <a:gd name="connsiteY8" fmla="*/ 24660 h 31705"/>
                <a:gd name="connsiteX9" fmla="*/ 175894 w 182939"/>
                <a:gd name="connsiteY9" fmla="*/ 21137 h 31705"/>
                <a:gd name="connsiteX10" fmla="*/ 175894 w 182939"/>
                <a:gd name="connsiteY10" fmla="*/ 3523 h 31705"/>
                <a:gd name="connsiteX11" fmla="*/ 179417 w 182939"/>
                <a:gd name="connsiteY11" fmla="*/ 0 h 31705"/>
                <a:gd name="connsiteX12" fmla="*/ 182939 w 182939"/>
                <a:gd name="connsiteY12" fmla="*/ 3523 h 31705"/>
                <a:gd name="connsiteX13" fmla="*/ 182939 w 182939"/>
                <a:gd name="connsiteY13" fmla="*/ 21137 h 31705"/>
                <a:gd name="connsiteX14" fmla="*/ 172371 w 182939"/>
                <a:gd name="connsiteY14" fmla="*/ 31705 h 3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2939" h="31705">
                  <a:moveTo>
                    <a:pt x="172371" y="31705"/>
                  </a:moveTo>
                  <a:lnTo>
                    <a:pt x="10568" y="31705"/>
                  </a:lnTo>
                  <a:cubicBezTo>
                    <a:pt x="4756" y="31705"/>
                    <a:pt x="0" y="26950"/>
                    <a:pt x="0" y="21137"/>
                  </a:cubicBezTo>
                  <a:lnTo>
                    <a:pt x="0" y="3664"/>
                  </a:lnTo>
                  <a:cubicBezTo>
                    <a:pt x="0" y="1726"/>
                    <a:pt x="1585" y="141"/>
                    <a:pt x="3523" y="141"/>
                  </a:cubicBezTo>
                  <a:cubicBezTo>
                    <a:pt x="5460" y="141"/>
                    <a:pt x="7046" y="1726"/>
                    <a:pt x="7046" y="3664"/>
                  </a:cubicBezTo>
                  <a:lnTo>
                    <a:pt x="7046" y="21137"/>
                  </a:lnTo>
                  <a:cubicBezTo>
                    <a:pt x="7046" y="23075"/>
                    <a:pt x="8631" y="24660"/>
                    <a:pt x="10568" y="24660"/>
                  </a:cubicBezTo>
                  <a:lnTo>
                    <a:pt x="172371" y="24660"/>
                  </a:lnTo>
                  <a:cubicBezTo>
                    <a:pt x="174309" y="24660"/>
                    <a:pt x="175894" y="23075"/>
                    <a:pt x="175894" y="21137"/>
                  </a:cubicBezTo>
                  <a:lnTo>
                    <a:pt x="175894" y="3523"/>
                  </a:lnTo>
                  <a:cubicBezTo>
                    <a:pt x="175894" y="1585"/>
                    <a:pt x="177479" y="0"/>
                    <a:pt x="179417" y="0"/>
                  </a:cubicBezTo>
                  <a:cubicBezTo>
                    <a:pt x="181354" y="0"/>
                    <a:pt x="182939" y="1585"/>
                    <a:pt x="182939" y="3523"/>
                  </a:cubicBezTo>
                  <a:lnTo>
                    <a:pt x="182939" y="21137"/>
                  </a:lnTo>
                  <a:cubicBezTo>
                    <a:pt x="182939" y="26985"/>
                    <a:pt x="178184" y="31705"/>
                    <a:pt x="172371" y="31705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70" name="Полилиния: фигура 40">
              <a:extLst>
                <a:ext uri="{FF2B5EF4-FFF2-40B4-BE49-F238E27FC236}">
                  <a16:creationId xmlns:a16="http://schemas.microsoft.com/office/drawing/2014/main" id="{6406F5F8-B279-407F-B2C0-D589BBDC7E98}"/>
                </a:ext>
              </a:extLst>
            </p:cNvPr>
            <p:cNvSpPr/>
            <p:nvPr/>
          </p:nvSpPr>
          <p:spPr>
            <a:xfrm>
              <a:off x="3271904" y="2511506"/>
              <a:ext cx="183432" cy="94728"/>
            </a:xfrm>
            <a:custGeom>
              <a:avLst/>
              <a:gdLst>
                <a:gd name="connsiteX0" fmla="*/ 172899 w 183432"/>
                <a:gd name="connsiteY0" fmla="*/ 94729 h 94728"/>
                <a:gd name="connsiteX1" fmla="*/ 130168 w 183432"/>
                <a:gd name="connsiteY1" fmla="*/ 94729 h 94728"/>
                <a:gd name="connsiteX2" fmla="*/ 126645 w 183432"/>
                <a:gd name="connsiteY2" fmla="*/ 91206 h 94728"/>
                <a:gd name="connsiteX3" fmla="*/ 130168 w 183432"/>
                <a:gd name="connsiteY3" fmla="*/ 87683 h 94728"/>
                <a:gd name="connsiteX4" fmla="*/ 172864 w 183432"/>
                <a:gd name="connsiteY4" fmla="*/ 87683 h 94728"/>
                <a:gd name="connsiteX5" fmla="*/ 176387 w 183432"/>
                <a:gd name="connsiteY5" fmla="*/ 84160 h 94728"/>
                <a:gd name="connsiteX6" fmla="*/ 176387 w 183432"/>
                <a:gd name="connsiteY6" fmla="*/ 10568 h 94728"/>
                <a:gd name="connsiteX7" fmla="*/ 172864 w 183432"/>
                <a:gd name="connsiteY7" fmla="*/ 7046 h 94728"/>
                <a:gd name="connsiteX8" fmla="*/ 10568 w 183432"/>
                <a:gd name="connsiteY8" fmla="*/ 7046 h 94728"/>
                <a:gd name="connsiteX9" fmla="*/ 7046 w 183432"/>
                <a:gd name="connsiteY9" fmla="*/ 10568 h 94728"/>
                <a:gd name="connsiteX10" fmla="*/ 7046 w 183432"/>
                <a:gd name="connsiteY10" fmla="*/ 84160 h 94728"/>
                <a:gd name="connsiteX11" fmla="*/ 10568 w 183432"/>
                <a:gd name="connsiteY11" fmla="*/ 87683 h 94728"/>
                <a:gd name="connsiteX12" fmla="*/ 52666 w 183432"/>
                <a:gd name="connsiteY12" fmla="*/ 87683 h 94728"/>
                <a:gd name="connsiteX13" fmla="*/ 56189 w 183432"/>
                <a:gd name="connsiteY13" fmla="*/ 91206 h 94728"/>
                <a:gd name="connsiteX14" fmla="*/ 52666 w 183432"/>
                <a:gd name="connsiteY14" fmla="*/ 94729 h 94728"/>
                <a:gd name="connsiteX15" fmla="*/ 10568 w 183432"/>
                <a:gd name="connsiteY15" fmla="*/ 94729 h 94728"/>
                <a:gd name="connsiteX16" fmla="*/ 0 w 183432"/>
                <a:gd name="connsiteY16" fmla="*/ 84160 h 94728"/>
                <a:gd name="connsiteX17" fmla="*/ 0 w 183432"/>
                <a:gd name="connsiteY17" fmla="*/ 10568 h 94728"/>
                <a:gd name="connsiteX18" fmla="*/ 10568 w 183432"/>
                <a:gd name="connsiteY18" fmla="*/ 0 h 94728"/>
                <a:gd name="connsiteX19" fmla="*/ 172864 w 183432"/>
                <a:gd name="connsiteY19" fmla="*/ 0 h 94728"/>
                <a:gd name="connsiteX20" fmla="*/ 183433 w 183432"/>
                <a:gd name="connsiteY20" fmla="*/ 10568 h 94728"/>
                <a:gd name="connsiteX21" fmla="*/ 183433 w 183432"/>
                <a:gd name="connsiteY21" fmla="*/ 84160 h 94728"/>
                <a:gd name="connsiteX22" fmla="*/ 172899 w 183432"/>
                <a:gd name="connsiteY22" fmla="*/ 94729 h 94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83432" h="94728">
                  <a:moveTo>
                    <a:pt x="172899" y="94729"/>
                  </a:moveTo>
                  <a:lnTo>
                    <a:pt x="130168" y="94729"/>
                  </a:lnTo>
                  <a:cubicBezTo>
                    <a:pt x="128230" y="94729"/>
                    <a:pt x="126645" y="93144"/>
                    <a:pt x="126645" y="91206"/>
                  </a:cubicBezTo>
                  <a:cubicBezTo>
                    <a:pt x="126645" y="89268"/>
                    <a:pt x="128230" y="87683"/>
                    <a:pt x="130168" y="87683"/>
                  </a:cubicBezTo>
                  <a:lnTo>
                    <a:pt x="172864" y="87683"/>
                  </a:lnTo>
                  <a:cubicBezTo>
                    <a:pt x="174802" y="87683"/>
                    <a:pt x="176387" y="86098"/>
                    <a:pt x="176387" y="84160"/>
                  </a:cubicBezTo>
                  <a:lnTo>
                    <a:pt x="176387" y="10568"/>
                  </a:lnTo>
                  <a:cubicBezTo>
                    <a:pt x="176387" y="8631"/>
                    <a:pt x="174802" y="7046"/>
                    <a:pt x="172864" y="7046"/>
                  </a:cubicBezTo>
                  <a:lnTo>
                    <a:pt x="10568" y="7046"/>
                  </a:lnTo>
                  <a:cubicBezTo>
                    <a:pt x="8631" y="7046"/>
                    <a:pt x="7046" y="8631"/>
                    <a:pt x="7046" y="10568"/>
                  </a:cubicBezTo>
                  <a:lnTo>
                    <a:pt x="7046" y="84160"/>
                  </a:lnTo>
                  <a:cubicBezTo>
                    <a:pt x="7046" y="86098"/>
                    <a:pt x="8631" y="87683"/>
                    <a:pt x="10568" y="87683"/>
                  </a:cubicBezTo>
                  <a:lnTo>
                    <a:pt x="52666" y="87683"/>
                  </a:lnTo>
                  <a:cubicBezTo>
                    <a:pt x="54604" y="87683"/>
                    <a:pt x="56189" y="89268"/>
                    <a:pt x="56189" y="91206"/>
                  </a:cubicBezTo>
                  <a:cubicBezTo>
                    <a:pt x="56189" y="93144"/>
                    <a:pt x="54604" y="94729"/>
                    <a:pt x="52666" y="94729"/>
                  </a:cubicBezTo>
                  <a:lnTo>
                    <a:pt x="10568" y="94729"/>
                  </a:lnTo>
                  <a:cubicBezTo>
                    <a:pt x="4756" y="94729"/>
                    <a:pt x="0" y="89973"/>
                    <a:pt x="0" y="84160"/>
                  </a:cubicBezTo>
                  <a:lnTo>
                    <a:pt x="0" y="10568"/>
                  </a:lnTo>
                  <a:cubicBezTo>
                    <a:pt x="0" y="4756"/>
                    <a:pt x="4756" y="0"/>
                    <a:pt x="10568" y="0"/>
                  </a:cubicBezTo>
                  <a:lnTo>
                    <a:pt x="172864" y="0"/>
                  </a:lnTo>
                  <a:cubicBezTo>
                    <a:pt x="178677" y="0"/>
                    <a:pt x="183433" y="4756"/>
                    <a:pt x="183433" y="10568"/>
                  </a:cubicBezTo>
                  <a:lnTo>
                    <a:pt x="183433" y="84160"/>
                  </a:lnTo>
                  <a:cubicBezTo>
                    <a:pt x="183468" y="89973"/>
                    <a:pt x="178712" y="94729"/>
                    <a:pt x="172899" y="94729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71" name="Полилиния: фигура 41">
              <a:extLst>
                <a:ext uri="{FF2B5EF4-FFF2-40B4-BE49-F238E27FC236}">
                  <a16:creationId xmlns:a16="http://schemas.microsoft.com/office/drawing/2014/main" id="{903A23D6-0D30-48BF-9165-B22612CF0C2F}"/>
                </a:ext>
              </a:extLst>
            </p:cNvPr>
            <p:cNvSpPr/>
            <p:nvPr/>
          </p:nvSpPr>
          <p:spPr>
            <a:xfrm>
              <a:off x="3342430" y="2574600"/>
              <a:ext cx="41991" cy="59888"/>
            </a:xfrm>
            <a:custGeom>
              <a:avLst/>
              <a:gdLst>
                <a:gd name="connsiteX0" fmla="*/ 20996 w 41991"/>
                <a:gd name="connsiteY0" fmla="*/ 59888 h 59888"/>
                <a:gd name="connsiteX1" fmla="*/ 0 w 41991"/>
                <a:gd name="connsiteY1" fmla="*/ 38892 h 59888"/>
                <a:gd name="connsiteX2" fmla="*/ 0 w 41991"/>
                <a:gd name="connsiteY2" fmla="*/ 10568 h 59888"/>
                <a:gd name="connsiteX3" fmla="*/ 10568 w 41991"/>
                <a:gd name="connsiteY3" fmla="*/ 0 h 59888"/>
                <a:gd name="connsiteX4" fmla="*/ 31423 w 41991"/>
                <a:gd name="connsiteY4" fmla="*/ 0 h 59888"/>
                <a:gd name="connsiteX5" fmla="*/ 41992 w 41991"/>
                <a:gd name="connsiteY5" fmla="*/ 10568 h 59888"/>
                <a:gd name="connsiteX6" fmla="*/ 41992 w 41991"/>
                <a:gd name="connsiteY6" fmla="*/ 38892 h 59888"/>
                <a:gd name="connsiteX7" fmla="*/ 20996 w 41991"/>
                <a:gd name="connsiteY7" fmla="*/ 59888 h 59888"/>
                <a:gd name="connsiteX8" fmla="*/ 10533 w 41991"/>
                <a:gd name="connsiteY8" fmla="*/ 7046 h 59888"/>
                <a:gd name="connsiteX9" fmla="*/ 7010 w 41991"/>
                <a:gd name="connsiteY9" fmla="*/ 10568 h 59888"/>
                <a:gd name="connsiteX10" fmla="*/ 7010 w 41991"/>
                <a:gd name="connsiteY10" fmla="*/ 38892 h 59888"/>
                <a:gd name="connsiteX11" fmla="*/ 20961 w 41991"/>
                <a:gd name="connsiteY11" fmla="*/ 52842 h 59888"/>
                <a:gd name="connsiteX12" fmla="*/ 34911 w 41991"/>
                <a:gd name="connsiteY12" fmla="*/ 38892 h 59888"/>
                <a:gd name="connsiteX13" fmla="*/ 34911 w 41991"/>
                <a:gd name="connsiteY13" fmla="*/ 10568 h 59888"/>
                <a:gd name="connsiteX14" fmla="*/ 31388 w 41991"/>
                <a:gd name="connsiteY14" fmla="*/ 7046 h 59888"/>
                <a:gd name="connsiteX15" fmla="*/ 10533 w 41991"/>
                <a:gd name="connsiteY15" fmla="*/ 7046 h 5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991" h="59888">
                  <a:moveTo>
                    <a:pt x="20996" y="59888"/>
                  </a:moveTo>
                  <a:cubicBezTo>
                    <a:pt x="9406" y="59888"/>
                    <a:pt x="0" y="50447"/>
                    <a:pt x="0" y="38892"/>
                  </a:cubicBezTo>
                  <a:lnTo>
                    <a:pt x="0" y="10568"/>
                  </a:lnTo>
                  <a:cubicBezTo>
                    <a:pt x="0" y="4756"/>
                    <a:pt x="4756" y="0"/>
                    <a:pt x="10568" y="0"/>
                  </a:cubicBezTo>
                  <a:lnTo>
                    <a:pt x="31423" y="0"/>
                  </a:lnTo>
                  <a:cubicBezTo>
                    <a:pt x="37236" y="0"/>
                    <a:pt x="41992" y="4756"/>
                    <a:pt x="41992" y="10568"/>
                  </a:cubicBezTo>
                  <a:lnTo>
                    <a:pt x="41992" y="38892"/>
                  </a:lnTo>
                  <a:cubicBezTo>
                    <a:pt x="41992" y="50447"/>
                    <a:pt x="32551" y="59888"/>
                    <a:pt x="20996" y="59888"/>
                  </a:cubicBezTo>
                  <a:close/>
                  <a:moveTo>
                    <a:pt x="10533" y="7046"/>
                  </a:moveTo>
                  <a:cubicBezTo>
                    <a:pt x="8596" y="7046"/>
                    <a:pt x="7010" y="8631"/>
                    <a:pt x="7010" y="10568"/>
                  </a:cubicBezTo>
                  <a:lnTo>
                    <a:pt x="7010" y="38892"/>
                  </a:lnTo>
                  <a:cubicBezTo>
                    <a:pt x="7010" y="46607"/>
                    <a:pt x="13281" y="52842"/>
                    <a:pt x="20961" y="52842"/>
                  </a:cubicBezTo>
                  <a:cubicBezTo>
                    <a:pt x="28640" y="52842"/>
                    <a:pt x="34911" y="46572"/>
                    <a:pt x="34911" y="38892"/>
                  </a:cubicBezTo>
                  <a:lnTo>
                    <a:pt x="34911" y="10568"/>
                  </a:lnTo>
                  <a:cubicBezTo>
                    <a:pt x="34911" y="8631"/>
                    <a:pt x="33326" y="7046"/>
                    <a:pt x="31388" y="7046"/>
                  </a:cubicBezTo>
                  <a:lnTo>
                    <a:pt x="10533" y="7046"/>
                  </a:ln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72" name="Полилиния: фигура 42">
              <a:extLst>
                <a:ext uri="{FF2B5EF4-FFF2-40B4-BE49-F238E27FC236}">
                  <a16:creationId xmlns:a16="http://schemas.microsoft.com/office/drawing/2014/main" id="{9AA2869C-B36C-4285-BFC5-FDEDB1713280}"/>
                </a:ext>
              </a:extLst>
            </p:cNvPr>
            <p:cNvSpPr/>
            <p:nvPr/>
          </p:nvSpPr>
          <p:spPr>
            <a:xfrm>
              <a:off x="3335420" y="2490334"/>
              <a:ext cx="56224" cy="24871"/>
            </a:xfrm>
            <a:custGeom>
              <a:avLst/>
              <a:gdLst>
                <a:gd name="connsiteX0" fmla="*/ 52701 w 56224"/>
                <a:gd name="connsiteY0" fmla="*/ 24871 h 24871"/>
                <a:gd name="connsiteX1" fmla="*/ 49178 w 56224"/>
                <a:gd name="connsiteY1" fmla="*/ 21348 h 24871"/>
                <a:gd name="connsiteX2" fmla="*/ 49178 w 56224"/>
                <a:gd name="connsiteY2" fmla="*/ 10568 h 24871"/>
                <a:gd name="connsiteX3" fmla="*/ 45656 w 56224"/>
                <a:gd name="connsiteY3" fmla="*/ 7046 h 24871"/>
                <a:gd name="connsiteX4" fmla="*/ 10568 w 56224"/>
                <a:gd name="connsiteY4" fmla="*/ 7046 h 24871"/>
                <a:gd name="connsiteX5" fmla="*/ 7046 w 56224"/>
                <a:gd name="connsiteY5" fmla="*/ 10568 h 24871"/>
                <a:gd name="connsiteX6" fmla="*/ 7046 w 56224"/>
                <a:gd name="connsiteY6" fmla="*/ 21137 h 24871"/>
                <a:gd name="connsiteX7" fmla="*/ 3523 w 56224"/>
                <a:gd name="connsiteY7" fmla="*/ 24660 h 24871"/>
                <a:gd name="connsiteX8" fmla="*/ 0 w 56224"/>
                <a:gd name="connsiteY8" fmla="*/ 21137 h 24871"/>
                <a:gd name="connsiteX9" fmla="*/ 0 w 56224"/>
                <a:gd name="connsiteY9" fmla="*/ 10568 h 24871"/>
                <a:gd name="connsiteX10" fmla="*/ 10568 w 56224"/>
                <a:gd name="connsiteY10" fmla="*/ 0 h 24871"/>
                <a:gd name="connsiteX11" fmla="*/ 45656 w 56224"/>
                <a:gd name="connsiteY11" fmla="*/ 0 h 24871"/>
                <a:gd name="connsiteX12" fmla="*/ 56224 w 56224"/>
                <a:gd name="connsiteY12" fmla="*/ 10568 h 24871"/>
                <a:gd name="connsiteX13" fmla="*/ 56224 w 56224"/>
                <a:gd name="connsiteY13" fmla="*/ 21348 h 24871"/>
                <a:gd name="connsiteX14" fmla="*/ 52701 w 56224"/>
                <a:gd name="connsiteY14" fmla="*/ 24871 h 2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224" h="24871">
                  <a:moveTo>
                    <a:pt x="52701" y="24871"/>
                  </a:moveTo>
                  <a:cubicBezTo>
                    <a:pt x="50764" y="24871"/>
                    <a:pt x="49178" y="23286"/>
                    <a:pt x="49178" y="21348"/>
                  </a:cubicBezTo>
                  <a:lnTo>
                    <a:pt x="49178" y="10568"/>
                  </a:lnTo>
                  <a:cubicBezTo>
                    <a:pt x="49178" y="8631"/>
                    <a:pt x="47593" y="7046"/>
                    <a:pt x="45656" y="7046"/>
                  </a:cubicBezTo>
                  <a:lnTo>
                    <a:pt x="10568" y="7046"/>
                  </a:lnTo>
                  <a:cubicBezTo>
                    <a:pt x="8631" y="7046"/>
                    <a:pt x="7046" y="8631"/>
                    <a:pt x="7046" y="10568"/>
                  </a:cubicBezTo>
                  <a:lnTo>
                    <a:pt x="7046" y="21137"/>
                  </a:lnTo>
                  <a:cubicBezTo>
                    <a:pt x="7046" y="23075"/>
                    <a:pt x="5460" y="24660"/>
                    <a:pt x="3523" y="24660"/>
                  </a:cubicBezTo>
                  <a:cubicBezTo>
                    <a:pt x="1585" y="24660"/>
                    <a:pt x="0" y="23075"/>
                    <a:pt x="0" y="21137"/>
                  </a:cubicBezTo>
                  <a:lnTo>
                    <a:pt x="0" y="10568"/>
                  </a:lnTo>
                  <a:cubicBezTo>
                    <a:pt x="0" y="4756"/>
                    <a:pt x="4756" y="0"/>
                    <a:pt x="10568" y="0"/>
                  </a:cubicBezTo>
                  <a:lnTo>
                    <a:pt x="45656" y="0"/>
                  </a:lnTo>
                  <a:cubicBezTo>
                    <a:pt x="51468" y="0"/>
                    <a:pt x="56224" y="4756"/>
                    <a:pt x="56224" y="10568"/>
                  </a:cubicBezTo>
                  <a:lnTo>
                    <a:pt x="56224" y="21348"/>
                  </a:lnTo>
                  <a:cubicBezTo>
                    <a:pt x="56224" y="23321"/>
                    <a:pt x="54639" y="24871"/>
                    <a:pt x="52701" y="2487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</p:grpSp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3114B05F-DF10-4821-9794-4D56E3196C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03526" y="2196907"/>
            <a:ext cx="260711" cy="338924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19A64369-B792-47E7-8F2E-DE1BAA0989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99702" y="2778261"/>
            <a:ext cx="260711" cy="338924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F5E51BAE-A49D-4E4F-BED1-0CD7B3E75D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60727" y="2778261"/>
            <a:ext cx="260711" cy="338924"/>
          </a:xfrm>
          <a:prstGeom prst="rect">
            <a:avLst/>
          </a:prstGeom>
        </p:spPr>
      </p:pic>
      <p:pic>
        <p:nvPicPr>
          <p:cNvPr id="81" name="Рисунок 80">
            <a:extLst>
              <a:ext uri="{FF2B5EF4-FFF2-40B4-BE49-F238E27FC236}">
                <a16:creationId xmlns:a16="http://schemas.microsoft.com/office/drawing/2014/main" id="{7587F3B0-6136-4D9B-83B4-B32B6040E8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13754" y="3364804"/>
            <a:ext cx="260711" cy="338924"/>
          </a:xfrm>
          <a:prstGeom prst="rect">
            <a:avLst/>
          </a:prstGeom>
        </p:spPr>
      </p:pic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2B4C3633-BDAF-4C55-B2F2-0AC3732602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13549" y="3364804"/>
            <a:ext cx="260711" cy="338924"/>
          </a:xfrm>
          <a:prstGeom prst="rect">
            <a:avLst/>
          </a:prstGeom>
        </p:spPr>
      </p:pic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7E194B98-1C51-42DC-8827-65BE26F5A04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13961" y="3364804"/>
            <a:ext cx="260711" cy="338924"/>
          </a:xfrm>
          <a:prstGeom prst="rect">
            <a:avLst/>
          </a:prstGeom>
        </p:spPr>
      </p:pic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7E163C46-859A-4F03-B2CD-60778F26FC5B}"/>
              </a:ext>
            </a:extLst>
          </p:cNvPr>
          <p:cNvGrpSpPr/>
          <p:nvPr/>
        </p:nvGrpSpPr>
        <p:grpSpPr>
          <a:xfrm>
            <a:off x="1450790" y="4008657"/>
            <a:ext cx="260711" cy="338922"/>
            <a:chOff x="1963982" y="4441248"/>
            <a:chExt cx="261120" cy="339454"/>
          </a:xfrm>
          <a:solidFill>
            <a:schemeClr val="tx2"/>
          </a:solidFill>
        </p:grpSpPr>
        <p:sp>
          <p:nvSpPr>
            <p:cNvPr id="95" name="Полилиния: фигура 4">
              <a:extLst>
                <a:ext uri="{FF2B5EF4-FFF2-40B4-BE49-F238E27FC236}">
                  <a16:creationId xmlns:a16="http://schemas.microsoft.com/office/drawing/2014/main" id="{33D066D2-F48B-41EB-B989-10570B252602}"/>
                </a:ext>
              </a:extLst>
            </p:cNvPr>
            <p:cNvSpPr/>
            <p:nvPr/>
          </p:nvSpPr>
          <p:spPr>
            <a:xfrm>
              <a:off x="2029262" y="4506527"/>
              <a:ext cx="13056" cy="26111"/>
            </a:xfrm>
            <a:custGeom>
              <a:avLst/>
              <a:gdLst>
                <a:gd name="connsiteX0" fmla="*/ 13056 w 13056"/>
                <a:gd name="connsiteY0" fmla="*/ 26112 h 26111"/>
                <a:gd name="connsiteX1" fmla="*/ 0 w 13056"/>
                <a:gd name="connsiteY1" fmla="*/ 13056 h 26111"/>
                <a:gd name="connsiteX2" fmla="*/ 13056 w 13056"/>
                <a:gd name="connsiteY2" fmla="*/ 0 h 26111"/>
                <a:gd name="connsiteX3" fmla="*/ 13056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13056" y="26112"/>
                  </a:moveTo>
                  <a:cubicBezTo>
                    <a:pt x="5875" y="26112"/>
                    <a:pt x="0" y="20302"/>
                    <a:pt x="0" y="13056"/>
                  </a:cubicBezTo>
                  <a:cubicBezTo>
                    <a:pt x="0" y="5875"/>
                    <a:pt x="5875" y="0"/>
                    <a:pt x="13056" y="0"/>
                  </a:cubicBezTo>
                  <a:lnTo>
                    <a:pt x="13056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96" name="Полилиния: фигура 6">
              <a:extLst>
                <a:ext uri="{FF2B5EF4-FFF2-40B4-BE49-F238E27FC236}">
                  <a16:creationId xmlns:a16="http://schemas.microsoft.com/office/drawing/2014/main" id="{25D9E46D-6272-40FC-9C82-DF015BFCD02C}"/>
                </a:ext>
              </a:extLst>
            </p:cNvPr>
            <p:cNvSpPr/>
            <p:nvPr/>
          </p:nvSpPr>
          <p:spPr>
            <a:xfrm>
              <a:off x="2146766" y="4506527"/>
              <a:ext cx="13056" cy="26111"/>
            </a:xfrm>
            <a:custGeom>
              <a:avLst/>
              <a:gdLst>
                <a:gd name="connsiteX0" fmla="*/ 0 w 13056"/>
                <a:gd name="connsiteY0" fmla="*/ 26112 h 26111"/>
                <a:gd name="connsiteX1" fmla="*/ 13056 w 13056"/>
                <a:gd name="connsiteY1" fmla="*/ 13056 h 26111"/>
                <a:gd name="connsiteX2" fmla="*/ 0 w 13056"/>
                <a:gd name="connsiteY2" fmla="*/ 0 h 26111"/>
                <a:gd name="connsiteX3" fmla="*/ 0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0" y="26112"/>
                  </a:moveTo>
                  <a:cubicBezTo>
                    <a:pt x="7181" y="26112"/>
                    <a:pt x="13056" y="20302"/>
                    <a:pt x="13056" y="13056"/>
                  </a:cubicBezTo>
                  <a:cubicBezTo>
                    <a:pt x="13056" y="5875"/>
                    <a:pt x="7181" y="0"/>
                    <a:pt x="0" y="0"/>
                  </a:cubicBezTo>
                  <a:lnTo>
                    <a:pt x="0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97" name="Полилиния: фигура 7">
              <a:extLst>
                <a:ext uri="{FF2B5EF4-FFF2-40B4-BE49-F238E27FC236}">
                  <a16:creationId xmlns:a16="http://schemas.microsoft.com/office/drawing/2014/main" id="{C7CFA364-55AE-4A91-A0F3-62D55C27E680}"/>
                </a:ext>
              </a:extLst>
            </p:cNvPr>
            <p:cNvSpPr/>
            <p:nvPr/>
          </p:nvSpPr>
          <p:spPr>
            <a:xfrm>
              <a:off x="2035790" y="4441248"/>
              <a:ext cx="117504" cy="143615"/>
            </a:xfrm>
            <a:custGeom>
              <a:avLst/>
              <a:gdLst>
                <a:gd name="connsiteX0" fmla="*/ 58752 w 117504"/>
                <a:gd name="connsiteY0" fmla="*/ 143616 h 143615"/>
                <a:gd name="connsiteX1" fmla="*/ 0 w 117504"/>
                <a:gd name="connsiteY1" fmla="*/ 58752 h 143615"/>
                <a:gd name="connsiteX2" fmla="*/ 58752 w 117504"/>
                <a:gd name="connsiteY2" fmla="*/ 0 h 143615"/>
                <a:gd name="connsiteX3" fmla="*/ 117504 w 117504"/>
                <a:gd name="connsiteY3" fmla="*/ 58752 h 143615"/>
                <a:gd name="connsiteX4" fmla="*/ 58752 w 117504"/>
                <a:gd name="connsiteY4" fmla="*/ 143616 h 143615"/>
                <a:gd name="connsiteX5" fmla="*/ 58752 w 117504"/>
                <a:gd name="connsiteY5" fmla="*/ 13056 h 143615"/>
                <a:gd name="connsiteX6" fmla="*/ 13056 w 117504"/>
                <a:gd name="connsiteY6" fmla="*/ 58752 h 143615"/>
                <a:gd name="connsiteX7" fmla="*/ 58752 w 117504"/>
                <a:gd name="connsiteY7" fmla="*/ 130560 h 143615"/>
                <a:gd name="connsiteX8" fmla="*/ 104448 w 117504"/>
                <a:gd name="connsiteY8" fmla="*/ 58752 h 143615"/>
                <a:gd name="connsiteX9" fmla="*/ 58752 w 117504"/>
                <a:gd name="connsiteY9" fmla="*/ 13056 h 14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4" h="143615">
                  <a:moveTo>
                    <a:pt x="58752" y="143616"/>
                  </a:moveTo>
                  <a:cubicBezTo>
                    <a:pt x="24219" y="143616"/>
                    <a:pt x="0" y="88585"/>
                    <a:pt x="0" y="58752"/>
                  </a:cubicBezTo>
                  <a:cubicBezTo>
                    <a:pt x="0" y="26373"/>
                    <a:pt x="26373" y="0"/>
                    <a:pt x="58752" y="0"/>
                  </a:cubicBezTo>
                  <a:cubicBezTo>
                    <a:pt x="91131" y="0"/>
                    <a:pt x="117504" y="26373"/>
                    <a:pt x="117504" y="58752"/>
                  </a:cubicBezTo>
                  <a:cubicBezTo>
                    <a:pt x="117504" y="88585"/>
                    <a:pt x="93285" y="143616"/>
                    <a:pt x="58752" y="143616"/>
                  </a:cubicBezTo>
                  <a:close/>
                  <a:moveTo>
                    <a:pt x="58752" y="13056"/>
                  </a:moveTo>
                  <a:cubicBezTo>
                    <a:pt x="33554" y="13056"/>
                    <a:pt x="13056" y="33554"/>
                    <a:pt x="13056" y="58752"/>
                  </a:cubicBezTo>
                  <a:cubicBezTo>
                    <a:pt x="13056" y="85778"/>
                    <a:pt x="35186" y="130560"/>
                    <a:pt x="58752" y="130560"/>
                  </a:cubicBezTo>
                  <a:cubicBezTo>
                    <a:pt x="82318" y="130560"/>
                    <a:pt x="104448" y="85778"/>
                    <a:pt x="104448" y="58752"/>
                  </a:cubicBezTo>
                  <a:cubicBezTo>
                    <a:pt x="104448" y="33554"/>
                    <a:pt x="83950" y="13056"/>
                    <a:pt x="5875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98" name="Полилиния: фигура 8">
              <a:extLst>
                <a:ext uri="{FF2B5EF4-FFF2-40B4-BE49-F238E27FC236}">
                  <a16:creationId xmlns:a16="http://schemas.microsoft.com/office/drawing/2014/main" id="{DA49A8C4-FB29-43EB-BAAC-37BD0E34CC16}"/>
                </a:ext>
              </a:extLst>
            </p:cNvPr>
            <p:cNvSpPr/>
            <p:nvPr/>
          </p:nvSpPr>
          <p:spPr>
            <a:xfrm>
              <a:off x="2087997" y="4480464"/>
              <a:ext cx="63687" cy="28282"/>
            </a:xfrm>
            <a:custGeom>
              <a:avLst/>
              <a:gdLst>
                <a:gd name="connsiteX0" fmla="*/ 43558 w 63687"/>
                <a:gd name="connsiteY0" fmla="*/ 28282 h 28282"/>
                <a:gd name="connsiteX1" fmla="*/ 1909 w 63687"/>
                <a:gd name="connsiteY1" fmla="*/ 11114 h 28282"/>
                <a:gd name="connsiteX2" fmla="*/ 1909 w 63687"/>
                <a:gd name="connsiteY2" fmla="*/ 1909 h 28282"/>
                <a:gd name="connsiteX3" fmla="*/ 11114 w 63687"/>
                <a:gd name="connsiteY3" fmla="*/ 1909 h 28282"/>
                <a:gd name="connsiteX4" fmla="*/ 55439 w 63687"/>
                <a:gd name="connsiteY4" fmla="*/ 13725 h 28282"/>
                <a:gd name="connsiteX5" fmla="*/ 63468 w 63687"/>
                <a:gd name="connsiteY5" fmla="*/ 18295 h 28282"/>
                <a:gd name="connsiteX6" fmla="*/ 58899 w 63687"/>
                <a:gd name="connsiteY6" fmla="*/ 26324 h 28282"/>
                <a:gd name="connsiteX7" fmla="*/ 43558 w 63687"/>
                <a:gd name="connsiteY7" fmla="*/ 28282 h 28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687" h="28282">
                  <a:moveTo>
                    <a:pt x="43558" y="28282"/>
                  </a:moveTo>
                  <a:cubicBezTo>
                    <a:pt x="28152" y="28282"/>
                    <a:pt x="13072" y="22211"/>
                    <a:pt x="1909" y="11114"/>
                  </a:cubicBezTo>
                  <a:cubicBezTo>
                    <a:pt x="-636" y="8568"/>
                    <a:pt x="-636" y="4455"/>
                    <a:pt x="1909" y="1909"/>
                  </a:cubicBezTo>
                  <a:cubicBezTo>
                    <a:pt x="4455" y="-636"/>
                    <a:pt x="8568" y="-636"/>
                    <a:pt x="11114" y="1909"/>
                  </a:cubicBezTo>
                  <a:cubicBezTo>
                    <a:pt x="22668" y="13464"/>
                    <a:pt x="39641" y="17968"/>
                    <a:pt x="55439" y="13725"/>
                  </a:cubicBezTo>
                  <a:cubicBezTo>
                    <a:pt x="58899" y="12746"/>
                    <a:pt x="62489" y="14835"/>
                    <a:pt x="63468" y="18295"/>
                  </a:cubicBezTo>
                  <a:cubicBezTo>
                    <a:pt x="64382" y="21754"/>
                    <a:pt x="62359" y="25345"/>
                    <a:pt x="58899" y="26324"/>
                  </a:cubicBezTo>
                  <a:cubicBezTo>
                    <a:pt x="53872" y="27630"/>
                    <a:pt x="48715" y="28282"/>
                    <a:pt x="43558" y="2828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99" name="Полилиния: фигура 9">
              <a:extLst>
                <a:ext uri="{FF2B5EF4-FFF2-40B4-BE49-F238E27FC236}">
                  <a16:creationId xmlns:a16="http://schemas.microsoft.com/office/drawing/2014/main" id="{B5B40C44-C7B6-4C3E-AD93-EED84D092FEC}"/>
                </a:ext>
              </a:extLst>
            </p:cNvPr>
            <p:cNvSpPr/>
            <p:nvPr/>
          </p:nvSpPr>
          <p:spPr>
            <a:xfrm>
              <a:off x="2068430" y="4480415"/>
              <a:ext cx="32640" cy="13055"/>
            </a:xfrm>
            <a:custGeom>
              <a:avLst/>
              <a:gdLst>
                <a:gd name="connsiteX0" fmla="*/ 26112 w 32640"/>
                <a:gd name="connsiteY0" fmla="*/ 13056 h 13055"/>
                <a:gd name="connsiteX1" fmla="*/ 6528 w 32640"/>
                <a:gd name="connsiteY1" fmla="*/ 13056 h 13055"/>
                <a:gd name="connsiteX2" fmla="*/ 0 w 32640"/>
                <a:gd name="connsiteY2" fmla="*/ 6528 h 13055"/>
                <a:gd name="connsiteX3" fmla="*/ 6528 w 32640"/>
                <a:gd name="connsiteY3" fmla="*/ 0 h 13055"/>
                <a:gd name="connsiteX4" fmla="*/ 26112 w 32640"/>
                <a:gd name="connsiteY4" fmla="*/ 0 h 13055"/>
                <a:gd name="connsiteX5" fmla="*/ 32640 w 32640"/>
                <a:gd name="connsiteY5" fmla="*/ 6528 h 13055"/>
                <a:gd name="connsiteX6" fmla="*/ 26112 w 32640"/>
                <a:gd name="connsiteY6" fmla="*/ 13056 h 13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40" h="13055">
                  <a:moveTo>
                    <a:pt x="26112" y="13056"/>
                  </a:moveTo>
                  <a:lnTo>
                    <a:pt x="6528" y="13056"/>
                  </a:lnTo>
                  <a:cubicBezTo>
                    <a:pt x="2938" y="13056"/>
                    <a:pt x="0" y="10118"/>
                    <a:pt x="0" y="6528"/>
                  </a:cubicBezTo>
                  <a:cubicBezTo>
                    <a:pt x="0" y="2938"/>
                    <a:pt x="2938" y="0"/>
                    <a:pt x="6528" y="0"/>
                  </a:cubicBezTo>
                  <a:lnTo>
                    <a:pt x="26112" y="0"/>
                  </a:lnTo>
                  <a:cubicBezTo>
                    <a:pt x="29702" y="0"/>
                    <a:pt x="32640" y="2938"/>
                    <a:pt x="32640" y="6528"/>
                  </a:cubicBezTo>
                  <a:cubicBezTo>
                    <a:pt x="32640" y="10118"/>
                    <a:pt x="29702" y="13056"/>
                    <a:pt x="2611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01" name="Полилиния: фигура 10">
              <a:extLst>
                <a:ext uri="{FF2B5EF4-FFF2-40B4-BE49-F238E27FC236}">
                  <a16:creationId xmlns:a16="http://schemas.microsoft.com/office/drawing/2014/main" id="{90BE4C21-54A4-40AC-866F-D4F17F3BD23B}"/>
                </a:ext>
              </a:extLst>
            </p:cNvPr>
            <p:cNvSpPr/>
            <p:nvPr/>
          </p:nvSpPr>
          <p:spPr>
            <a:xfrm>
              <a:off x="1963982" y="4600772"/>
              <a:ext cx="261120" cy="179930"/>
            </a:xfrm>
            <a:custGeom>
              <a:avLst/>
              <a:gdLst>
                <a:gd name="connsiteX0" fmla="*/ 241536 w 261120"/>
                <a:gd name="connsiteY0" fmla="*/ 179931 h 179930"/>
                <a:gd name="connsiteX1" fmla="*/ 19584 w 261120"/>
                <a:gd name="connsiteY1" fmla="*/ 179931 h 179930"/>
                <a:gd name="connsiteX2" fmla="*/ 0 w 261120"/>
                <a:gd name="connsiteY2" fmla="*/ 160347 h 179930"/>
                <a:gd name="connsiteX3" fmla="*/ 0 w 261120"/>
                <a:gd name="connsiteY3" fmla="*/ 68825 h 179930"/>
                <a:gd name="connsiteX4" fmla="*/ 44390 w 261120"/>
                <a:gd name="connsiteY4" fmla="*/ 9747 h 179930"/>
                <a:gd name="connsiteX5" fmla="*/ 77030 w 261120"/>
                <a:gd name="connsiteY5" fmla="*/ 281 h 179930"/>
                <a:gd name="connsiteX6" fmla="*/ 85125 w 261120"/>
                <a:gd name="connsiteY6" fmla="*/ 4720 h 179930"/>
                <a:gd name="connsiteX7" fmla="*/ 80686 w 261120"/>
                <a:gd name="connsiteY7" fmla="*/ 12815 h 179930"/>
                <a:gd name="connsiteX8" fmla="*/ 48046 w 261120"/>
                <a:gd name="connsiteY8" fmla="*/ 22280 h 179930"/>
                <a:gd name="connsiteX9" fmla="*/ 13056 w 261120"/>
                <a:gd name="connsiteY9" fmla="*/ 68825 h 179930"/>
                <a:gd name="connsiteX10" fmla="*/ 13056 w 261120"/>
                <a:gd name="connsiteY10" fmla="*/ 160347 h 179930"/>
                <a:gd name="connsiteX11" fmla="*/ 19584 w 261120"/>
                <a:gd name="connsiteY11" fmla="*/ 166875 h 179930"/>
                <a:gd name="connsiteX12" fmla="*/ 241536 w 261120"/>
                <a:gd name="connsiteY12" fmla="*/ 166875 h 179930"/>
                <a:gd name="connsiteX13" fmla="*/ 248064 w 261120"/>
                <a:gd name="connsiteY13" fmla="*/ 160347 h 179930"/>
                <a:gd name="connsiteX14" fmla="*/ 248064 w 261120"/>
                <a:gd name="connsiteY14" fmla="*/ 69282 h 179930"/>
                <a:gd name="connsiteX15" fmla="*/ 213531 w 261120"/>
                <a:gd name="connsiteY15" fmla="*/ 22933 h 179930"/>
                <a:gd name="connsiteX16" fmla="*/ 179455 w 261120"/>
                <a:gd name="connsiteY16" fmla="*/ 12749 h 179930"/>
                <a:gd name="connsiteX17" fmla="*/ 175081 w 261120"/>
                <a:gd name="connsiteY17" fmla="*/ 4655 h 179930"/>
                <a:gd name="connsiteX18" fmla="*/ 183176 w 261120"/>
                <a:gd name="connsiteY18" fmla="*/ 281 h 179930"/>
                <a:gd name="connsiteX19" fmla="*/ 217252 w 261120"/>
                <a:gd name="connsiteY19" fmla="*/ 10465 h 179930"/>
                <a:gd name="connsiteX20" fmla="*/ 261120 w 261120"/>
                <a:gd name="connsiteY20" fmla="*/ 69347 h 179930"/>
                <a:gd name="connsiteX21" fmla="*/ 261120 w 261120"/>
                <a:gd name="connsiteY21" fmla="*/ 160347 h 179930"/>
                <a:gd name="connsiteX22" fmla="*/ 241536 w 261120"/>
                <a:gd name="connsiteY22" fmla="*/ 179931 h 17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120" h="179930">
                  <a:moveTo>
                    <a:pt x="241536" y="179931"/>
                  </a:moveTo>
                  <a:lnTo>
                    <a:pt x="19584" y="179931"/>
                  </a:lnTo>
                  <a:cubicBezTo>
                    <a:pt x="8813" y="179931"/>
                    <a:pt x="0" y="171118"/>
                    <a:pt x="0" y="160347"/>
                  </a:cubicBezTo>
                  <a:lnTo>
                    <a:pt x="0" y="68825"/>
                  </a:lnTo>
                  <a:cubicBezTo>
                    <a:pt x="0" y="41603"/>
                    <a:pt x="18278" y="17319"/>
                    <a:pt x="44390" y="9747"/>
                  </a:cubicBezTo>
                  <a:lnTo>
                    <a:pt x="77030" y="281"/>
                  </a:lnTo>
                  <a:cubicBezTo>
                    <a:pt x="80490" y="-698"/>
                    <a:pt x="84146" y="1260"/>
                    <a:pt x="85125" y="4720"/>
                  </a:cubicBezTo>
                  <a:cubicBezTo>
                    <a:pt x="86104" y="8180"/>
                    <a:pt x="84146" y="11835"/>
                    <a:pt x="80686" y="12815"/>
                  </a:cubicBezTo>
                  <a:lnTo>
                    <a:pt x="48046" y="22280"/>
                  </a:lnTo>
                  <a:cubicBezTo>
                    <a:pt x="27418" y="28221"/>
                    <a:pt x="13056" y="47348"/>
                    <a:pt x="13056" y="68825"/>
                  </a:cubicBezTo>
                  <a:lnTo>
                    <a:pt x="13056" y="160347"/>
                  </a:lnTo>
                  <a:cubicBezTo>
                    <a:pt x="13056" y="163937"/>
                    <a:pt x="15994" y="166875"/>
                    <a:pt x="19584" y="166875"/>
                  </a:cubicBezTo>
                  <a:lnTo>
                    <a:pt x="241536" y="166875"/>
                  </a:lnTo>
                  <a:cubicBezTo>
                    <a:pt x="245126" y="166875"/>
                    <a:pt x="248064" y="163937"/>
                    <a:pt x="248064" y="160347"/>
                  </a:cubicBezTo>
                  <a:lnTo>
                    <a:pt x="248064" y="69282"/>
                  </a:lnTo>
                  <a:cubicBezTo>
                    <a:pt x="248064" y="48066"/>
                    <a:pt x="233898" y="29004"/>
                    <a:pt x="213531" y="22933"/>
                  </a:cubicBezTo>
                  <a:lnTo>
                    <a:pt x="179455" y="12749"/>
                  </a:lnTo>
                  <a:cubicBezTo>
                    <a:pt x="175995" y="11705"/>
                    <a:pt x="174036" y="8115"/>
                    <a:pt x="175081" y="4655"/>
                  </a:cubicBezTo>
                  <a:cubicBezTo>
                    <a:pt x="176125" y="1195"/>
                    <a:pt x="179716" y="-764"/>
                    <a:pt x="183176" y="281"/>
                  </a:cubicBezTo>
                  <a:lnTo>
                    <a:pt x="217252" y="10465"/>
                  </a:lnTo>
                  <a:cubicBezTo>
                    <a:pt x="243103" y="18168"/>
                    <a:pt x="261120" y="42386"/>
                    <a:pt x="261120" y="69347"/>
                  </a:cubicBezTo>
                  <a:lnTo>
                    <a:pt x="261120" y="160347"/>
                  </a:lnTo>
                  <a:cubicBezTo>
                    <a:pt x="261120" y="171118"/>
                    <a:pt x="252307" y="179931"/>
                    <a:pt x="241536" y="179931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grpSp>
          <p:nvGrpSpPr>
            <p:cNvPr id="102" name="Рисунок 79">
              <a:extLst>
                <a:ext uri="{FF2B5EF4-FFF2-40B4-BE49-F238E27FC236}">
                  <a16:creationId xmlns:a16="http://schemas.microsoft.com/office/drawing/2014/main" id="{BED9F0E7-22D0-4D1F-A413-E55436FA831B}"/>
                </a:ext>
              </a:extLst>
            </p:cNvPr>
            <p:cNvGrpSpPr/>
            <p:nvPr/>
          </p:nvGrpSpPr>
          <p:grpSpPr>
            <a:xfrm>
              <a:off x="2065918" y="4637535"/>
              <a:ext cx="57181" cy="104064"/>
              <a:chOff x="2065918" y="4637535"/>
              <a:chExt cx="57181" cy="104064"/>
            </a:xfrm>
            <a:grpFill/>
          </p:grpSpPr>
          <p:sp>
            <p:nvSpPr>
              <p:cNvPr id="107" name="Полилиния: фигура 12">
                <a:extLst>
                  <a:ext uri="{FF2B5EF4-FFF2-40B4-BE49-F238E27FC236}">
                    <a16:creationId xmlns:a16="http://schemas.microsoft.com/office/drawing/2014/main" id="{D614181B-6825-449C-9E58-5C6C5A7C7ADE}"/>
                  </a:ext>
                </a:extLst>
              </p:cNvPr>
              <p:cNvSpPr/>
              <p:nvPr/>
            </p:nvSpPr>
            <p:spPr>
              <a:xfrm>
                <a:off x="2065918" y="4651560"/>
                <a:ext cx="57181" cy="90039"/>
              </a:xfrm>
              <a:custGeom>
                <a:avLst/>
                <a:gdLst>
                  <a:gd name="connsiteX0" fmla="*/ 28623 w 57181"/>
                  <a:gd name="connsiteY0" fmla="*/ 90040 h 90039"/>
                  <a:gd name="connsiteX1" fmla="*/ 24380 w 57181"/>
                  <a:gd name="connsiteY1" fmla="*/ 88473 h 90039"/>
                  <a:gd name="connsiteX2" fmla="*/ 2250 w 57181"/>
                  <a:gd name="connsiteY2" fmla="*/ 69346 h 90039"/>
                  <a:gd name="connsiteX3" fmla="*/ 227 w 57181"/>
                  <a:gd name="connsiteY3" fmla="*/ 62753 h 90039"/>
                  <a:gd name="connsiteX4" fmla="*/ 15502 w 57181"/>
                  <a:gd name="connsiteY4" fmla="*/ 4850 h 90039"/>
                  <a:gd name="connsiteX5" fmla="*/ 23466 w 57181"/>
                  <a:gd name="connsiteY5" fmla="*/ 215 h 90039"/>
                  <a:gd name="connsiteX6" fmla="*/ 28101 w 57181"/>
                  <a:gd name="connsiteY6" fmla="*/ 8179 h 90039"/>
                  <a:gd name="connsiteX7" fmla="*/ 13870 w 57181"/>
                  <a:gd name="connsiteY7" fmla="*/ 62165 h 90039"/>
                  <a:gd name="connsiteX8" fmla="*/ 28623 w 57181"/>
                  <a:gd name="connsiteY8" fmla="*/ 74895 h 90039"/>
                  <a:gd name="connsiteX9" fmla="*/ 43311 w 57181"/>
                  <a:gd name="connsiteY9" fmla="*/ 62165 h 90039"/>
                  <a:gd name="connsiteX10" fmla="*/ 29080 w 57181"/>
                  <a:gd name="connsiteY10" fmla="*/ 8179 h 90039"/>
                  <a:gd name="connsiteX11" fmla="*/ 33715 w 57181"/>
                  <a:gd name="connsiteY11" fmla="*/ 215 h 90039"/>
                  <a:gd name="connsiteX12" fmla="*/ 41679 w 57181"/>
                  <a:gd name="connsiteY12" fmla="*/ 4850 h 90039"/>
                  <a:gd name="connsiteX13" fmla="*/ 56955 w 57181"/>
                  <a:gd name="connsiteY13" fmla="*/ 62753 h 90039"/>
                  <a:gd name="connsiteX14" fmla="*/ 54931 w 57181"/>
                  <a:gd name="connsiteY14" fmla="*/ 69346 h 90039"/>
                  <a:gd name="connsiteX15" fmla="*/ 32867 w 57181"/>
                  <a:gd name="connsiteY15" fmla="*/ 88473 h 90039"/>
                  <a:gd name="connsiteX16" fmla="*/ 28623 w 57181"/>
                  <a:gd name="connsiteY16" fmla="*/ 90040 h 9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7181" h="90039">
                    <a:moveTo>
                      <a:pt x="28623" y="90040"/>
                    </a:moveTo>
                    <a:cubicBezTo>
                      <a:pt x="27122" y="90040"/>
                      <a:pt x="25555" y="89518"/>
                      <a:pt x="24380" y="88473"/>
                    </a:cubicBezTo>
                    <a:lnTo>
                      <a:pt x="2250" y="69346"/>
                    </a:lnTo>
                    <a:cubicBezTo>
                      <a:pt x="357" y="67714"/>
                      <a:pt x="-426" y="65168"/>
                      <a:pt x="227" y="62753"/>
                    </a:cubicBezTo>
                    <a:lnTo>
                      <a:pt x="15502" y="4850"/>
                    </a:lnTo>
                    <a:cubicBezTo>
                      <a:pt x="16416" y="1390"/>
                      <a:pt x="20006" y="-699"/>
                      <a:pt x="23466" y="215"/>
                    </a:cubicBezTo>
                    <a:cubicBezTo>
                      <a:pt x="26926" y="1129"/>
                      <a:pt x="29015" y="4719"/>
                      <a:pt x="28101" y="8179"/>
                    </a:cubicBezTo>
                    <a:lnTo>
                      <a:pt x="13870" y="62165"/>
                    </a:lnTo>
                    <a:lnTo>
                      <a:pt x="28623" y="74895"/>
                    </a:lnTo>
                    <a:lnTo>
                      <a:pt x="43311" y="62165"/>
                    </a:lnTo>
                    <a:lnTo>
                      <a:pt x="29080" y="8179"/>
                    </a:lnTo>
                    <a:cubicBezTo>
                      <a:pt x="28166" y="4719"/>
                      <a:pt x="30255" y="1129"/>
                      <a:pt x="33715" y="215"/>
                    </a:cubicBezTo>
                    <a:cubicBezTo>
                      <a:pt x="37175" y="-699"/>
                      <a:pt x="40765" y="1390"/>
                      <a:pt x="41679" y="4850"/>
                    </a:cubicBezTo>
                    <a:lnTo>
                      <a:pt x="56955" y="62753"/>
                    </a:lnTo>
                    <a:cubicBezTo>
                      <a:pt x="57608" y="65168"/>
                      <a:pt x="56824" y="67714"/>
                      <a:pt x="54931" y="69346"/>
                    </a:cubicBezTo>
                    <a:lnTo>
                      <a:pt x="32867" y="88473"/>
                    </a:lnTo>
                    <a:cubicBezTo>
                      <a:pt x="31691" y="89518"/>
                      <a:pt x="30190" y="90040"/>
                      <a:pt x="28623" y="90040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2828">
                  <a:defRPr/>
                </a:pPr>
                <a:endParaRPr lang="ru-RU" sz="1797" kern="0" dirty="0">
                  <a:solidFill>
                    <a:srgbClr val="424242"/>
                  </a:solidFill>
                  <a:latin typeface="Cera CY"/>
                </a:endParaRPr>
              </a:p>
            </p:txBody>
          </p:sp>
          <p:sp>
            <p:nvSpPr>
              <p:cNvPr id="108" name="Полилиния: фигура 13">
                <a:extLst>
                  <a:ext uri="{FF2B5EF4-FFF2-40B4-BE49-F238E27FC236}">
                    <a16:creationId xmlns:a16="http://schemas.microsoft.com/office/drawing/2014/main" id="{9EF9CFF8-EE02-4222-BFAE-2BAAB3783A29}"/>
                  </a:ext>
                </a:extLst>
              </p:cNvPr>
              <p:cNvSpPr/>
              <p:nvPr/>
            </p:nvSpPr>
            <p:spPr>
              <a:xfrm>
                <a:off x="2071163" y="4637535"/>
                <a:ext cx="47802" cy="27034"/>
              </a:xfrm>
              <a:custGeom>
                <a:avLst/>
                <a:gdLst>
                  <a:gd name="connsiteX0" fmla="*/ 23379 w 47802"/>
                  <a:gd name="connsiteY0" fmla="*/ 27034 h 27034"/>
                  <a:gd name="connsiteX1" fmla="*/ 19332 w 47802"/>
                  <a:gd name="connsiteY1" fmla="*/ 25664 h 27034"/>
                  <a:gd name="connsiteX2" fmla="*/ 2489 w 47802"/>
                  <a:gd name="connsiteY2" fmla="*/ 12412 h 27034"/>
                  <a:gd name="connsiteX3" fmla="*/ 1380 w 47802"/>
                  <a:gd name="connsiteY3" fmla="*/ 3273 h 27034"/>
                  <a:gd name="connsiteX4" fmla="*/ 10519 w 47802"/>
                  <a:gd name="connsiteY4" fmla="*/ 2163 h 27034"/>
                  <a:gd name="connsiteX5" fmla="*/ 23379 w 47802"/>
                  <a:gd name="connsiteY5" fmla="*/ 12216 h 27034"/>
                  <a:gd name="connsiteX6" fmla="*/ 37284 w 47802"/>
                  <a:gd name="connsiteY6" fmla="*/ 1380 h 27034"/>
                  <a:gd name="connsiteX7" fmla="*/ 46423 w 47802"/>
                  <a:gd name="connsiteY7" fmla="*/ 2489 h 27034"/>
                  <a:gd name="connsiteX8" fmla="*/ 45313 w 47802"/>
                  <a:gd name="connsiteY8" fmla="*/ 11628 h 27034"/>
                  <a:gd name="connsiteX9" fmla="*/ 27361 w 47802"/>
                  <a:gd name="connsiteY9" fmla="*/ 25664 h 27034"/>
                  <a:gd name="connsiteX10" fmla="*/ 23379 w 47802"/>
                  <a:gd name="connsiteY10" fmla="*/ 27034 h 2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802" h="27034">
                    <a:moveTo>
                      <a:pt x="23379" y="27034"/>
                    </a:moveTo>
                    <a:cubicBezTo>
                      <a:pt x="21943" y="27034"/>
                      <a:pt x="20507" y="26578"/>
                      <a:pt x="19332" y="25664"/>
                    </a:cubicBezTo>
                    <a:lnTo>
                      <a:pt x="2489" y="12412"/>
                    </a:lnTo>
                    <a:cubicBezTo>
                      <a:pt x="-318" y="10192"/>
                      <a:pt x="-840" y="6080"/>
                      <a:pt x="1380" y="3273"/>
                    </a:cubicBezTo>
                    <a:cubicBezTo>
                      <a:pt x="3599" y="466"/>
                      <a:pt x="7712" y="-57"/>
                      <a:pt x="10519" y="2163"/>
                    </a:cubicBezTo>
                    <a:lnTo>
                      <a:pt x="23379" y="12216"/>
                    </a:lnTo>
                    <a:lnTo>
                      <a:pt x="37284" y="1380"/>
                    </a:lnTo>
                    <a:cubicBezTo>
                      <a:pt x="40091" y="-840"/>
                      <a:pt x="44203" y="-318"/>
                      <a:pt x="46423" y="2489"/>
                    </a:cubicBezTo>
                    <a:cubicBezTo>
                      <a:pt x="48642" y="5362"/>
                      <a:pt x="48120" y="9409"/>
                      <a:pt x="45313" y="11628"/>
                    </a:cubicBezTo>
                    <a:lnTo>
                      <a:pt x="27361" y="25664"/>
                    </a:lnTo>
                    <a:cubicBezTo>
                      <a:pt x="26186" y="26578"/>
                      <a:pt x="24815" y="27034"/>
                      <a:pt x="23379" y="27034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2828">
                  <a:defRPr/>
                </a:pPr>
                <a:endParaRPr lang="ru-RU" sz="1797" kern="0" dirty="0">
                  <a:solidFill>
                    <a:srgbClr val="424242"/>
                  </a:solidFill>
                  <a:latin typeface="Cera CY"/>
                </a:endParaRPr>
              </a:p>
            </p:txBody>
          </p:sp>
        </p:grpSp>
        <p:sp>
          <p:nvSpPr>
            <p:cNvPr id="103" name="Полилиния: фигура 14">
              <a:extLst>
                <a:ext uri="{FF2B5EF4-FFF2-40B4-BE49-F238E27FC236}">
                  <a16:creationId xmlns:a16="http://schemas.microsoft.com/office/drawing/2014/main" id="{E9A18005-4D34-44D5-84B7-373D7EFA4CD9}"/>
                </a:ext>
              </a:extLst>
            </p:cNvPr>
            <p:cNvSpPr/>
            <p:nvPr/>
          </p:nvSpPr>
          <p:spPr>
            <a:xfrm>
              <a:off x="2036273" y="4600753"/>
              <a:ext cx="64261" cy="49846"/>
            </a:xfrm>
            <a:custGeom>
              <a:avLst/>
              <a:gdLst>
                <a:gd name="connsiteX0" fmla="*/ 34702 w 64261"/>
                <a:gd name="connsiteY0" fmla="*/ 49847 h 49846"/>
                <a:gd name="connsiteX1" fmla="*/ 34180 w 64261"/>
                <a:gd name="connsiteY1" fmla="*/ 49847 h 49846"/>
                <a:gd name="connsiteX2" fmla="*/ 17599 w 64261"/>
                <a:gd name="connsiteY2" fmla="*/ 39859 h 49846"/>
                <a:gd name="connsiteX3" fmla="*/ 822 w 64261"/>
                <a:gd name="connsiteY3" fmla="*/ 9700 h 49846"/>
                <a:gd name="connsiteX4" fmla="*/ 3368 w 64261"/>
                <a:gd name="connsiteY4" fmla="*/ 822 h 49846"/>
                <a:gd name="connsiteX5" fmla="*/ 12246 w 64261"/>
                <a:gd name="connsiteY5" fmla="*/ 3368 h 49846"/>
                <a:gd name="connsiteX6" fmla="*/ 28957 w 64261"/>
                <a:gd name="connsiteY6" fmla="*/ 33462 h 49846"/>
                <a:gd name="connsiteX7" fmla="*/ 34441 w 64261"/>
                <a:gd name="connsiteY7" fmla="*/ 36726 h 49846"/>
                <a:gd name="connsiteX8" fmla="*/ 40120 w 64261"/>
                <a:gd name="connsiteY8" fmla="*/ 33658 h 49846"/>
                <a:gd name="connsiteX9" fmla="*/ 52197 w 64261"/>
                <a:gd name="connsiteY9" fmla="*/ 14596 h 49846"/>
                <a:gd name="connsiteX10" fmla="*/ 61206 w 64261"/>
                <a:gd name="connsiteY10" fmla="*/ 12572 h 49846"/>
                <a:gd name="connsiteX11" fmla="*/ 63229 w 64261"/>
                <a:gd name="connsiteY11" fmla="*/ 21581 h 49846"/>
                <a:gd name="connsiteX12" fmla="*/ 51153 w 64261"/>
                <a:gd name="connsiteY12" fmla="*/ 40642 h 49846"/>
                <a:gd name="connsiteX13" fmla="*/ 34702 w 64261"/>
                <a:gd name="connsiteY13" fmla="*/ 49847 h 4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61" h="49846">
                  <a:moveTo>
                    <a:pt x="34702" y="49847"/>
                  </a:moveTo>
                  <a:cubicBezTo>
                    <a:pt x="34506" y="49847"/>
                    <a:pt x="34376" y="49847"/>
                    <a:pt x="34180" y="49847"/>
                  </a:cubicBezTo>
                  <a:cubicBezTo>
                    <a:pt x="27195" y="49651"/>
                    <a:pt x="21059" y="45930"/>
                    <a:pt x="17599" y="39859"/>
                  </a:cubicBezTo>
                  <a:lnTo>
                    <a:pt x="822" y="9700"/>
                  </a:lnTo>
                  <a:cubicBezTo>
                    <a:pt x="-941" y="6566"/>
                    <a:pt x="234" y="2584"/>
                    <a:pt x="3368" y="822"/>
                  </a:cubicBezTo>
                  <a:cubicBezTo>
                    <a:pt x="6501" y="-941"/>
                    <a:pt x="10483" y="234"/>
                    <a:pt x="12246" y="3368"/>
                  </a:cubicBezTo>
                  <a:lnTo>
                    <a:pt x="28957" y="33462"/>
                  </a:lnTo>
                  <a:cubicBezTo>
                    <a:pt x="30589" y="36334"/>
                    <a:pt x="33331" y="36726"/>
                    <a:pt x="34441" y="36726"/>
                  </a:cubicBezTo>
                  <a:cubicBezTo>
                    <a:pt x="35616" y="36726"/>
                    <a:pt x="38358" y="36530"/>
                    <a:pt x="40120" y="33658"/>
                  </a:cubicBezTo>
                  <a:lnTo>
                    <a:pt x="52197" y="14596"/>
                  </a:lnTo>
                  <a:cubicBezTo>
                    <a:pt x="54156" y="11528"/>
                    <a:pt x="58138" y="10614"/>
                    <a:pt x="61206" y="12572"/>
                  </a:cubicBezTo>
                  <a:cubicBezTo>
                    <a:pt x="64274" y="14465"/>
                    <a:pt x="65188" y="18513"/>
                    <a:pt x="63229" y="21581"/>
                  </a:cubicBezTo>
                  <a:lnTo>
                    <a:pt x="51153" y="40642"/>
                  </a:lnTo>
                  <a:cubicBezTo>
                    <a:pt x="47628" y="46452"/>
                    <a:pt x="41426" y="49847"/>
                    <a:pt x="34702" y="49847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04" name="Полилиния: фигура 15">
              <a:extLst>
                <a:ext uri="{FF2B5EF4-FFF2-40B4-BE49-F238E27FC236}">
                  <a16:creationId xmlns:a16="http://schemas.microsoft.com/office/drawing/2014/main" id="{D8DCC9D7-C440-41EF-A93E-6704796210A7}"/>
                </a:ext>
              </a:extLst>
            </p:cNvPr>
            <p:cNvSpPr/>
            <p:nvPr/>
          </p:nvSpPr>
          <p:spPr>
            <a:xfrm>
              <a:off x="2087598" y="4600717"/>
              <a:ext cx="64297" cy="49883"/>
            </a:xfrm>
            <a:custGeom>
              <a:avLst/>
              <a:gdLst>
                <a:gd name="connsiteX0" fmla="*/ 29530 w 64297"/>
                <a:gd name="connsiteY0" fmla="*/ 49883 h 49883"/>
                <a:gd name="connsiteX1" fmla="*/ 13015 w 64297"/>
                <a:gd name="connsiteY1" fmla="*/ 40744 h 49883"/>
                <a:gd name="connsiteX2" fmla="*/ 1003 w 64297"/>
                <a:gd name="connsiteY2" fmla="*/ 21682 h 49883"/>
                <a:gd name="connsiteX3" fmla="*/ 3027 w 64297"/>
                <a:gd name="connsiteY3" fmla="*/ 12674 h 49883"/>
                <a:gd name="connsiteX4" fmla="*/ 12035 w 64297"/>
                <a:gd name="connsiteY4" fmla="*/ 14697 h 49883"/>
                <a:gd name="connsiteX5" fmla="*/ 24047 w 64297"/>
                <a:gd name="connsiteY5" fmla="*/ 33759 h 49883"/>
                <a:gd name="connsiteX6" fmla="*/ 29726 w 64297"/>
                <a:gd name="connsiteY6" fmla="*/ 36827 h 49883"/>
                <a:gd name="connsiteX7" fmla="*/ 35275 w 64297"/>
                <a:gd name="connsiteY7" fmla="*/ 33498 h 49883"/>
                <a:gd name="connsiteX8" fmla="*/ 52052 w 64297"/>
                <a:gd name="connsiteY8" fmla="*/ 3339 h 49883"/>
                <a:gd name="connsiteX9" fmla="*/ 60930 w 64297"/>
                <a:gd name="connsiteY9" fmla="*/ 793 h 49883"/>
                <a:gd name="connsiteX10" fmla="*/ 63476 w 64297"/>
                <a:gd name="connsiteY10" fmla="*/ 9671 h 49883"/>
                <a:gd name="connsiteX11" fmla="*/ 46634 w 64297"/>
                <a:gd name="connsiteY11" fmla="*/ 39830 h 49883"/>
                <a:gd name="connsiteX12" fmla="*/ 30053 w 64297"/>
                <a:gd name="connsiteY12" fmla="*/ 49818 h 49883"/>
                <a:gd name="connsiteX13" fmla="*/ 29530 w 64297"/>
                <a:gd name="connsiteY13" fmla="*/ 49883 h 4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97" h="49883">
                  <a:moveTo>
                    <a:pt x="29530" y="49883"/>
                  </a:moveTo>
                  <a:cubicBezTo>
                    <a:pt x="22741" y="49883"/>
                    <a:pt x="16605" y="46489"/>
                    <a:pt x="13015" y="40744"/>
                  </a:cubicBezTo>
                  <a:lnTo>
                    <a:pt x="1003" y="21682"/>
                  </a:lnTo>
                  <a:cubicBezTo>
                    <a:pt x="-890" y="18614"/>
                    <a:pt x="-41" y="14632"/>
                    <a:pt x="3027" y="12674"/>
                  </a:cubicBezTo>
                  <a:cubicBezTo>
                    <a:pt x="6095" y="10781"/>
                    <a:pt x="10077" y="11695"/>
                    <a:pt x="12035" y="14697"/>
                  </a:cubicBezTo>
                  <a:lnTo>
                    <a:pt x="24047" y="33759"/>
                  </a:lnTo>
                  <a:cubicBezTo>
                    <a:pt x="25809" y="36566"/>
                    <a:pt x="28616" y="36827"/>
                    <a:pt x="29726" y="36827"/>
                  </a:cubicBezTo>
                  <a:cubicBezTo>
                    <a:pt x="30836" y="36827"/>
                    <a:pt x="33578" y="36436"/>
                    <a:pt x="35275" y="33498"/>
                  </a:cubicBezTo>
                  <a:lnTo>
                    <a:pt x="52052" y="3339"/>
                  </a:lnTo>
                  <a:cubicBezTo>
                    <a:pt x="53815" y="205"/>
                    <a:pt x="57797" y="-904"/>
                    <a:pt x="60930" y="793"/>
                  </a:cubicBezTo>
                  <a:cubicBezTo>
                    <a:pt x="64063" y="2490"/>
                    <a:pt x="65239" y="6537"/>
                    <a:pt x="63476" y="9671"/>
                  </a:cubicBezTo>
                  <a:lnTo>
                    <a:pt x="46634" y="39830"/>
                  </a:lnTo>
                  <a:cubicBezTo>
                    <a:pt x="43174" y="45901"/>
                    <a:pt x="37038" y="49622"/>
                    <a:pt x="30053" y="49818"/>
                  </a:cubicBezTo>
                  <a:cubicBezTo>
                    <a:pt x="29857" y="49883"/>
                    <a:pt x="29661" y="49883"/>
                    <a:pt x="29530" y="498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05" name="Полилиния: фигура 16">
              <a:extLst>
                <a:ext uri="{FF2B5EF4-FFF2-40B4-BE49-F238E27FC236}">
                  <a16:creationId xmlns:a16="http://schemas.microsoft.com/office/drawing/2014/main" id="{70D3B182-159D-4E4B-B16C-D6A705475CB2}"/>
                </a:ext>
              </a:extLst>
            </p:cNvPr>
            <p:cNvSpPr/>
            <p:nvPr/>
          </p:nvSpPr>
          <p:spPr>
            <a:xfrm>
              <a:off x="2003157" y="4715408"/>
              <a:ext cx="25444" cy="62682"/>
            </a:xfrm>
            <a:custGeom>
              <a:avLst/>
              <a:gdLst>
                <a:gd name="connsiteX0" fmla="*/ 18924 w 25444"/>
                <a:gd name="connsiteY0" fmla="*/ 62683 h 62682"/>
                <a:gd name="connsiteX1" fmla="*/ 12592 w 25444"/>
                <a:gd name="connsiteY1" fmla="*/ 57722 h 62682"/>
                <a:gd name="connsiteX2" fmla="*/ 189 w 25444"/>
                <a:gd name="connsiteY2" fmla="*/ 8109 h 62682"/>
                <a:gd name="connsiteX3" fmla="*/ 4954 w 25444"/>
                <a:gd name="connsiteY3" fmla="*/ 210 h 62682"/>
                <a:gd name="connsiteX4" fmla="*/ 12853 w 25444"/>
                <a:gd name="connsiteY4" fmla="*/ 4976 h 62682"/>
                <a:gd name="connsiteX5" fmla="*/ 25256 w 25444"/>
                <a:gd name="connsiteY5" fmla="*/ 54588 h 62682"/>
                <a:gd name="connsiteX6" fmla="*/ 20491 w 25444"/>
                <a:gd name="connsiteY6" fmla="*/ 62487 h 62682"/>
                <a:gd name="connsiteX7" fmla="*/ 18924 w 25444"/>
                <a:gd name="connsiteY7" fmla="*/ 62683 h 62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444" h="62682">
                  <a:moveTo>
                    <a:pt x="18924" y="62683"/>
                  </a:moveTo>
                  <a:cubicBezTo>
                    <a:pt x="15986" y="62683"/>
                    <a:pt x="13310" y="60725"/>
                    <a:pt x="12592" y="57722"/>
                  </a:cubicBezTo>
                  <a:lnTo>
                    <a:pt x="189" y="8109"/>
                  </a:lnTo>
                  <a:cubicBezTo>
                    <a:pt x="-660" y="4584"/>
                    <a:pt x="1429" y="1059"/>
                    <a:pt x="4954" y="210"/>
                  </a:cubicBezTo>
                  <a:cubicBezTo>
                    <a:pt x="8414" y="-704"/>
                    <a:pt x="12004" y="1450"/>
                    <a:pt x="12853" y="4976"/>
                  </a:cubicBezTo>
                  <a:lnTo>
                    <a:pt x="25256" y="54588"/>
                  </a:lnTo>
                  <a:cubicBezTo>
                    <a:pt x="26105" y="58113"/>
                    <a:pt x="24016" y="61638"/>
                    <a:pt x="20491" y="62487"/>
                  </a:cubicBezTo>
                  <a:cubicBezTo>
                    <a:pt x="19969" y="62618"/>
                    <a:pt x="19446" y="62683"/>
                    <a:pt x="18924" y="626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06" name="Полилиния: фигура 17">
              <a:extLst>
                <a:ext uri="{FF2B5EF4-FFF2-40B4-BE49-F238E27FC236}">
                  <a16:creationId xmlns:a16="http://schemas.microsoft.com/office/drawing/2014/main" id="{E53F2B7A-525C-4A1D-928C-5A2BBABC394A}"/>
                </a:ext>
              </a:extLst>
            </p:cNvPr>
            <p:cNvSpPr/>
            <p:nvPr/>
          </p:nvSpPr>
          <p:spPr>
            <a:xfrm>
              <a:off x="2160220" y="4715408"/>
              <a:ext cx="25640" cy="63531"/>
            </a:xfrm>
            <a:custGeom>
              <a:avLst/>
              <a:gdLst>
                <a:gd name="connsiteX0" fmla="*/ 6521 w 25640"/>
                <a:gd name="connsiteY0" fmla="*/ 63532 h 63531"/>
                <a:gd name="connsiteX1" fmla="*/ 4954 w 25640"/>
                <a:gd name="connsiteY1" fmla="*/ 63336 h 63531"/>
                <a:gd name="connsiteX2" fmla="*/ 189 w 25640"/>
                <a:gd name="connsiteY2" fmla="*/ 55437 h 63531"/>
                <a:gd name="connsiteX3" fmla="*/ 12788 w 25640"/>
                <a:gd name="connsiteY3" fmla="*/ 4976 h 63531"/>
                <a:gd name="connsiteX4" fmla="*/ 20687 w 25640"/>
                <a:gd name="connsiteY4" fmla="*/ 210 h 63531"/>
                <a:gd name="connsiteX5" fmla="*/ 25452 w 25640"/>
                <a:gd name="connsiteY5" fmla="*/ 8109 h 63531"/>
                <a:gd name="connsiteX6" fmla="*/ 12853 w 25640"/>
                <a:gd name="connsiteY6" fmla="*/ 58570 h 63531"/>
                <a:gd name="connsiteX7" fmla="*/ 6521 w 25640"/>
                <a:gd name="connsiteY7" fmla="*/ 63532 h 6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0" h="63531">
                  <a:moveTo>
                    <a:pt x="6521" y="63532"/>
                  </a:moveTo>
                  <a:cubicBezTo>
                    <a:pt x="5999" y="63532"/>
                    <a:pt x="5476" y="63466"/>
                    <a:pt x="4954" y="63336"/>
                  </a:cubicBezTo>
                  <a:cubicBezTo>
                    <a:pt x="1429" y="62487"/>
                    <a:pt x="-660" y="58897"/>
                    <a:pt x="189" y="55437"/>
                  </a:cubicBezTo>
                  <a:lnTo>
                    <a:pt x="12788" y="4976"/>
                  </a:lnTo>
                  <a:cubicBezTo>
                    <a:pt x="13636" y="1450"/>
                    <a:pt x="17227" y="-704"/>
                    <a:pt x="20687" y="210"/>
                  </a:cubicBezTo>
                  <a:cubicBezTo>
                    <a:pt x="24212" y="1059"/>
                    <a:pt x="26301" y="4649"/>
                    <a:pt x="25452" y="8109"/>
                  </a:cubicBezTo>
                  <a:lnTo>
                    <a:pt x="12853" y="58570"/>
                  </a:lnTo>
                  <a:cubicBezTo>
                    <a:pt x="12070" y="61573"/>
                    <a:pt x="9393" y="63532"/>
                    <a:pt x="6521" y="6353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</p:grpSp>
      <p:grpSp>
        <p:nvGrpSpPr>
          <p:cNvPr id="109" name="Группа 108">
            <a:extLst>
              <a:ext uri="{FF2B5EF4-FFF2-40B4-BE49-F238E27FC236}">
                <a16:creationId xmlns:a16="http://schemas.microsoft.com/office/drawing/2014/main" id="{9A0BCFC3-AD3F-405D-BF96-BD383CBC12E5}"/>
              </a:ext>
            </a:extLst>
          </p:cNvPr>
          <p:cNvGrpSpPr/>
          <p:nvPr/>
        </p:nvGrpSpPr>
        <p:grpSpPr>
          <a:xfrm>
            <a:off x="2098562" y="4008657"/>
            <a:ext cx="260711" cy="338922"/>
            <a:chOff x="1963982" y="4441248"/>
            <a:chExt cx="261120" cy="339454"/>
          </a:xfrm>
          <a:solidFill>
            <a:schemeClr val="tx2"/>
          </a:solidFill>
        </p:grpSpPr>
        <p:sp>
          <p:nvSpPr>
            <p:cNvPr id="110" name="Полилиния: фигура 81">
              <a:extLst>
                <a:ext uri="{FF2B5EF4-FFF2-40B4-BE49-F238E27FC236}">
                  <a16:creationId xmlns:a16="http://schemas.microsoft.com/office/drawing/2014/main" id="{EAA43450-F374-4A0E-A757-5E0E0621E612}"/>
                </a:ext>
              </a:extLst>
            </p:cNvPr>
            <p:cNvSpPr/>
            <p:nvPr/>
          </p:nvSpPr>
          <p:spPr>
            <a:xfrm>
              <a:off x="2029262" y="4506527"/>
              <a:ext cx="13056" cy="26111"/>
            </a:xfrm>
            <a:custGeom>
              <a:avLst/>
              <a:gdLst>
                <a:gd name="connsiteX0" fmla="*/ 13056 w 13056"/>
                <a:gd name="connsiteY0" fmla="*/ 26112 h 26111"/>
                <a:gd name="connsiteX1" fmla="*/ 0 w 13056"/>
                <a:gd name="connsiteY1" fmla="*/ 13056 h 26111"/>
                <a:gd name="connsiteX2" fmla="*/ 13056 w 13056"/>
                <a:gd name="connsiteY2" fmla="*/ 0 h 26111"/>
                <a:gd name="connsiteX3" fmla="*/ 13056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13056" y="26112"/>
                  </a:moveTo>
                  <a:cubicBezTo>
                    <a:pt x="5875" y="26112"/>
                    <a:pt x="0" y="20302"/>
                    <a:pt x="0" y="13056"/>
                  </a:cubicBezTo>
                  <a:cubicBezTo>
                    <a:pt x="0" y="5875"/>
                    <a:pt x="5875" y="0"/>
                    <a:pt x="13056" y="0"/>
                  </a:cubicBezTo>
                  <a:lnTo>
                    <a:pt x="13056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11" name="Полилиния: фигура 82">
              <a:extLst>
                <a:ext uri="{FF2B5EF4-FFF2-40B4-BE49-F238E27FC236}">
                  <a16:creationId xmlns:a16="http://schemas.microsoft.com/office/drawing/2014/main" id="{033DAF9E-9847-4313-8A4A-59630F989426}"/>
                </a:ext>
              </a:extLst>
            </p:cNvPr>
            <p:cNvSpPr/>
            <p:nvPr/>
          </p:nvSpPr>
          <p:spPr>
            <a:xfrm>
              <a:off x="2146766" y="4506527"/>
              <a:ext cx="13056" cy="26111"/>
            </a:xfrm>
            <a:custGeom>
              <a:avLst/>
              <a:gdLst>
                <a:gd name="connsiteX0" fmla="*/ 0 w 13056"/>
                <a:gd name="connsiteY0" fmla="*/ 26112 h 26111"/>
                <a:gd name="connsiteX1" fmla="*/ 13056 w 13056"/>
                <a:gd name="connsiteY1" fmla="*/ 13056 h 26111"/>
                <a:gd name="connsiteX2" fmla="*/ 0 w 13056"/>
                <a:gd name="connsiteY2" fmla="*/ 0 h 26111"/>
                <a:gd name="connsiteX3" fmla="*/ 0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0" y="26112"/>
                  </a:moveTo>
                  <a:cubicBezTo>
                    <a:pt x="7181" y="26112"/>
                    <a:pt x="13056" y="20302"/>
                    <a:pt x="13056" y="13056"/>
                  </a:cubicBezTo>
                  <a:cubicBezTo>
                    <a:pt x="13056" y="5875"/>
                    <a:pt x="7181" y="0"/>
                    <a:pt x="0" y="0"/>
                  </a:cubicBezTo>
                  <a:lnTo>
                    <a:pt x="0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12" name="Полилиния: фигура 83">
              <a:extLst>
                <a:ext uri="{FF2B5EF4-FFF2-40B4-BE49-F238E27FC236}">
                  <a16:creationId xmlns:a16="http://schemas.microsoft.com/office/drawing/2014/main" id="{55424625-311F-403B-94B2-AE633BF3DE99}"/>
                </a:ext>
              </a:extLst>
            </p:cNvPr>
            <p:cNvSpPr/>
            <p:nvPr/>
          </p:nvSpPr>
          <p:spPr>
            <a:xfrm>
              <a:off x="2035790" y="4441248"/>
              <a:ext cx="117504" cy="143615"/>
            </a:xfrm>
            <a:custGeom>
              <a:avLst/>
              <a:gdLst>
                <a:gd name="connsiteX0" fmla="*/ 58752 w 117504"/>
                <a:gd name="connsiteY0" fmla="*/ 143616 h 143615"/>
                <a:gd name="connsiteX1" fmla="*/ 0 w 117504"/>
                <a:gd name="connsiteY1" fmla="*/ 58752 h 143615"/>
                <a:gd name="connsiteX2" fmla="*/ 58752 w 117504"/>
                <a:gd name="connsiteY2" fmla="*/ 0 h 143615"/>
                <a:gd name="connsiteX3" fmla="*/ 117504 w 117504"/>
                <a:gd name="connsiteY3" fmla="*/ 58752 h 143615"/>
                <a:gd name="connsiteX4" fmla="*/ 58752 w 117504"/>
                <a:gd name="connsiteY4" fmla="*/ 143616 h 143615"/>
                <a:gd name="connsiteX5" fmla="*/ 58752 w 117504"/>
                <a:gd name="connsiteY5" fmla="*/ 13056 h 143615"/>
                <a:gd name="connsiteX6" fmla="*/ 13056 w 117504"/>
                <a:gd name="connsiteY6" fmla="*/ 58752 h 143615"/>
                <a:gd name="connsiteX7" fmla="*/ 58752 w 117504"/>
                <a:gd name="connsiteY7" fmla="*/ 130560 h 143615"/>
                <a:gd name="connsiteX8" fmla="*/ 104448 w 117504"/>
                <a:gd name="connsiteY8" fmla="*/ 58752 h 143615"/>
                <a:gd name="connsiteX9" fmla="*/ 58752 w 117504"/>
                <a:gd name="connsiteY9" fmla="*/ 13056 h 14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4" h="143615">
                  <a:moveTo>
                    <a:pt x="58752" y="143616"/>
                  </a:moveTo>
                  <a:cubicBezTo>
                    <a:pt x="24219" y="143616"/>
                    <a:pt x="0" y="88585"/>
                    <a:pt x="0" y="58752"/>
                  </a:cubicBezTo>
                  <a:cubicBezTo>
                    <a:pt x="0" y="26373"/>
                    <a:pt x="26373" y="0"/>
                    <a:pt x="58752" y="0"/>
                  </a:cubicBezTo>
                  <a:cubicBezTo>
                    <a:pt x="91131" y="0"/>
                    <a:pt x="117504" y="26373"/>
                    <a:pt x="117504" y="58752"/>
                  </a:cubicBezTo>
                  <a:cubicBezTo>
                    <a:pt x="117504" y="88585"/>
                    <a:pt x="93285" y="143616"/>
                    <a:pt x="58752" y="143616"/>
                  </a:cubicBezTo>
                  <a:close/>
                  <a:moveTo>
                    <a:pt x="58752" y="13056"/>
                  </a:moveTo>
                  <a:cubicBezTo>
                    <a:pt x="33554" y="13056"/>
                    <a:pt x="13056" y="33554"/>
                    <a:pt x="13056" y="58752"/>
                  </a:cubicBezTo>
                  <a:cubicBezTo>
                    <a:pt x="13056" y="85778"/>
                    <a:pt x="35186" y="130560"/>
                    <a:pt x="58752" y="130560"/>
                  </a:cubicBezTo>
                  <a:cubicBezTo>
                    <a:pt x="82318" y="130560"/>
                    <a:pt x="104448" y="85778"/>
                    <a:pt x="104448" y="58752"/>
                  </a:cubicBezTo>
                  <a:cubicBezTo>
                    <a:pt x="104448" y="33554"/>
                    <a:pt x="83950" y="13056"/>
                    <a:pt x="5875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13" name="Полилиния: фигура 84">
              <a:extLst>
                <a:ext uri="{FF2B5EF4-FFF2-40B4-BE49-F238E27FC236}">
                  <a16:creationId xmlns:a16="http://schemas.microsoft.com/office/drawing/2014/main" id="{0C3C1FDD-9EEE-4954-A3DC-3051D9157DF5}"/>
                </a:ext>
              </a:extLst>
            </p:cNvPr>
            <p:cNvSpPr/>
            <p:nvPr/>
          </p:nvSpPr>
          <p:spPr>
            <a:xfrm>
              <a:off x="2087997" y="4480464"/>
              <a:ext cx="63687" cy="28282"/>
            </a:xfrm>
            <a:custGeom>
              <a:avLst/>
              <a:gdLst>
                <a:gd name="connsiteX0" fmla="*/ 43558 w 63687"/>
                <a:gd name="connsiteY0" fmla="*/ 28282 h 28282"/>
                <a:gd name="connsiteX1" fmla="*/ 1909 w 63687"/>
                <a:gd name="connsiteY1" fmla="*/ 11114 h 28282"/>
                <a:gd name="connsiteX2" fmla="*/ 1909 w 63687"/>
                <a:gd name="connsiteY2" fmla="*/ 1909 h 28282"/>
                <a:gd name="connsiteX3" fmla="*/ 11114 w 63687"/>
                <a:gd name="connsiteY3" fmla="*/ 1909 h 28282"/>
                <a:gd name="connsiteX4" fmla="*/ 55439 w 63687"/>
                <a:gd name="connsiteY4" fmla="*/ 13725 h 28282"/>
                <a:gd name="connsiteX5" fmla="*/ 63468 w 63687"/>
                <a:gd name="connsiteY5" fmla="*/ 18295 h 28282"/>
                <a:gd name="connsiteX6" fmla="*/ 58899 w 63687"/>
                <a:gd name="connsiteY6" fmla="*/ 26324 h 28282"/>
                <a:gd name="connsiteX7" fmla="*/ 43558 w 63687"/>
                <a:gd name="connsiteY7" fmla="*/ 28282 h 28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687" h="28282">
                  <a:moveTo>
                    <a:pt x="43558" y="28282"/>
                  </a:moveTo>
                  <a:cubicBezTo>
                    <a:pt x="28152" y="28282"/>
                    <a:pt x="13072" y="22211"/>
                    <a:pt x="1909" y="11114"/>
                  </a:cubicBezTo>
                  <a:cubicBezTo>
                    <a:pt x="-636" y="8568"/>
                    <a:pt x="-636" y="4455"/>
                    <a:pt x="1909" y="1909"/>
                  </a:cubicBezTo>
                  <a:cubicBezTo>
                    <a:pt x="4455" y="-636"/>
                    <a:pt x="8568" y="-636"/>
                    <a:pt x="11114" y="1909"/>
                  </a:cubicBezTo>
                  <a:cubicBezTo>
                    <a:pt x="22668" y="13464"/>
                    <a:pt x="39641" y="17968"/>
                    <a:pt x="55439" y="13725"/>
                  </a:cubicBezTo>
                  <a:cubicBezTo>
                    <a:pt x="58899" y="12746"/>
                    <a:pt x="62489" y="14835"/>
                    <a:pt x="63468" y="18295"/>
                  </a:cubicBezTo>
                  <a:cubicBezTo>
                    <a:pt x="64382" y="21754"/>
                    <a:pt x="62359" y="25345"/>
                    <a:pt x="58899" y="26324"/>
                  </a:cubicBezTo>
                  <a:cubicBezTo>
                    <a:pt x="53872" y="27630"/>
                    <a:pt x="48715" y="28282"/>
                    <a:pt x="43558" y="2828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14" name="Полилиния: фигура 85">
              <a:extLst>
                <a:ext uri="{FF2B5EF4-FFF2-40B4-BE49-F238E27FC236}">
                  <a16:creationId xmlns:a16="http://schemas.microsoft.com/office/drawing/2014/main" id="{D3A693A0-DB93-43FD-BB9A-BBF8303A56B3}"/>
                </a:ext>
              </a:extLst>
            </p:cNvPr>
            <p:cNvSpPr/>
            <p:nvPr/>
          </p:nvSpPr>
          <p:spPr>
            <a:xfrm>
              <a:off x="2068430" y="4480415"/>
              <a:ext cx="32640" cy="13055"/>
            </a:xfrm>
            <a:custGeom>
              <a:avLst/>
              <a:gdLst>
                <a:gd name="connsiteX0" fmla="*/ 26112 w 32640"/>
                <a:gd name="connsiteY0" fmla="*/ 13056 h 13055"/>
                <a:gd name="connsiteX1" fmla="*/ 6528 w 32640"/>
                <a:gd name="connsiteY1" fmla="*/ 13056 h 13055"/>
                <a:gd name="connsiteX2" fmla="*/ 0 w 32640"/>
                <a:gd name="connsiteY2" fmla="*/ 6528 h 13055"/>
                <a:gd name="connsiteX3" fmla="*/ 6528 w 32640"/>
                <a:gd name="connsiteY3" fmla="*/ 0 h 13055"/>
                <a:gd name="connsiteX4" fmla="*/ 26112 w 32640"/>
                <a:gd name="connsiteY4" fmla="*/ 0 h 13055"/>
                <a:gd name="connsiteX5" fmla="*/ 32640 w 32640"/>
                <a:gd name="connsiteY5" fmla="*/ 6528 h 13055"/>
                <a:gd name="connsiteX6" fmla="*/ 26112 w 32640"/>
                <a:gd name="connsiteY6" fmla="*/ 13056 h 13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40" h="13055">
                  <a:moveTo>
                    <a:pt x="26112" y="13056"/>
                  </a:moveTo>
                  <a:lnTo>
                    <a:pt x="6528" y="13056"/>
                  </a:lnTo>
                  <a:cubicBezTo>
                    <a:pt x="2938" y="13056"/>
                    <a:pt x="0" y="10118"/>
                    <a:pt x="0" y="6528"/>
                  </a:cubicBezTo>
                  <a:cubicBezTo>
                    <a:pt x="0" y="2938"/>
                    <a:pt x="2938" y="0"/>
                    <a:pt x="6528" y="0"/>
                  </a:cubicBezTo>
                  <a:lnTo>
                    <a:pt x="26112" y="0"/>
                  </a:lnTo>
                  <a:cubicBezTo>
                    <a:pt x="29702" y="0"/>
                    <a:pt x="32640" y="2938"/>
                    <a:pt x="32640" y="6528"/>
                  </a:cubicBezTo>
                  <a:cubicBezTo>
                    <a:pt x="32640" y="10118"/>
                    <a:pt x="29702" y="13056"/>
                    <a:pt x="2611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15" name="Полилиния: фигура 86">
              <a:extLst>
                <a:ext uri="{FF2B5EF4-FFF2-40B4-BE49-F238E27FC236}">
                  <a16:creationId xmlns:a16="http://schemas.microsoft.com/office/drawing/2014/main" id="{CF184F06-FBEA-4ED1-9279-066089494BF9}"/>
                </a:ext>
              </a:extLst>
            </p:cNvPr>
            <p:cNvSpPr/>
            <p:nvPr/>
          </p:nvSpPr>
          <p:spPr>
            <a:xfrm>
              <a:off x="1963982" y="4600772"/>
              <a:ext cx="261120" cy="179930"/>
            </a:xfrm>
            <a:custGeom>
              <a:avLst/>
              <a:gdLst>
                <a:gd name="connsiteX0" fmla="*/ 241536 w 261120"/>
                <a:gd name="connsiteY0" fmla="*/ 179931 h 179930"/>
                <a:gd name="connsiteX1" fmla="*/ 19584 w 261120"/>
                <a:gd name="connsiteY1" fmla="*/ 179931 h 179930"/>
                <a:gd name="connsiteX2" fmla="*/ 0 w 261120"/>
                <a:gd name="connsiteY2" fmla="*/ 160347 h 179930"/>
                <a:gd name="connsiteX3" fmla="*/ 0 w 261120"/>
                <a:gd name="connsiteY3" fmla="*/ 68825 h 179930"/>
                <a:gd name="connsiteX4" fmla="*/ 44390 w 261120"/>
                <a:gd name="connsiteY4" fmla="*/ 9747 h 179930"/>
                <a:gd name="connsiteX5" fmla="*/ 77030 w 261120"/>
                <a:gd name="connsiteY5" fmla="*/ 281 h 179930"/>
                <a:gd name="connsiteX6" fmla="*/ 85125 w 261120"/>
                <a:gd name="connsiteY6" fmla="*/ 4720 h 179930"/>
                <a:gd name="connsiteX7" fmla="*/ 80686 w 261120"/>
                <a:gd name="connsiteY7" fmla="*/ 12815 h 179930"/>
                <a:gd name="connsiteX8" fmla="*/ 48046 w 261120"/>
                <a:gd name="connsiteY8" fmla="*/ 22280 h 179930"/>
                <a:gd name="connsiteX9" fmla="*/ 13056 w 261120"/>
                <a:gd name="connsiteY9" fmla="*/ 68825 h 179930"/>
                <a:gd name="connsiteX10" fmla="*/ 13056 w 261120"/>
                <a:gd name="connsiteY10" fmla="*/ 160347 h 179930"/>
                <a:gd name="connsiteX11" fmla="*/ 19584 w 261120"/>
                <a:gd name="connsiteY11" fmla="*/ 166875 h 179930"/>
                <a:gd name="connsiteX12" fmla="*/ 241536 w 261120"/>
                <a:gd name="connsiteY12" fmla="*/ 166875 h 179930"/>
                <a:gd name="connsiteX13" fmla="*/ 248064 w 261120"/>
                <a:gd name="connsiteY13" fmla="*/ 160347 h 179930"/>
                <a:gd name="connsiteX14" fmla="*/ 248064 w 261120"/>
                <a:gd name="connsiteY14" fmla="*/ 69282 h 179930"/>
                <a:gd name="connsiteX15" fmla="*/ 213531 w 261120"/>
                <a:gd name="connsiteY15" fmla="*/ 22933 h 179930"/>
                <a:gd name="connsiteX16" fmla="*/ 179455 w 261120"/>
                <a:gd name="connsiteY16" fmla="*/ 12749 h 179930"/>
                <a:gd name="connsiteX17" fmla="*/ 175081 w 261120"/>
                <a:gd name="connsiteY17" fmla="*/ 4655 h 179930"/>
                <a:gd name="connsiteX18" fmla="*/ 183176 w 261120"/>
                <a:gd name="connsiteY18" fmla="*/ 281 h 179930"/>
                <a:gd name="connsiteX19" fmla="*/ 217252 w 261120"/>
                <a:gd name="connsiteY19" fmla="*/ 10465 h 179930"/>
                <a:gd name="connsiteX20" fmla="*/ 261120 w 261120"/>
                <a:gd name="connsiteY20" fmla="*/ 69347 h 179930"/>
                <a:gd name="connsiteX21" fmla="*/ 261120 w 261120"/>
                <a:gd name="connsiteY21" fmla="*/ 160347 h 179930"/>
                <a:gd name="connsiteX22" fmla="*/ 241536 w 261120"/>
                <a:gd name="connsiteY22" fmla="*/ 179931 h 17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120" h="179930">
                  <a:moveTo>
                    <a:pt x="241536" y="179931"/>
                  </a:moveTo>
                  <a:lnTo>
                    <a:pt x="19584" y="179931"/>
                  </a:lnTo>
                  <a:cubicBezTo>
                    <a:pt x="8813" y="179931"/>
                    <a:pt x="0" y="171118"/>
                    <a:pt x="0" y="160347"/>
                  </a:cubicBezTo>
                  <a:lnTo>
                    <a:pt x="0" y="68825"/>
                  </a:lnTo>
                  <a:cubicBezTo>
                    <a:pt x="0" y="41603"/>
                    <a:pt x="18278" y="17319"/>
                    <a:pt x="44390" y="9747"/>
                  </a:cubicBezTo>
                  <a:lnTo>
                    <a:pt x="77030" y="281"/>
                  </a:lnTo>
                  <a:cubicBezTo>
                    <a:pt x="80490" y="-698"/>
                    <a:pt x="84146" y="1260"/>
                    <a:pt x="85125" y="4720"/>
                  </a:cubicBezTo>
                  <a:cubicBezTo>
                    <a:pt x="86104" y="8180"/>
                    <a:pt x="84146" y="11835"/>
                    <a:pt x="80686" y="12815"/>
                  </a:cubicBezTo>
                  <a:lnTo>
                    <a:pt x="48046" y="22280"/>
                  </a:lnTo>
                  <a:cubicBezTo>
                    <a:pt x="27418" y="28221"/>
                    <a:pt x="13056" y="47348"/>
                    <a:pt x="13056" y="68825"/>
                  </a:cubicBezTo>
                  <a:lnTo>
                    <a:pt x="13056" y="160347"/>
                  </a:lnTo>
                  <a:cubicBezTo>
                    <a:pt x="13056" y="163937"/>
                    <a:pt x="15994" y="166875"/>
                    <a:pt x="19584" y="166875"/>
                  </a:cubicBezTo>
                  <a:lnTo>
                    <a:pt x="241536" y="166875"/>
                  </a:lnTo>
                  <a:cubicBezTo>
                    <a:pt x="245126" y="166875"/>
                    <a:pt x="248064" y="163937"/>
                    <a:pt x="248064" y="160347"/>
                  </a:cubicBezTo>
                  <a:lnTo>
                    <a:pt x="248064" y="69282"/>
                  </a:lnTo>
                  <a:cubicBezTo>
                    <a:pt x="248064" y="48066"/>
                    <a:pt x="233898" y="29004"/>
                    <a:pt x="213531" y="22933"/>
                  </a:cubicBezTo>
                  <a:lnTo>
                    <a:pt x="179455" y="12749"/>
                  </a:lnTo>
                  <a:cubicBezTo>
                    <a:pt x="175995" y="11705"/>
                    <a:pt x="174036" y="8115"/>
                    <a:pt x="175081" y="4655"/>
                  </a:cubicBezTo>
                  <a:cubicBezTo>
                    <a:pt x="176125" y="1195"/>
                    <a:pt x="179716" y="-764"/>
                    <a:pt x="183176" y="281"/>
                  </a:cubicBezTo>
                  <a:lnTo>
                    <a:pt x="217252" y="10465"/>
                  </a:lnTo>
                  <a:cubicBezTo>
                    <a:pt x="243103" y="18168"/>
                    <a:pt x="261120" y="42386"/>
                    <a:pt x="261120" y="69347"/>
                  </a:cubicBezTo>
                  <a:lnTo>
                    <a:pt x="261120" y="160347"/>
                  </a:lnTo>
                  <a:cubicBezTo>
                    <a:pt x="261120" y="171118"/>
                    <a:pt x="252307" y="179931"/>
                    <a:pt x="241536" y="179931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grpSp>
          <p:nvGrpSpPr>
            <p:cNvPr id="121" name="Рисунок 79">
              <a:extLst>
                <a:ext uri="{FF2B5EF4-FFF2-40B4-BE49-F238E27FC236}">
                  <a16:creationId xmlns:a16="http://schemas.microsoft.com/office/drawing/2014/main" id="{B38F7A18-2C7E-4439-95B8-0CC9BF60769A}"/>
                </a:ext>
              </a:extLst>
            </p:cNvPr>
            <p:cNvGrpSpPr/>
            <p:nvPr/>
          </p:nvGrpSpPr>
          <p:grpSpPr>
            <a:xfrm>
              <a:off x="2065918" y="4637535"/>
              <a:ext cx="57181" cy="104064"/>
              <a:chOff x="2065918" y="4637535"/>
              <a:chExt cx="57181" cy="104064"/>
            </a:xfrm>
            <a:grpFill/>
          </p:grpSpPr>
          <p:sp>
            <p:nvSpPr>
              <p:cNvPr id="127" name="Полилиния: фигура 92">
                <a:extLst>
                  <a:ext uri="{FF2B5EF4-FFF2-40B4-BE49-F238E27FC236}">
                    <a16:creationId xmlns:a16="http://schemas.microsoft.com/office/drawing/2014/main" id="{AC59089B-CDC5-4C3B-A936-6C3DD3A1457C}"/>
                  </a:ext>
                </a:extLst>
              </p:cNvPr>
              <p:cNvSpPr/>
              <p:nvPr/>
            </p:nvSpPr>
            <p:spPr>
              <a:xfrm>
                <a:off x="2065918" y="4651560"/>
                <a:ext cx="57181" cy="90039"/>
              </a:xfrm>
              <a:custGeom>
                <a:avLst/>
                <a:gdLst>
                  <a:gd name="connsiteX0" fmla="*/ 28623 w 57181"/>
                  <a:gd name="connsiteY0" fmla="*/ 90040 h 90039"/>
                  <a:gd name="connsiteX1" fmla="*/ 24380 w 57181"/>
                  <a:gd name="connsiteY1" fmla="*/ 88473 h 90039"/>
                  <a:gd name="connsiteX2" fmla="*/ 2250 w 57181"/>
                  <a:gd name="connsiteY2" fmla="*/ 69346 h 90039"/>
                  <a:gd name="connsiteX3" fmla="*/ 227 w 57181"/>
                  <a:gd name="connsiteY3" fmla="*/ 62753 h 90039"/>
                  <a:gd name="connsiteX4" fmla="*/ 15502 w 57181"/>
                  <a:gd name="connsiteY4" fmla="*/ 4850 h 90039"/>
                  <a:gd name="connsiteX5" fmla="*/ 23466 w 57181"/>
                  <a:gd name="connsiteY5" fmla="*/ 215 h 90039"/>
                  <a:gd name="connsiteX6" fmla="*/ 28101 w 57181"/>
                  <a:gd name="connsiteY6" fmla="*/ 8179 h 90039"/>
                  <a:gd name="connsiteX7" fmla="*/ 13870 w 57181"/>
                  <a:gd name="connsiteY7" fmla="*/ 62165 h 90039"/>
                  <a:gd name="connsiteX8" fmla="*/ 28623 w 57181"/>
                  <a:gd name="connsiteY8" fmla="*/ 74895 h 90039"/>
                  <a:gd name="connsiteX9" fmla="*/ 43311 w 57181"/>
                  <a:gd name="connsiteY9" fmla="*/ 62165 h 90039"/>
                  <a:gd name="connsiteX10" fmla="*/ 29080 w 57181"/>
                  <a:gd name="connsiteY10" fmla="*/ 8179 h 90039"/>
                  <a:gd name="connsiteX11" fmla="*/ 33715 w 57181"/>
                  <a:gd name="connsiteY11" fmla="*/ 215 h 90039"/>
                  <a:gd name="connsiteX12" fmla="*/ 41679 w 57181"/>
                  <a:gd name="connsiteY12" fmla="*/ 4850 h 90039"/>
                  <a:gd name="connsiteX13" fmla="*/ 56955 w 57181"/>
                  <a:gd name="connsiteY13" fmla="*/ 62753 h 90039"/>
                  <a:gd name="connsiteX14" fmla="*/ 54931 w 57181"/>
                  <a:gd name="connsiteY14" fmla="*/ 69346 h 90039"/>
                  <a:gd name="connsiteX15" fmla="*/ 32867 w 57181"/>
                  <a:gd name="connsiteY15" fmla="*/ 88473 h 90039"/>
                  <a:gd name="connsiteX16" fmla="*/ 28623 w 57181"/>
                  <a:gd name="connsiteY16" fmla="*/ 90040 h 9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7181" h="90039">
                    <a:moveTo>
                      <a:pt x="28623" y="90040"/>
                    </a:moveTo>
                    <a:cubicBezTo>
                      <a:pt x="27122" y="90040"/>
                      <a:pt x="25555" y="89518"/>
                      <a:pt x="24380" y="88473"/>
                    </a:cubicBezTo>
                    <a:lnTo>
                      <a:pt x="2250" y="69346"/>
                    </a:lnTo>
                    <a:cubicBezTo>
                      <a:pt x="357" y="67714"/>
                      <a:pt x="-426" y="65168"/>
                      <a:pt x="227" y="62753"/>
                    </a:cubicBezTo>
                    <a:lnTo>
                      <a:pt x="15502" y="4850"/>
                    </a:lnTo>
                    <a:cubicBezTo>
                      <a:pt x="16416" y="1390"/>
                      <a:pt x="20006" y="-699"/>
                      <a:pt x="23466" y="215"/>
                    </a:cubicBezTo>
                    <a:cubicBezTo>
                      <a:pt x="26926" y="1129"/>
                      <a:pt x="29015" y="4719"/>
                      <a:pt x="28101" y="8179"/>
                    </a:cubicBezTo>
                    <a:lnTo>
                      <a:pt x="13870" y="62165"/>
                    </a:lnTo>
                    <a:lnTo>
                      <a:pt x="28623" y="74895"/>
                    </a:lnTo>
                    <a:lnTo>
                      <a:pt x="43311" y="62165"/>
                    </a:lnTo>
                    <a:lnTo>
                      <a:pt x="29080" y="8179"/>
                    </a:lnTo>
                    <a:cubicBezTo>
                      <a:pt x="28166" y="4719"/>
                      <a:pt x="30255" y="1129"/>
                      <a:pt x="33715" y="215"/>
                    </a:cubicBezTo>
                    <a:cubicBezTo>
                      <a:pt x="37175" y="-699"/>
                      <a:pt x="40765" y="1390"/>
                      <a:pt x="41679" y="4850"/>
                    </a:cubicBezTo>
                    <a:lnTo>
                      <a:pt x="56955" y="62753"/>
                    </a:lnTo>
                    <a:cubicBezTo>
                      <a:pt x="57608" y="65168"/>
                      <a:pt x="56824" y="67714"/>
                      <a:pt x="54931" y="69346"/>
                    </a:cubicBezTo>
                    <a:lnTo>
                      <a:pt x="32867" y="88473"/>
                    </a:lnTo>
                    <a:cubicBezTo>
                      <a:pt x="31691" y="89518"/>
                      <a:pt x="30190" y="90040"/>
                      <a:pt x="28623" y="90040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2828">
                  <a:defRPr/>
                </a:pPr>
                <a:endParaRPr lang="ru-RU" sz="1797" kern="0" dirty="0">
                  <a:solidFill>
                    <a:srgbClr val="424242"/>
                  </a:solidFill>
                  <a:latin typeface="Cera CY"/>
                </a:endParaRPr>
              </a:p>
            </p:txBody>
          </p:sp>
          <p:sp>
            <p:nvSpPr>
              <p:cNvPr id="128" name="Полилиния: фигура 93">
                <a:extLst>
                  <a:ext uri="{FF2B5EF4-FFF2-40B4-BE49-F238E27FC236}">
                    <a16:creationId xmlns:a16="http://schemas.microsoft.com/office/drawing/2014/main" id="{C7823653-661A-4888-B417-E64605524F3C}"/>
                  </a:ext>
                </a:extLst>
              </p:cNvPr>
              <p:cNvSpPr/>
              <p:nvPr/>
            </p:nvSpPr>
            <p:spPr>
              <a:xfrm>
                <a:off x="2071163" y="4637535"/>
                <a:ext cx="47802" cy="27034"/>
              </a:xfrm>
              <a:custGeom>
                <a:avLst/>
                <a:gdLst>
                  <a:gd name="connsiteX0" fmla="*/ 23379 w 47802"/>
                  <a:gd name="connsiteY0" fmla="*/ 27034 h 27034"/>
                  <a:gd name="connsiteX1" fmla="*/ 19332 w 47802"/>
                  <a:gd name="connsiteY1" fmla="*/ 25664 h 27034"/>
                  <a:gd name="connsiteX2" fmla="*/ 2489 w 47802"/>
                  <a:gd name="connsiteY2" fmla="*/ 12412 h 27034"/>
                  <a:gd name="connsiteX3" fmla="*/ 1380 w 47802"/>
                  <a:gd name="connsiteY3" fmla="*/ 3273 h 27034"/>
                  <a:gd name="connsiteX4" fmla="*/ 10519 w 47802"/>
                  <a:gd name="connsiteY4" fmla="*/ 2163 h 27034"/>
                  <a:gd name="connsiteX5" fmla="*/ 23379 w 47802"/>
                  <a:gd name="connsiteY5" fmla="*/ 12216 h 27034"/>
                  <a:gd name="connsiteX6" fmla="*/ 37284 w 47802"/>
                  <a:gd name="connsiteY6" fmla="*/ 1380 h 27034"/>
                  <a:gd name="connsiteX7" fmla="*/ 46423 w 47802"/>
                  <a:gd name="connsiteY7" fmla="*/ 2489 h 27034"/>
                  <a:gd name="connsiteX8" fmla="*/ 45313 w 47802"/>
                  <a:gd name="connsiteY8" fmla="*/ 11628 h 27034"/>
                  <a:gd name="connsiteX9" fmla="*/ 27361 w 47802"/>
                  <a:gd name="connsiteY9" fmla="*/ 25664 h 27034"/>
                  <a:gd name="connsiteX10" fmla="*/ 23379 w 47802"/>
                  <a:gd name="connsiteY10" fmla="*/ 27034 h 2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802" h="27034">
                    <a:moveTo>
                      <a:pt x="23379" y="27034"/>
                    </a:moveTo>
                    <a:cubicBezTo>
                      <a:pt x="21943" y="27034"/>
                      <a:pt x="20507" y="26578"/>
                      <a:pt x="19332" y="25664"/>
                    </a:cubicBezTo>
                    <a:lnTo>
                      <a:pt x="2489" y="12412"/>
                    </a:lnTo>
                    <a:cubicBezTo>
                      <a:pt x="-318" y="10192"/>
                      <a:pt x="-840" y="6080"/>
                      <a:pt x="1380" y="3273"/>
                    </a:cubicBezTo>
                    <a:cubicBezTo>
                      <a:pt x="3599" y="466"/>
                      <a:pt x="7712" y="-57"/>
                      <a:pt x="10519" y="2163"/>
                    </a:cubicBezTo>
                    <a:lnTo>
                      <a:pt x="23379" y="12216"/>
                    </a:lnTo>
                    <a:lnTo>
                      <a:pt x="37284" y="1380"/>
                    </a:lnTo>
                    <a:cubicBezTo>
                      <a:pt x="40091" y="-840"/>
                      <a:pt x="44203" y="-318"/>
                      <a:pt x="46423" y="2489"/>
                    </a:cubicBezTo>
                    <a:cubicBezTo>
                      <a:pt x="48642" y="5362"/>
                      <a:pt x="48120" y="9409"/>
                      <a:pt x="45313" y="11628"/>
                    </a:cubicBezTo>
                    <a:lnTo>
                      <a:pt x="27361" y="25664"/>
                    </a:lnTo>
                    <a:cubicBezTo>
                      <a:pt x="26186" y="26578"/>
                      <a:pt x="24815" y="27034"/>
                      <a:pt x="23379" y="27034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2828">
                  <a:defRPr/>
                </a:pPr>
                <a:endParaRPr lang="ru-RU" sz="1797" kern="0" dirty="0">
                  <a:solidFill>
                    <a:srgbClr val="424242"/>
                  </a:solidFill>
                  <a:latin typeface="Cera CY"/>
                </a:endParaRPr>
              </a:p>
            </p:txBody>
          </p:sp>
        </p:grpSp>
        <p:sp>
          <p:nvSpPr>
            <p:cNvPr id="122" name="Полилиния: фигура 88">
              <a:extLst>
                <a:ext uri="{FF2B5EF4-FFF2-40B4-BE49-F238E27FC236}">
                  <a16:creationId xmlns:a16="http://schemas.microsoft.com/office/drawing/2014/main" id="{FCC159C2-D6A3-4C9F-ACA9-403F81DC2FD4}"/>
                </a:ext>
              </a:extLst>
            </p:cNvPr>
            <p:cNvSpPr/>
            <p:nvPr/>
          </p:nvSpPr>
          <p:spPr>
            <a:xfrm>
              <a:off x="2036273" y="4600753"/>
              <a:ext cx="64261" cy="49846"/>
            </a:xfrm>
            <a:custGeom>
              <a:avLst/>
              <a:gdLst>
                <a:gd name="connsiteX0" fmla="*/ 34702 w 64261"/>
                <a:gd name="connsiteY0" fmla="*/ 49847 h 49846"/>
                <a:gd name="connsiteX1" fmla="*/ 34180 w 64261"/>
                <a:gd name="connsiteY1" fmla="*/ 49847 h 49846"/>
                <a:gd name="connsiteX2" fmla="*/ 17599 w 64261"/>
                <a:gd name="connsiteY2" fmla="*/ 39859 h 49846"/>
                <a:gd name="connsiteX3" fmla="*/ 822 w 64261"/>
                <a:gd name="connsiteY3" fmla="*/ 9700 h 49846"/>
                <a:gd name="connsiteX4" fmla="*/ 3368 w 64261"/>
                <a:gd name="connsiteY4" fmla="*/ 822 h 49846"/>
                <a:gd name="connsiteX5" fmla="*/ 12246 w 64261"/>
                <a:gd name="connsiteY5" fmla="*/ 3368 h 49846"/>
                <a:gd name="connsiteX6" fmla="*/ 28957 w 64261"/>
                <a:gd name="connsiteY6" fmla="*/ 33462 h 49846"/>
                <a:gd name="connsiteX7" fmla="*/ 34441 w 64261"/>
                <a:gd name="connsiteY7" fmla="*/ 36726 h 49846"/>
                <a:gd name="connsiteX8" fmla="*/ 40120 w 64261"/>
                <a:gd name="connsiteY8" fmla="*/ 33658 h 49846"/>
                <a:gd name="connsiteX9" fmla="*/ 52197 w 64261"/>
                <a:gd name="connsiteY9" fmla="*/ 14596 h 49846"/>
                <a:gd name="connsiteX10" fmla="*/ 61206 w 64261"/>
                <a:gd name="connsiteY10" fmla="*/ 12572 h 49846"/>
                <a:gd name="connsiteX11" fmla="*/ 63229 w 64261"/>
                <a:gd name="connsiteY11" fmla="*/ 21581 h 49846"/>
                <a:gd name="connsiteX12" fmla="*/ 51153 w 64261"/>
                <a:gd name="connsiteY12" fmla="*/ 40642 h 49846"/>
                <a:gd name="connsiteX13" fmla="*/ 34702 w 64261"/>
                <a:gd name="connsiteY13" fmla="*/ 49847 h 4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61" h="49846">
                  <a:moveTo>
                    <a:pt x="34702" y="49847"/>
                  </a:moveTo>
                  <a:cubicBezTo>
                    <a:pt x="34506" y="49847"/>
                    <a:pt x="34376" y="49847"/>
                    <a:pt x="34180" y="49847"/>
                  </a:cubicBezTo>
                  <a:cubicBezTo>
                    <a:pt x="27195" y="49651"/>
                    <a:pt x="21059" y="45930"/>
                    <a:pt x="17599" y="39859"/>
                  </a:cubicBezTo>
                  <a:lnTo>
                    <a:pt x="822" y="9700"/>
                  </a:lnTo>
                  <a:cubicBezTo>
                    <a:pt x="-941" y="6566"/>
                    <a:pt x="234" y="2584"/>
                    <a:pt x="3368" y="822"/>
                  </a:cubicBezTo>
                  <a:cubicBezTo>
                    <a:pt x="6501" y="-941"/>
                    <a:pt x="10483" y="234"/>
                    <a:pt x="12246" y="3368"/>
                  </a:cubicBezTo>
                  <a:lnTo>
                    <a:pt x="28957" y="33462"/>
                  </a:lnTo>
                  <a:cubicBezTo>
                    <a:pt x="30589" y="36334"/>
                    <a:pt x="33331" y="36726"/>
                    <a:pt x="34441" y="36726"/>
                  </a:cubicBezTo>
                  <a:cubicBezTo>
                    <a:pt x="35616" y="36726"/>
                    <a:pt x="38358" y="36530"/>
                    <a:pt x="40120" y="33658"/>
                  </a:cubicBezTo>
                  <a:lnTo>
                    <a:pt x="52197" y="14596"/>
                  </a:lnTo>
                  <a:cubicBezTo>
                    <a:pt x="54156" y="11528"/>
                    <a:pt x="58138" y="10614"/>
                    <a:pt x="61206" y="12572"/>
                  </a:cubicBezTo>
                  <a:cubicBezTo>
                    <a:pt x="64274" y="14465"/>
                    <a:pt x="65188" y="18513"/>
                    <a:pt x="63229" y="21581"/>
                  </a:cubicBezTo>
                  <a:lnTo>
                    <a:pt x="51153" y="40642"/>
                  </a:lnTo>
                  <a:cubicBezTo>
                    <a:pt x="47628" y="46452"/>
                    <a:pt x="41426" y="49847"/>
                    <a:pt x="34702" y="49847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23" name="Полилиния: фигура 89">
              <a:extLst>
                <a:ext uri="{FF2B5EF4-FFF2-40B4-BE49-F238E27FC236}">
                  <a16:creationId xmlns:a16="http://schemas.microsoft.com/office/drawing/2014/main" id="{54F867E9-0725-4100-84F8-091515F58248}"/>
                </a:ext>
              </a:extLst>
            </p:cNvPr>
            <p:cNvSpPr/>
            <p:nvPr/>
          </p:nvSpPr>
          <p:spPr>
            <a:xfrm>
              <a:off x="2087598" y="4600717"/>
              <a:ext cx="64297" cy="49883"/>
            </a:xfrm>
            <a:custGeom>
              <a:avLst/>
              <a:gdLst>
                <a:gd name="connsiteX0" fmla="*/ 29530 w 64297"/>
                <a:gd name="connsiteY0" fmla="*/ 49883 h 49883"/>
                <a:gd name="connsiteX1" fmla="*/ 13015 w 64297"/>
                <a:gd name="connsiteY1" fmla="*/ 40744 h 49883"/>
                <a:gd name="connsiteX2" fmla="*/ 1003 w 64297"/>
                <a:gd name="connsiteY2" fmla="*/ 21682 h 49883"/>
                <a:gd name="connsiteX3" fmla="*/ 3027 w 64297"/>
                <a:gd name="connsiteY3" fmla="*/ 12674 h 49883"/>
                <a:gd name="connsiteX4" fmla="*/ 12035 w 64297"/>
                <a:gd name="connsiteY4" fmla="*/ 14697 h 49883"/>
                <a:gd name="connsiteX5" fmla="*/ 24047 w 64297"/>
                <a:gd name="connsiteY5" fmla="*/ 33759 h 49883"/>
                <a:gd name="connsiteX6" fmla="*/ 29726 w 64297"/>
                <a:gd name="connsiteY6" fmla="*/ 36827 h 49883"/>
                <a:gd name="connsiteX7" fmla="*/ 35275 w 64297"/>
                <a:gd name="connsiteY7" fmla="*/ 33498 h 49883"/>
                <a:gd name="connsiteX8" fmla="*/ 52052 w 64297"/>
                <a:gd name="connsiteY8" fmla="*/ 3339 h 49883"/>
                <a:gd name="connsiteX9" fmla="*/ 60930 w 64297"/>
                <a:gd name="connsiteY9" fmla="*/ 793 h 49883"/>
                <a:gd name="connsiteX10" fmla="*/ 63476 w 64297"/>
                <a:gd name="connsiteY10" fmla="*/ 9671 h 49883"/>
                <a:gd name="connsiteX11" fmla="*/ 46634 w 64297"/>
                <a:gd name="connsiteY11" fmla="*/ 39830 h 49883"/>
                <a:gd name="connsiteX12" fmla="*/ 30053 w 64297"/>
                <a:gd name="connsiteY12" fmla="*/ 49818 h 49883"/>
                <a:gd name="connsiteX13" fmla="*/ 29530 w 64297"/>
                <a:gd name="connsiteY13" fmla="*/ 49883 h 4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97" h="49883">
                  <a:moveTo>
                    <a:pt x="29530" y="49883"/>
                  </a:moveTo>
                  <a:cubicBezTo>
                    <a:pt x="22741" y="49883"/>
                    <a:pt x="16605" y="46489"/>
                    <a:pt x="13015" y="40744"/>
                  </a:cubicBezTo>
                  <a:lnTo>
                    <a:pt x="1003" y="21682"/>
                  </a:lnTo>
                  <a:cubicBezTo>
                    <a:pt x="-890" y="18614"/>
                    <a:pt x="-41" y="14632"/>
                    <a:pt x="3027" y="12674"/>
                  </a:cubicBezTo>
                  <a:cubicBezTo>
                    <a:pt x="6095" y="10781"/>
                    <a:pt x="10077" y="11695"/>
                    <a:pt x="12035" y="14697"/>
                  </a:cubicBezTo>
                  <a:lnTo>
                    <a:pt x="24047" y="33759"/>
                  </a:lnTo>
                  <a:cubicBezTo>
                    <a:pt x="25809" y="36566"/>
                    <a:pt x="28616" y="36827"/>
                    <a:pt x="29726" y="36827"/>
                  </a:cubicBezTo>
                  <a:cubicBezTo>
                    <a:pt x="30836" y="36827"/>
                    <a:pt x="33578" y="36436"/>
                    <a:pt x="35275" y="33498"/>
                  </a:cubicBezTo>
                  <a:lnTo>
                    <a:pt x="52052" y="3339"/>
                  </a:lnTo>
                  <a:cubicBezTo>
                    <a:pt x="53815" y="205"/>
                    <a:pt x="57797" y="-904"/>
                    <a:pt x="60930" y="793"/>
                  </a:cubicBezTo>
                  <a:cubicBezTo>
                    <a:pt x="64063" y="2490"/>
                    <a:pt x="65239" y="6537"/>
                    <a:pt x="63476" y="9671"/>
                  </a:cubicBezTo>
                  <a:lnTo>
                    <a:pt x="46634" y="39830"/>
                  </a:lnTo>
                  <a:cubicBezTo>
                    <a:pt x="43174" y="45901"/>
                    <a:pt x="37038" y="49622"/>
                    <a:pt x="30053" y="49818"/>
                  </a:cubicBezTo>
                  <a:cubicBezTo>
                    <a:pt x="29857" y="49883"/>
                    <a:pt x="29661" y="49883"/>
                    <a:pt x="29530" y="498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25" name="Полилиния: фигура 90">
              <a:extLst>
                <a:ext uri="{FF2B5EF4-FFF2-40B4-BE49-F238E27FC236}">
                  <a16:creationId xmlns:a16="http://schemas.microsoft.com/office/drawing/2014/main" id="{2BA02CFD-E9A5-4677-8372-F7F8666EF0A0}"/>
                </a:ext>
              </a:extLst>
            </p:cNvPr>
            <p:cNvSpPr/>
            <p:nvPr/>
          </p:nvSpPr>
          <p:spPr>
            <a:xfrm>
              <a:off x="2003157" y="4715408"/>
              <a:ext cx="25444" cy="62682"/>
            </a:xfrm>
            <a:custGeom>
              <a:avLst/>
              <a:gdLst>
                <a:gd name="connsiteX0" fmla="*/ 18924 w 25444"/>
                <a:gd name="connsiteY0" fmla="*/ 62683 h 62682"/>
                <a:gd name="connsiteX1" fmla="*/ 12592 w 25444"/>
                <a:gd name="connsiteY1" fmla="*/ 57722 h 62682"/>
                <a:gd name="connsiteX2" fmla="*/ 189 w 25444"/>
                <a:gd name="connsiteY2" fmla="*/ 8109 h 62682"/>
                <a:gd name="connsiteX3" fmla="*/ 4954 w 25444"/>
                <a:gd name="connsiteY3" fmla="*/ 210 h 62682"/>
                <a:gd name="connsiteX4" fmla="*/ 12853 w 25444"/>
                <a:gd name="connsiteY4" fmla="*/ 4976 h 62682"/>
                <a:gd name="connsiteX5" fmla="*/ 25256 w 25444"/>
                <a:gd name="connsiteY5" fmla="*/ 54588 h 62682"/>
                <a:gd name="connsiteX6" fmla="*/ 20491 w 25444"/>
                <a:gd name="connsiteY6" fmla="*/ 62487 h 62682"/>
                <a:gd name="connsiteX7" fmla="*/ 18924 w 25444"/>
                <a:gd name="connsiteY7" fmla="*/ 62683 h 62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444" h="62682">
                  <a:moveTo>
                    <a:pt x="18924" y="62683"/>
                  </a:moveTo>
                  <a:cubicBezTo>
                    <a:pt x="15986" y="62683"/>
                    <a:pt x="13310" y="60725"/>
                    <a:pt x="12592" y="57722"/>
                  </a:cubicBezTo>
                  <a:lnTo>
                    <a:pt x="189" y="8109"/>
                  </a:lnTo>
                  <a:cubicBezTo>
                    <a:pt x="-660" y="4584"/>
                    <a:pt x="1429" y="1059"/>
                    <a:pt x="4954" y="210"/>
                  </a:cubicBezTo>
                  <a:cubicBezTo>
                    <a:pt x="8414" y="-704"/>
                    <a:pt x="12004" y="1450"/>
                    <a:pt x="12853" y="4976"/>
                  </a:cubicBezTo>
                  <a:lnTo>
                    <a:pt x="25256" y="54588"/>
                  </a:lnTo>
                  <a:cubicBezTo>
                    <a:pt x="26105" y="58113"/>
                    <a:pt x="24016" y="61638"/>
                    <a:pt x="20491" y="62487"/>
                  </a:cubicBezTo>
                  <a:cubicBezTo>
                    <a:pt x="19969" y="62618"/>
                    <a:pt x="19446" y="62683"/>
                    <a:pt x="18924" y="626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26" name="Полилиния: фигура 91">
              <a:extLst>
                <a:ext uri="{FF2B5EF4-FFF2-40B4-BE49-F238E27FC236}">
                  <a16:creationId xmlns:a16="http://schemas.microsoft.com/office/drawing/2014/main" id="{58F2BC85-FE32-4728-8167-9C7DEFE64E24}"/>
                </a:ext>
              </a:extLst>
            </p:cNvPr>
            <p:cNvSpPr/>
            <p:nvPr/>
          </p:nvSpPr>
          <p:spPr>
            <a:xfrm>
              <a:off x="2160220" y="4715408"/>
              <a:ext cx="25640" cy="63531"/>
            </a:xfrm>
            <a:custGeom>
              <a:avLst/>
              <a:gdLst>
                <a:gd name="connsiteX0" fmla="*/ 6521 w 25640"/>
                <a:gd name="connsiteY0" fmla="*/ 63532 h 63531"/>
                <a:gd name="connsiteX1" fmla="*/ 4954 w 25640"/>
                <a:gd name="connsiteY1" fmla="*/ 63336 h 63531"/>
                <a:gd name="connsiteX2" fmla="*/ 189 w 25640"/>
                <a:gd name="connsiteY2" fmla="*/ 55437 h 63531"/>
                <a:gd name="connsiteX3" fmla="*/ 12788 w 25640"/>
                <a:gd name="connsiteY3" fmla="*/ 4976 h 63531"/>
                <a:gd name="connsiteX4" fmla="*/ 20687 w 25640"/>
                <a:gd name="connsiteY4" fmla="*/ 210 h 63531"/>
                <a:gd name="connsiteX5" fmla="*/ 25452 w 25640"/>
                <a:gd name="connsiteY5" fmla="*/ 8109 h 63531"/>
                <a:gd name="connsiteX6" fmla="*/ 12853 w 25640"/>
                <a:gd name="connsiteY6" fmla="*/ 58570 h 63531"/>
                <a:gd name="connsiteX7" fmla="*/ 6521 w 25640"/>
                <a:gd name="connsiteY7" fmla="*/ 63532 h 6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0" h="63531">
                  <a:moveTo>
                    <a:pt x="6521" y="63532"/>
                  </a:moveTo>
                  <a:cubicBezTo>
                    <a:pt x="5999" y="63532"/>
                    <a:pt x="5476" y="63466"/>
                    <a:pt x="4954" y="63336"/>
                  </a:cubicBezTo>
                  <a:cubicBezTo>
                    <a:pt x="1429" y="62487"/>
                    <a:pt x="-660" y="58897"/>
                    <a:pt x="189" y="55437"/>
                  </a:cubicBezTo>
                  <a:lnTo>
                    <a:pt x="12788" y="4976"/>
                  </a:lnTo>
                  <a:cubicBezTo>
                    <a:pt x="13636" y="1450"/>
                    <a:pt x="17227" y="-704"/>
                    <a:pt x="20687" y="210"/>
                  </a:cubicBezTo>
                  <a:cubicBezTo>
                    <a:pt x="24212" y="1059"/>
                    <a:pt x="26301" y="4649"/>
                    <a:pt x="25452" y="8109"/>
                  </a:cubicBezTo>
                  <a:lnTo>
                    <a:pt x="12853" y="58570"/>
                  </a:lnTo>
                  <a:cubicBezTo>
                    <a:pt x="12070" y="61573"/>
                    <a:pt x="9393" y="63532"/>
                    <a:pt x="6521" y="6353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</p:grpSp>
      <p:grpSp>
        <p:nvGrpSpPr>
          <p:cNvPr id="129" name="Группа 128">
            <a:extLst>
              <a:ext uri="{FF2B5EF4-FFF2-40B4-BE49-F238E27FC236}">
                <a16:creationId xmlns:a16="http://schemas.microsoft.com/office/drawing/2014/main" id="{B79C964E-FEC6-4504-98CC-4F116E8B8CC3}"/>
              </a:ext>
            </a:extLst>
          </p:cNvPr>
          <p:cNvGrpSpPr/>
          <p:nvPr/>
        </p:nvGrpSpPr>
        <p:grpSpPr>
          <a:xfrm>
            <a:off x="2719287" y="4008657"/>
            <a:ext cx="260711" cy="338922"/>
            <a:chOff x="1963982" y="4441248"/>
            <a:chExt cx="261120" cy="339454"/>
          </a:xfrm>
          <a:solidFill>
            <a:schemeClr val="tx2"/>
          </a:solidFill>
        </p:grpSpPr>
        <p:sp>
          <p:nvSpPr>
            <p:cNvPr id="130" name="Полилиния: фигура 95">
              <a:extLst>
                <a:ext uri="{FF2B5EF4-FFF2-40B4-BE49-F238E27FC236}">
                  <a16:creationId xmlns:a16="http://schemas.microsoft.com/office/drawing/2014/main" id="{36F1F332-CA36-4D79-B79E-60E5579A630F}"/>
                </a:ext>
              </a:extLst>
            </p:cNvPr>
            <p:cNvSpPr/>
            <p:nvPr/>
          </p:nvSpPr>
          <p:spPr>
            <a:xfrm>
              <a:off x="2029262" y="4506527"/>
              <a:ext cx="13056" cy="26111"/>
            </a:xfrm>
            <a:custGeom>
              <a:avLst/>
              <a:gdLst>
                <a:gd name="connsiteX0" fmla="*/ 13056 w 13056"/>
                <a:gd name="connsiteY0" fmla="*/ 26112 h 26111"/>
                <a:gd name="connsiteX1" fmla="*/ 0 w 13056"/>
                <a:gd name="connsiteY1" fmla="*/ 13056 h 26111"/>
                <a:gd name="connsiteX2" fmla="*/ 13056 w 13056"/>
                <a:gd name="connsiteY2" fmla="*/ 0 h 26111"/>
                <a:gd name="connsiteX3" fmla="*/ 13056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13056" y="26112"/>
                  </a:moveTo>
                  <a:cubicBezTo>
                    <a:pt x="5875" y="26112"/>
                    <a:pt x="0" y="20302"/>
                    <a:pt x="0" y="13056"/>
                  </a:cubicBezTo>
                  <a:cubicBezTo>
                    <a:pt x="0" y="5875"/>
                    <a:pt x="5875" y="0"/>
                    <a:pt x="13056" y="0"/>
                  </a:cubicBezTo>
                  <a:lnTo>
                    <a:pt x="13056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31" name="Полилиния: фигура 96">
              <a:extLst>
                <a:ext uri="{FF2B5EF4-FFF2-40B4-BE49-F238E27FC236}">
                  <a16:creationId xmlns:a16="http://schemas.microsoft.com/office/drawing/2014/main" id="{E22D9B01-E013-40BD-9BA7-E3465A6BE808}"/>
                </a:ext>
              </a:extLst>
            </p:cNvPr>
            <p:cNvSpPr/>
            <p:nvPr/>
          </p:nvSpPr>
          <p:spPr>
            <a:xfrm>
              <a:off x="2146766" y="4506527"/>
              <a:ext cx="13056" cy="26111"/>
            </a:xfrm>
            <a:custGeom>
              <a:avLst/>
              <a:gdLst>
                <a:gd name="connsiteX0" fmla="*/ 0 w 13056"/>
                <a:gd name="connsiteY0" fmla="*/ 26112 h 26111"/>
                <a:gd name="connsiteX1" fmla="*/ 13056 w 13056"/>
                <a:gd name="connsiteY1" fmla="*/ 13056 h 26111"/>
                <a:gd name="connsiteX2" fmla="*/ 0 w 13056"/>
                <a:gd name="connsiteY2" fmla="*/ 0 h 26111"/>
                <a:gd name="connsiteX3" fmla="*/ 0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0" y="26112"/>
                  </a:moveTo>
                  <a:cubicBezTo>
                    <a:pt x="7181" y="26112"/>
                    <a:pt x="13056" y="20302"/>
                    <a:pt x="13056" y="13056"/>
                  </a:cubicBezTo>
                  <a:cubicBezTo>
                    <a:pt x="13056" y="5875"/>
                    <a:pt x="7181" y="0"/>
                    <a:pt x="0" y="0"/>
                  </a:cubicBezTo>
                  <a:lnTo>
                    <a:pt x="0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32" name="Полилиния: фигура 97">
              <a:extLst>
                <a:ext uri="{FF2B5EF4-FFF2-40B4-BE49-F238E27FC236}">
                  <a16:creationId xmlns:a16="http://schemas.microsoft.com/office/drawing/2014/main" id="{358A32A6-C177-4754-8852-F569C93CAFDB}"/>
                </a:ext>
              </a:extLst>
            </p:cNvPr>
            <p:cNvSpPr/>
            <p:nvPr/>
          </p:nvSpPr>
          <p:spPr>
            <a:xfrm>
              <a:off x="2035790" y="4441248"/>
              <a:ext cx="117504" cy="143615"/>
            </a:xfrm>
            <a:custGeom>
              <a:avLst/>
              <a:gdLst>
                <a:gd name="connsiteX0" fmla="*/ 58752 w 117504"/>
                <a:gd name="connsiteY0" fmla="*/ 143616 h 143615"/>
                <a:gd name="connsiteX1" fmla="*/ 0 w 117504"/>
                <a:gd name="connsiteY1" fmla="*/ 58752 h 143615"/>
                <a:gd name="connsiteX2" fmla="*/ 58752 w 117504"/>
                <a:gd name="connsiteY2" fmla="*/ 0 h 143615"/>
                <a:gd name="connsiteX3" fmla="*/ 117504 w 117504"/>
                <a:gd name="connsiteY3" fmla="*/ 58752 h 143615"/>
                <a:gd name="connsiteX4" fmla="*/ 58752 w 117504"/>
                <a:gd name="connsiteY4" fmla="*/ 143616 h 143615"/>
                <a:gd name="connsiteX5" fmla="*/ 58752 w 117504"/>
                <a:gd name="connsiteY5" fmla="*/ 13056 h 143615"/>
                <a:gd name="connsiteX6" fmla="*/ 13056 w 117504"/>
                <a:gd name="connsiteY6" fmla="*/ 58752 h 143615"/>
                <a:gd name="connsiteX7" fmla="*/ 58752 w 117504"/>
                <a:gd name="connsiteY7" fmla="*/ 130560 h 143615"/>
                <a:gd name="connsiteX8" fmla="*/ 104448 w 117504"/>
                <a:gd name="connsiteY8" fmla="*/ 58752 h 143615"/>
                <a:gd name="connsiteX9" fmla="*/ 58752 w 117504"/>
                <a:gd name="connsiteY9" fmla="*/ 13056 h 14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4" h="143615">
                  <a:moveTo>
                    <a:pt x="58752" y="143616"/>
                  </a:moveTo>
                  <a:cubicBezTo>
                    <a:pt x="24219" y="143616"/>
                    <a:pt x="0" y="88585"/>
                    <a:pt x="0" y="58752"/>
                  </a:cubicBezTo>
                  <a:cubicBezTo>
                    <a:pt x="0" y="26373"/>
                    <a:pt x="26373" y="0"/>
                    <a:pt x="58752" y="0"/>
                  </a:cubicBezTo>
                  <a:cubicBezTo>
                    <a:pt x="91131" y="0"/>
                    <a:pt x="117504" y="26373"/>
                    <a:pt x="117504" y="58752"/>
                  </a:cubicBezTo>
                  <a:cubicBezTo>
                    <a:pt x="117504" y="88585"/>
                    <a:pt x="93285" y="143616"/>
                    <a:pt x="58752" y="143616"/>
                  </a:cubicBezTo>
                  <a:close/>
                  <a:moveTo>
                    <a:pt x="58752" y="13056"/>
                  </a:moveTo>
                  <a:cubicBezTo>
                    <a:pt x="33554" y="13056"/>
                    <a:pt x="13056" y="33554"/>
                    <a:pt x="13056" y="58752"/>
                  </a:cubicBezTo>
                  <a:cubicBezTo>
                    <a:pt x="13056" y="85778"/>
                    <a:pt x="35186" y="130560"/>
                    <a:pt x="58752" y="130560"/>
                  </a:cubicBezTo>
                  <a:cubicBezTo>
                    <a:pt x="82318" y="130560"/>
                    <a:pt x="104448" y="85778"/>
                    <a:pt x="104448" y="58752"/>
                  </a:cubicBezTo>
                  <a:cubicBezTo>
                    <a:pt x="104448" y="33554"/>
                    <a:pt x="83950" y="13056"/>
                    <a:pt x="5875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33" name="Полилиния: фигура 98">
              <a:extLst>
                <a:ext uri="{FF2B5EF4-FFF2-40B4-BE49-F238E27FC236}">
                  <a16:creationId xmlns:a16="http://schemas.microsoft.com/office/drawing/2014/main" id="{FF1859D4-EFFE-423A-9034-89EC6A8FFAF0}"/>
                </a:ext>
              </a:extLst>
            </p:cNvPr>
            <p:cNvSpPr/>
            <p:nvPr/>
          </p:nvSpPr>
          <p:spPr>
            <a:xfrm>
              <a:off x="2087997" y="4480464"/>
              <a:ext cx="63687" cy="28282"/>
            </a:xfrm>
            <a:custGeom>
              <a:avLst/>
              <a:gdLst>
                <a:gd name="connsiteX0" fmla="*/ 43558 w 63687"/>
                <a:gd name="connsiteY0" fmla="*/ 28282 h 28282"/>
                <a:gd name="connsiteX1" fmla="*/ 1909 w 63687"/>
                <a:gd name="connsiteY1" fmla="*/ 11114 h 28282"/>
                <a:gd name="connsiteX2" fmla="*/ 1909 w 63687"/>
                <a:gd name="connsiteY2" fmla="*/ 1909 h 28282"/>
                <a:gd name="connsiteX3" fmla="*/ 11114 w 63687"/>
                <a:gd name="connsiteY3" fmla="*/ 1909 h 28282"/>
                <a:gd name="connsiteX4" fmla="*/ 55439 w 63687"/>
                <a:gd name="connsiteY4" fmla="*/ 13725 h 28282"/>
                <a:gd name="connsiteX5" fmla="*/ 63468 w 63687"/>
                <a:gd name="connsiteY5" fmla="*/ 18295 h 28282"/>
                <a:gd name="connsiteX6" fmla="*/ 58899 w 63687"/>
                <a:gd name="connsiteY6" fmla="*/ 26324 h 28282"/>
                <a:gd name="connsiteX7" fmla="*/ 43558 w 63687"/>
                <a:gd name="connsiteY7" fmla="*/ 28282 h 28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687" h="28282">
                  <a:moveTo>
                    <a:pt x="43558" y="28282"/>
                  </a:moveTo>
                  <a:cubicBezTo>
                    <a:pt x="28152" y="28282"/>
                    <a:pt x="13072" y="22211"/>
                    <a:pt x="1909" y="11114"/>
                  </a:cubicBezTo>
                  <a:cubicBezTo>
                    <a:pt x="-636" y="8568"/>
                    <a:pt x="-636" y="4455"/>
                    <a:pt x="1909" y="1909"/>
                  </a:cubicBezTo>
                  <a:cubicBezTo>
                    <a:pt x="4455" y="-636"/>
                    <a:pt x="8568" y="-636"/>
                    <a:pt x="11114" y="1909"/>
                  </a:cubicBezTo>
                  <a:cubicBezTo>
                    <a:pt x="22668" y="13464"/>
                    <a:pt x="39641" y="17968"/>
                    <a:pt x="55439" y="13725"/>
                  </a:cubicBezTo>
                  <a:cubicBezTo>
                    <a:pt x="58899" y="12746"/>
                    <a:pt x="62489" y="14835"/>
                    <a:pt x="63468" y="18295"/>
                  </a:cubicBezTo>
                  <a:cubicBezTo>
                    <a:pt x="64382" y="21754"/>
                    <a:pt x="62359" y="25345"/>
                    <a:pt x="58899" y="26324"/>
                  </a:cubicBezTo>
                  <a:cubicBezTo>
                    <a:pt x="53872" y="27630"/>
                    <a:pt x="48715" y="28282"/>
                    <a:pt x="43558" y="2828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34" name="Полилиния: фигура 99">
              <a:extLst>
                <a:ext uri="{FF2B5EF4-FFF2-40B4-BE49-F238E27FC236}">
                  <a16:creationId xmlns:a16="http://schemas.microsoft.com/office/drawing/2014/main" id="{FED4ED5B-4707-4767-B82D-8315033D7B8A}"/>
                </a:ext>
              </a:extLst>
            </p:cNvPr>
            <p:cNvSpPr/>
            <p:nvPr/>
          </p:nvSpPr>
          <p:spPr>
            <a:xfrm>
              <a:off x="2068430" y="4480415"/>
              <a:ext cx="32640" cy="13055"/>
            </a:xfrm>
            <a:custGeom>
              <a:avLst/>
              <a:gdLst>
                <a:gd name="connsiteX0" fmla="*/ 26112 w 32640"/>
                <a:gd name="connsiteY0" fmla="*/ 13056 h 13055"/>
                <a:gd name="connsiteX1" fmla="*/ 6528 w 32640"/>
                <a:gd name="connsiteY1" fmla="*/ 13056 h 13055"/>
                <a:gd name="connsiteX2" fmla="*/ 0 w 32640"/>
                <a:gd name="connsiteY2" fmla="*/ 6528 h 13055"/>
                <a:gd name="connsiteX3" fmla="*/ 6528 w 32640"/>
                <a:gd name="connsiteY3" fmla="*/ 0 h 13055"/>
                <a:gd name="connsiteX4" fmla="*/ 26112 w 32640"/>
                <a:gd name="connsiteY4" fmla="*/ 0 h 13055"/>
                <a:gd name="connsiteX5" fmla="*/ 32640 w 32640"/>
                <a:gd name="connsiteY5" fmla="*/ 6528 h 13055"/>
                <a:gd name="connsiteX6" fmla="*/ 26112 w 32640"/>
                <a:gd name="connsiteY6" fmla="*/ 13056 h 13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40" h="13055">
                  <a:moveTo>
                    <a:pt x="26112" y="13056"/>
                  </a:moveTo>
                  <a:lnTo>
                    <a:pt x="6528" y="13056"/>
                  </a:lnTo>
                  <a:cubicBezTo>
                    <a:pt x="2938" y="13056"/>
                    <a:pt x="0" y="10118"/>
                    <a:pt x="0" y="6528"/>
                  </a:cubicBezTo>
                  <a:cubicBezTo>
                    <a:pt x="0" y="2938"/>
                    <a:pt x="2938" y="0"/>
                    <a:pt x="6528" y="0"/>
                  </a:cubicBezTo>
                  <a:lnTo>
                    <a:pt x="26112" y="0"/>
                  </a:lnTo>
                  <a:cubicBezTo>
                    <a:pt x="29702" y="0"/>
                    <a:pt x="32640" y="2938"/>
                    <a:pt x="32640" y="6528"/>
                  </a:cubicBezTo>
                  <a:cubicBezTo>
                    <a:pt x="32640" y="10118"/>
                    <a:pt x="29702" y="13056"/>
                    <a:pt x="2611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35" name="Полилиния: фигура 100">
              <a:extLst>
                <a:ext uri="{FF2B5EF4-FFF2-40B4-BE49-F238E27FC236}">
                  <a16:creationId xmlns:a16="http://schemas.microsoft.com/office/drawing/2014/main" id="{0E261DDA-D301-4E60-B7BF-E06A0B29C18E}"/>
                </a:ext>
              </a:extLst>
            </p:cNvPr>
            <p:cNvSpPr/>
            <p:nvPr/>
          </p:nvSpPr>
          <p:spPr>
            <a:xfrm>
              <a:off x="1963982" y="4600772"/>
              <a:ext cx="261120" cy="179930"/>
            </a:xfrm>
            <a:custGeom>
              <a:avLst/>
              <a:gdLst>
                <a:gd name="connsiteX0" fmla="*/ 241536 w 261120"/>
                <a:gd name="connsiteY0" fmla="*/ 179931 h 179930"/>
                <a:gd name="connsiteX1" fmla="*/ 19584 w 261120"/>
                <a:gd name="connsiteY1" fmla="*/ 179931 h 179930"/>
                <a:gd name="connsiteX2" fmla="*/ 0 w 261120"/>
                <a:gd name="connsiteY2" fmla="*/ 160347 h 179930"/>
                <a:gd name="connsiteX3" fmla="*/ 0 w 261120"/>
                <a:gd name="connsiteY3" fmla="*/ 68825 h 179930"/>
                <a:gd name="connsiteX4" fmla="*/ 44390 w 261120"/>
                <a:gd name="connsiteY4" fmla="*/ 9747 h 179930"/>
                <a:gd name="connsiteX5" fmla="*/ 77030 w 261120"/>
                <a:gd name="connsiteY5" fmla="*/ 281 h 179930"/>
                <a:gd name="connsiteX6" fmla="*/ 85125 w 261120"/>
                <a:gd name="connsiteY6" fmla="*/ 4720 h 179930"/>
                <a:gd name="connsiteX7" fmla="*/ 80686 w 261120"/>
                <a:gd name="connsiteY7" fmla="*/ 12815 h 179930"/>
                <a:gd name="connsiteX8" fmla="*/ 48046 w 261120"/>
                <a:gd name="connsiteY8" fmla="*/ 22280 h 179930"/>
                <a:gd name="connsiteX9" fmla="*/ 13056 w 261120"/>
                <a:gd name="connsiteY9" fmla="*/ 68825 h 179930"/>
                <a:gd name="connsiteX10" fmla="*/ 13056 w 261120"/>
                <a:gd name="connsiteY10" fmla="*/ 160347 h 179930"/>
                <a:gd name="connsiteX11" fmla="*/ 19584 w 261120"/>
                <a:gd name="connsiteY11" fmla="*/ 166875 h 179930"/>
                <a:gd name="connsiteX12" fmla="*/ 241536 w 261120"/>
                <a:gd name="connsiteY12" fmla="*/ 166875 h 179930"/>
                <a:gd name="connsiteX13" fmla="*/ 248064 w 261120"/>
                <a:gd name="connsiteY13" fmla="*/ 160347 h 179930"/>
                <a:gd name="connsiteX14" fmla="*/ 248064 w 261120"/>
                <a:gd name="connsiteY14" fmla="*/ 69282 h 179930"/>
                <a:gd name="connsiteX15" fmla="*/ 213531 w 261120"/>
                <a:gd name="connsiteY15" fmla="*/ 22933 h 179930"/>
                <a:gd name="connsiteX16" fmla="*/ 179455 w 261120"/>
                <a:gd name="connsiteY16" fmla="*/ 12749 h 179930"/>
                <a:gd name="connsiteX17" fmla="*/ 175081 w 261120"/>
                <a:gd name="connsiteY17" fmla="*/ 4655 h 179930"/>
                <a:gd name="connsiteX18" fmla="*/ 183176 w 261120"/>
                <a:gd name="connsiteY18" fmla="*/ 281 h 179930"/>
                <a:gd name="connsiteX19" fmla="*/ 217252 w 261120"/>
                <a:gd name="connsiteY19" fmla="*/ 10465 h 179930"/>
                <a:gd name="connsiteX20" fmla="*/ 261120 w 261120"/>
                <a:gd name="connsiteY20" fmla="*/ 69347 h 179930"/>
                <a:gd name="connsiteX21" fmla="*/ 261120 w 261120"/>
                <a:gd name="connsiteY21" fmla="*/ 160347 h 179930"/>
                <a:gd name="connsiteX22" fmla="*/ 241536 w 261120"/>
                <a:gd name="connsiteY22" fmla="*/ 179931 h 17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120" h="179930">
                  <a:moveTo>
                    <a:pt x="241536" y="179931"/>
                  </a:moveTo>
                  <a:lnTo>
                    <a:pt x="19584" y="179931"/>
                  </a:lnTo>
                  <a:cubicBezTo>
                    <a:pt x="8813" y="179931"/>
                    <a:pt x="0" y="171118"/>
                    <a:pt x="0" y="160347"/>
                  </a:cubicBezTo>
                  <a:lnTo>
                    <a:pt x="0" y="68825"/>
                  </a:lnTo>
                  <a:cubicBezTo>
                    <a:pt x="0" y="41603"/>
                    <a:pt x="18278" y="17319"/>
                    <a:pt x="44390" y="9747"/>
                  </a:cubicBezTo>
                  <a:lnTo>
                    <a:pt x="77030" y="281"/>
                  </a:lnTo>
                  <a:cubicBezTo>
                    <a:pt x="80490" y="-698"/>
                    <a:pt x="84146" y="1260"/>
                    <a:pt x="85125" y="4720"/>
                  </a:cubicBezTo>
                  <a:cubicBezTo>
                    <a:pt x="86104" y="8180"/>
                    <a:pt x="84146" y="11835"/>
                    <a:pt x="80686" y="12815"/>
                  </a:cubicBezTo>
                  <a:lnTo>
                    <a:pt x="48046" y="22280"/>
                  </a:lnTo>
                  <a:cubicBezTo>
                    <a:pt x="27418" y="28221"/>
                    <a:pt x="13056" y="47348"/>
                    <a:pt x="13056" y="68825"/>
                  </a:cubicBezTo>
                  <a:lnTo>
                    <a:pt x="13056" y="160347"/>
                  </a:lnTo>
                  <a:cubicBezTo>
                    <a:pt x="13056" y="163937"/>
                    <a:pt x="15994" y="166875"/>
                    <a:pt x="19584" y="166875"/>
                  </a:cubicBezTo>
                  <a:lnTo>
                    <a:pt x="241536" y="166875"/>
                  </a:lnTo>
                  <a:cubicBezTo>
                    <a:pt x="245126" y="166875"/>
                    <a:pt x="248064" y="163937"/>
                    <a:pt x="248064" y="160347"/>
                  </a:cubicBezTo>
                  <a:lnTo>
                    <a:pt x="248064" y="69282"/>
                  </a:lnTo>
                  <a:cubicBezTo>
                    <a:pt x="248064" y="48066"/>
                    <a:pt x="233898" y="29004"/>
                    <a:pt x="213531" y="22933"/>
                  </a:cubicBezTo>
                  <a:lnTo>
                    <a:pt x="179455" y="12749"/>
                  </a:lnTo>
                  <a:cubicBezTo>
                    <a:pt x="175995" y="11705"/>
                    <a:pt x="174036" y="8115"/>
                    <a:pt x="175081" y="4655"/>
                  </a:cubicBezTo>
                  <a:cubicBezTo>
                    <a:pt x="176125" y="1195"/>
                    <a:pt x="179716" y="-764"/>
                    <a:pt x="183176" y="281"/>
                  </a:cubicBezTo>
                  <a:lnTo>
                    <a:pt x="217252" y="10465"/>
                  </a:lnTo>
                  <a:cubicBezTo>
                    <a:pt x="243103" y="18168"/>
                    <a:pt x="261120" y="42386"/>
                    <a:pt x="261120" y="69347"/>
                  </a:cubicBezTo>
                  <a:lnTo>
                    <a:pt x="261120" y="160347"/>
                  </a:lnTo>
                  <a:cubicBezTo>
                    <a:pt x="261120" y="171118"/>
                    <a:pt x="252307" y="179931"/>
                    <a:pt x="241536" y="179931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grpSp>
          <p:nvGrpSpPr>
            <p:cNvPr id="136" name="Рисунок 79">
              <a:extLst>
                <a:ext uri="{FF2B5EF4-FFF2-40B4-BE49-F238E27FC236}">
                  <a16:creationId xmlns:a16="http://schemas.microsoft.com/office/drawing/2014/main" id="{C7787544-330D-40F1-863D-67AB147CA88A}"/>
                </a:ext>
              </a:extLst>
            </p:cNvPr>
            <p:cNvGrpSpPr/>
            <p:nvPr/>
          </p:nvGrpSpPr>
          <p:grpSpPr>
            <a:xfrm>
              <a:off x="2065918" y="4637535"/>
              <a:ext cx="57181" cy="104064"/>
              <a:chOff x="2065918" y="4637535"/>
              <a:chExt cx="57181" cy="104064"/>
            </a:xfrm>
            <a:grpFill/>
          </p:grpSpPr>
          <p:sp>
            <p:nvSpPr>
              <p:cNvPr id="141" name="Полилиния: фигура 106">
                <a:extLst>
                  <a:ext uri="{FF2B5EF4-FFF2-40B4-BE49-F238E27FC236}">
                    <a16:creationId xmlns:a16="http://schemas.microsoft.com/office/drawing/2014/main" id="{9E5FE48A-FC33-4CB1-BFD2-21CAAA41E9E0}"/>
                  </a:ext>
                </a:extLst>
              </p:cNvPr>
              <p:cNvSpPr/>
              <p:nvPr/>
            </p:nvSpPr>
            <p:spPr>
              <a:xfrm>
                <a:off x="2065918" y="4651560"/>
                <a:ext cx="57181" cy="90039"/>
              </a:xfrm>
              <a:custGeom>
                <a:avLst/>
                <a:gdLst>
                  <a:gd name="connsiteX0" fmla="*/ 28623 w 57181"/>
                  <a:gd name="connsiteY0" fmla="*/ 90040 h 90039"/>
                  <a:gd name="connsiteX1" fmla="*/ 24380 w 57181"/>
                  <a:gd name="connsiteY1" fmla="*/ 88473 h 90039"/>
                  <a:gd name="connsiteX2" fmla="*/ 2250 w 57181"/>
                  <a:gd name="connsiteY2" fmla="*/ 69346 h 90039"/>
                  <a:gd name="connsiteX3" fmla="*/ 227 w 57181"/>
                  <a:gd name="connsiteY3" fmla="*/ 62753 h 90039"/>
                  <a:gd name="connsiteX4" fmla="*/ 15502 w 57181"/>
                  <a:gd name="connsiteY4" fmla="*/ 4850 h 90039"/>
                  <a:gd name="connsiteX5" fmla="*/ 23466 w 57181"/>
                  <a:gd name="connsiteY5" fmla="*/ 215 h 90039"/>
                  <a:gd name="connsiteX6" fmla="*/ 28101 w 57181"/>
                  <a:gd name="connsiteY6" fmla="*/ 8179 h 90039"/>
                  <a:gd name="connsiteX7" fmla="*/ 13870 w 57181"/>
                  <a:gd name="connsiteY7" fmla="*/ 62165 h 90039"/>
                  <a:gd name="connsiteX8" fmla="*/ 28623 w 57181"/>
                  <a:gd name="connsiteY8" fmla="*/ 74895 h 90039"/>
                  <a:gd name="connsiteX9" fmla="*/ 43311 w 57181"/>
                  <a:gd name="connsiteY9" fmla="*/ 62165 h 90039"/>
                  <a:gd name="connsiteX10" fmla="*/ 29080 w 57181"/>
                  <a:gd name="connsiteY10" fmla="*/ 8179 h 90039"/>
                  <a:gd name="connsiteX11" fmla="*/ 33715 w 57181"/>
                  <a:gd name="connsiteY11" fmla="*/ 215 h 90039"/>
                  <a:gd name="connsiteX12" fmla="*/ 41679 w 57181"/>
                  <a:gd name="connsiteY12" fmla="*/ 4850 h 90039"/>
                  <a:gd name="connsiteX13" fmla="*/ 56955 w 57181"/>
                  <a:gd name="connsiteY13" fmla="*/ 62753 h 90039"/>
                  <a:gd name="connsiteX14" fmla="*/ 54931 w 57181"/>
                  <a:gd name="connsiteY14" fmla="*/ 69346 h 90039"/>
                  <a:gd name="connsiteX15" fmla="*/ 32867 w 57181"/>
                  <a:gd name="connsiteY15" fmla="*/ 88473 h 90039"/>
                  <a:gd name="connsiteX16" fmla="*/ 28623 w 57181"/>
                  <a:gd name="connsiteY16" fmla="*/ 90040 h 9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7181" h="90039">
                    <a:moveTo>
                      <a:pt x="28623" y="90040"/>
                    </a:moveTo>
                    <a:cubicBezTo>
                      <a:pt x="27122" y="90040"/>
                      <a:pt x="25555" y="89518"/>
                      <a:pt x="24380" y="88473"/>
                    </a:cubicBezTo>
                    <a:lnTo>
                      <a:pt x="2250" y="69346"/>
                    </a:lnTo>
                    <a:cubicBezTo>
                      <a:pt x="357" y="67714"/>
                      <a:pt x="-426" y="65168"/>
                      <a:pt x="227" y="62753"/>
                    </a:cubicBezTo>
                    <a:lnTo>
                      <a:pt x="15502" y="4850"/>
                    </a:lnTo>
                    <a:cubicBezTo>
                      <a:pt x="16416" y="1390"/>
                      <a:pt x="20006" y="-699"/>
                      <a:pt x="23466" y="215"/>
                    </a:cubicBezTo>
                    <a:cubicBezTo>
                      <a:pt x="26926" y="1129"/>
                      <a:pt x="29015" y="4719"/>
                      <a:pt x="28101" y="8179"/>
                    </a:cubicBezTo>
                    <a:lnTo>
                      <a:pt x="13870" y="62165"/>
                    </a:lnTo>
                    <a:lnTo>
                      <a:pt x="28623" y="74895"/>
                    </a:lnTo>
                    <a:lnTo>
                      <a:pt x="43311" y="62165"/>
                    </a:lnTo>
                    <a:lnTo>
                      <a:pt x="29080" y="8179"/>
                    </a:lnTo>
                    <a:cubicBezTo>
                      <a:pt x="28166" y="4719"/>
                      <a:pt x="30255" y="1129"/>
                      <a:pt x="33715" y="215"/>
                    </a:cubicBezTo>
                    <a:cubicBezTo>
                      <a:pt x="37175" y="-699"/>
                      <a:pt x="40765" y="1390"/>
                      <a:pt x="41679" y="4850"/>
                    </a:cubicBezTo>
                    <a:lnTo>
                      <a:pt x="56955" y="62753"/>
                    </a:lnTo>
                    <a:cubicBezTo>
                      <a:pt x="57608" y="65168"/>
                      <a:pt x="56824" y="67714"/>
                      <a:pt x="54931" y="69346"/>
                    </a:cubicBezTo>
                    <a:lnTo>
                      <a:pt x="32867" y="88473"/>
                    </a:lnTo>
                    <a:cubicBezTo>
                      <a:pt x="31691" y="89518"/>
                      <a:pt x="30190" y="90040"/>
                      <a:pt x="28623" y="90040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2828">
                  <a:defRPr/>
                </a:pPr>
                <a:endParaRPr lang="ru-RU" sz="1797" kern="0" dirty="0">
                  <a:solidFill>
                    <a:srgbClr val="424242"/>
                  </a:solidFill>
                  <a:latin typeface="Cera CY"/>
                </a:endParaRPr>
              </a:p>
            </p:txBody>
          </p:sp>
          <p:sp>
            <p:nvSpPr>
              <p:cNvPr id="142" name="Полилиния: фигура 107">
                <a:extLst>
                  <a:ext uri="{FF2B5EF4-FFF2-40B4-BE49-F238E27FC236}">
                    <a16:creationId xmlns:a16="http://schemas.microsoft.com/office/drawing/2014/main" id="{B9C50178-37EA-4526-86BB-4F90B83E1608}"/>
                  </a:ext>
                </a:extLst>
              </p:cNvPr>
              <p:cNvSpPr/>
              <p:nvPr/>
            </p:nvSpPr>
            <p:spPr>
              <a:xfrm>
                <a:off x="2071163" y="4637535"/>
                <a:ext cx="47802" cy="27034"/>
              </a:xfrm>
              <a:custGeom>
                <a:avLst/>
                <a:gdLst>
                  <a:gd name="connsiteX0" fmla="*/ 23379 w 47802"/>
                  <a:gd name="connsiteY0" fmla="*/ 27034 h 27034"/>
                  <a:gd name="connsiteX1" fmla="*/ 19332 w 47802"/>
                  <a:gd name="connsiteY1" fmla="*/ 25664 h 27034"/>
                  <a:gd name="connsiteX2" fmla="*/ 2489 w 47802"/>
                  <a:gd name="connsiteY2" fmla="*/ 12412 h 27034"/>
                  <a:gd name="connsiteX3" fmla="*/ 1380 w 47802"/>
                  <a:gd name="connsiteY3" fmla="*/ 3273 h 27034"/>
                  <a:gd name="connsiteX4" fmla="*/ 10519 w 47802"/>
                  <a:gd name="connsiteY4" fmla="*/ 2163 h 27034"/>
                  <a:gd name="connsiteX5" fmla="*/ 23379 w 47802"/>
                  <a:gd name="connsiteY5" fmla="*/ 12216 h 27034"/>
                  <a:gd name="connsiteX6" fmla="*/ 37284 w 47802"/>
                  <a:gd name="connsiteY6" fmla="*/ 1380 h 27034"/>
                  <a:gd name="connsiteX7" fmla="*/ 46423 w 47802"/>
                  <a:gd name="connsiteY7" fmla="*/ 2489 h 27034"/>
                  <a:gd name="connsiteX8" fmla="*/ 45313 w 47802"/>
                  <a:gd name="connsiteY8" fmla="*/ 11628 h 27034"/>
                  <a:gd name="connsiteX9" fmla="*/ 27361 w 47802"/>
                  <a:gd name="connsiteY9" fmla="*/ 25664 h 27034"/>
                  <a:gd name="connsiteX10" fmla="*/ 23379 w 47802"/>
                  <a:gd name="connsiteY10" fmla="*/ 27034 h 2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802" h="27034">
                    <a:moveTo>
                      <a:pt x="23379" y="27034"/>
                    </a:moveTo>
                    <a:cubicBezTo>
                      <a:pt x="21943" y="27034"/>
                      <a:pt x="20507" y="26578"/>
                      <a:pt x="19332" y="25664"/>
                    </a:cubicBezTo>
                    <a:lnTo>
                      <a:pt x="2489" y="12412"/>
                    </a:lnTo>
                    <a:cubicBezTo>
                      <a:pt x="-318" y="10192"/>
                      <a:pt x="-840" y="6080"/>
                      <a:pt x="1380" y="3273"/>
                    </a:cubicBezTo>
                    <a:cubicBezTo>
                      <a:pt x="3599" y="466"/>
                      <a:pt x="7712" y="-57"/>
                      <a:pt x="10519" y="2163"/>
                    </a:cubicBezTo>
                    <a:lnTo>
                      <a:pt x="23379" y="12216"/>
                    </a:lnTo>
                    <a:lnTo>
                      <a:pt x="37284" y="1380"/>
                    </a:lnTo>
                    <a:cubicBezTo>
                      <a:pt x="40091" y="-840"/>
                      <a:pt x="44203" y="-318"/>
                      <a:pt x="46423" y="2489"/>
                    </a:cubicBezTo>
                    <a:cubicBezTo>
                      <a:pt x="48642" y="5362"/>
                      <a:pt x="48120" y="9409"/>
                      <a:pt x="45313" y="11628"/>
                    </a:cubicBezTo>
                    <a:lnTo>
                      <a:pt x="27361" y="25664"/>
                    </a:lnTo>
                    <a:cubicBezTo>
                      <a:pt x="26186" y="26578"/>
                      <a:pt x="24815" y="27034"/>
                      <a:pt x="23379" y="27034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2828">
                  <a:defRPr/>
                </a:pPr>
                <a:endParaRPr lang="ru-RU" sz="1797" kern="0" dirty="0">
                  <a:solidFill>
                    <a:srgbClr val="424242"/>
                  </a:solidFill>
                  <a:latin typeface="Cera CY"/>
                </a:endParaRPr>
              </a:p>
            </p:txBody>
          </p:sp>
        </p:grpSp>
        <p:sp>
          <p:nvSpPr>
            <p:cNvPr id="137" name="Полилиния: фигура 102">
              <a:extLst>
                <a:ext uri="{FF2B5EF4-FFF2-40B4-BE49-F238E27FC236}">
                  <a16:creationId xmlns:a16="http://schemas.microsoft.com/office/drawing/2014/main" id="{AE8F4BCE-893A-453F-B24E-A441B0F330CA}"/>
                </a:ext>
              </a:extLst>
            </p:cNvPr>
            <p:cNvSpPr/>
            <p:nvPr/>
          </p:nvSpPr>
          <p:spPr>
            <a:xfrm>
              <a:off x="2036273" y="4600753"/>
              <a:ext cx="64261" cy="49846"/>
            </a:xfrm>
            <a:custGeom>
              <a:avLst/>
              <a:gdLst>
                <a:gd name="connsiteX0" fmla="*/ 34702 w 64261"/>
                <a:gd name="connsiteY0" fmla="*/ 49847 h 49846"/>
                <a:gd name="connsiteX1" fmla="*/ 34180 w 64261"/>
                <a:gd name="connsiteY1" fmla="*/ 49847 h 49846"/>
                <a:gd name="connsiteX2" fmla="*/ 17599 w 64261"/>
                <a:gd name="connsiteY2" fmla="*/ 39859 h 49846"/>
                <a:gd name="connsiteX3" fmla="*/ 822 w 64261"/>
                <a:gd name="connsiteY3" fmla="*/ 9700 h 49846"/>
                <a:gd name="connsiteX4" fmla="*/ 3368 w 64261"/>
                <a:gd name="connsiteY4" fmla="*/ 822 h 49846"/>
                <a:gd name="connsiteX5" fmla="*/ 12246 w 64261"/>
                <a:gd name="connsiteY5" fmla="*/ 3368 h 49846"/>
                <a:gd name="connsiteX6" fmla="*/ 28957 w 64261"/>
                <a:gd name="connsiteY6" fmla="*/ 33462 h 49846"/>
                <a:gd name="connsiteX7" fmla="*/ 34441 w 64261"/>
                <a:gd name="connsiteY7" fmla="*/ 36726 h 49846"/>
                <a:gd name="connsiteX8" fmla="*/ 40120 w 64261"/>
                <a:gd name="connsiteY8" fmla="*/ 33658 h 49846"/>
                <a:gd name="connsiteX9" fmla="*/ 52197 w 64261"/>
                <a:gd name="connsiteY9" fmla="*/ 14596 h 49846"/>
                <a:gd name="connsiteX10" fmla="*/ 61206 w 64261"/>
                <a:gd name="connsiteY10" fmla="*/ 12572 h 49846"/>
                <a:gd name="connsiteX11" fmla="*/ 63229 w 64261"/>
                <a:gd name="connsiteY11" fmla="*/ 21581 h 49846"/>
                <a:gd name="connsiteX12" fmla="*/ 51153 w 64261"/>
                <a:gd name="connsiteY12" fmla="*/ 40642 h 49846"/>
                <a:gd name="connsiteX13" fmla="*/ 34702 w 64261"/>
                <a:gd name="connsiteY13" fmla="*/ 49847 h 4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61" h="49846">
                  <a:moveTo>
                    <a:pt x="34702" y="49847"/>
                  </a:moveTo>
                  <a:cubicBezTo>
                    <a:pt x="34506" y="49847"/>
                    <a:pt x="34376" y="49847"/>
                    <a:pt x="34180" y="49847"/>
                  </a:cubicBezTo>
                  <a:cubicBezTo>
                    <a:pt x="27195" y="49651"/>
                    <a:pt x="21059" y="45930"/>
                    <a:pt x="17599" y="39859"/>
                  </a:cubicBezTo>
                  <a:lnTo>
                    <a:pt x="822" y="9700"/>
                  </a:lnTo>
                  <a:cubicBezTo>
                    <a:pt x="-941" y="6566"/>
                    <a:pt x="234" y="2584"/>
                    <a:pt x="3368" y="822"/>
                  </a:cubicBezTo>
                  <a:cubicBezTo>
                    <a:pt x="6501" y="-941"/>
                    <a:pt x="10483" y="234"/>
                    <a:pt x="12246" y="3368"/>
                  </a:cubicBezTo>
                  <a:lnTo>
                    <a:pt x="28957" y="33462"/>
                  </a:lnTo>
                  <a:cubicBezTo>
                    <a:pt x="30589" y="36334"/>
                    <a:pt x="33331" y="36726"/>
                    <a:pt x="34441" y="36726"/>
                  </a:cubicBezTo>
                  <a:cubicBezTo>
                    <a:pt x="35616" y="36726"/>
                    <a:pt x="38358" y="36530"/>
                    <a:pt x="40120" y="33658"/>
                  </a:cubicBezTo>
                  <a:lnTo>
                    <a:pt x="52197" y="14596"/>
                  </a:lnTo>
                  <a:cubicBezTo>
                    <a:pt x="54156" y="11528"/>
                    <a:pt x="58138" y="10614"/>
                    <a:pt x="61206" y="12572"/>
                  </a:cubicBezTo>
                  <a:cubicBezTo>
                    <a:pt x="64274" y="14465"/>
                    <a:pt x="65188" y="18513"/>
                    <a:pt x="63229" y="21581"/>
                  </a:cubicBezTo>
                  <a:lnTo>
                    <a:pt x="51153" y="40642"/>
                  </a:lnTo>
                  <a:cubicBezTo>
                    <a:pt x="47628" y="46452"/>
                    <a:pt x="41426" y="49847"/>
                    <a:pt x="34702" y="49847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38" name="Полилиния: фигура 103">
              <a:extLst>
                <a:ext uri="{FF2B5EF4-FFF2-40B4-BE49-F238E27FC236}">
                  <a16:creationId xmlns:a16="http://schemas.microsoft.com/office/drawing/2014/main" id="{AC4AA0EC-625C-4DF8-9345-57834CCACE95}"/>
                </a:ext>
              </a:extLst>
            </p:cNvPr>
            <p:cNvSpPr/>
            <p:nvPr/>
          </p:nvSpPr>
          <p:spPr>
            <a:xfrm>
              <a:off x="2087598" y="4600717"/>
              <a:ext cx="64297" cy="49883"/>
            </a:xfrm>
            <a:custGeom>
              <a:avLst/>
              <a:gdLst>
                <a:gd name="connsiteX0" fmla="*/ 29530 w 64297"/>
                <a:gd name="connsiteY0" fmla="*/ 49883 h 49883"/>
                <a:gd name="connsiteX1" fmla="*/ 13015 w 64297"/>
                <a:gd name="connsiteY1" fmla="*/ 40744 h 49883"/>
                <a:gd name="connsiteX2" fmla="*/ 1003 w 64297"/>
                <a:gd name="connsiteY2" fmla="*/ 21682 h 49883"/>
                <a:gd name="connsiteX3" fmla="*/ 3027 w 64297"/>
                <a:gd name="connsiteY3" fmla="*/ 12674 h 49883"/>
                <a:gd name="connsiteX4" fmla="*/ 12035 w 64297"/>
                <a:gd name="connsiteY4" fmla="*/ 14697 h 49883"/>
                <a:gd name="connsiteX5" fmla="*/ 24047 w 64297"/>
                <a:gd name="connsiteY5" fmla="*/ 33759 h 49883"/>
                <a:gd name="connsiteX6" fmla="*/ 29726 w 64297"/>
                <a:gd name="connsiteY6" fmla="*/ 36827 h 49883"/>
                <a:gd name="connsiteX7" fmla="*/ 35275 w 64297"/>
                <a:gd name="connsiteY7" fmla="*/ 33498 h 49883"/>
                <a:gd name="connsiteX8" fmla="*/ 52052 w 64297"/>
                <a:gd name="connsiteY8" fmla="*/ 3339 h 49883"/>
                <a:gd name="connsiteX9" fmla="*/ 60930 w 64297"/>
                <a:gd name="connsiteY9" fmla="*/ 793 h 49883"/>
                <a:gd name="connsiteX10" fmla="*/ 63476 w 64297"/>
                <a:gd name="connsiteY10" fmla="*/ 9671 h 49883"/>
                <a:gd name="connsiteX11" fmla="*/ 46634 w 64297"/>
                <a:gd name="connsiteY11" fmla="*/ 39830 h 49883"/>
                <a:gd name="connsiteX12" fmla="*/ 30053 w 64297"/>
                <a:gd name="connsiteY12" fmla="*/ 49818 h 49883"/>
                <a:gd name="connsiteX13" fmla="*/ 29530 w 64297"/>
                <a:gd name="connsiteY13" fmla="*/ 49883 h 4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97" h="49883">
                  <a:moveTo>
                    <a:pt x="29530" y="49883"/>
                  </a:moveTo>
                  <a:cubicBezTo>
                    <a:pt x="22741" y="49883"/>
                    <a:pt x="16605" y="46489"/>
                    <a:pt x="13015" y="40744"/>
                  </a:cubicBezTo>
                  <a:lnTo>
                    <a:pt x="1003" y="21682"/>
                  </a:lnTo>
                  <a:cubicBezTo>
                    <a:pt x="-890" y="18614"/>
                    <a:pt x="-41" y="14632"/>
                    <a:pt x="3027" y="12674"/>
                  </a:cubicBezTo>
                  <a:cubicBezTo>
                    <a:pt x="6095" y="10781"/>
                    <a:pt x="10077" y="11695"/>
                    <a:pt x="12035" y="14697"/>
                  </a:cubicBezTo>
                  <a:lnTo>
                    <a:pt x="24047" y="33759"/>
                  </a:lnTo>
                  <a:cubicBezTo>
                    <a:pt x="25809" y="36566"/>
                    <a:pt x="28616" y="36827"/>
                    <a:pt x="29726" y="36827"/>
                  </a:cubicBezTo>
                  <a:cubicBezTo>
                    <a:pt x="30836" y="36827"/>
                    <a:pt x="33578" y="36436"/>
                    <a:pt x="35275" y="33498"/>
                  </a:cubicBezTo>
                  <a:lnTo>
                    <a:pt x="52052" y="3339"/>
                  </a:lnTo>
                  <a:cubicBezTo>
                    <a:pt x="53815" y="205"/>
                    <a:pt x="57797" y="-904"/>
                    <a:pt x="60930" y="793"/>
                  </a:cubicBezTo>
                  <a:cubicBezTo>
                    <a:pt x="64063" y="2490"/>
                    <a:pt x="65239" y="6537"/>
                    <a:pt x="63476" y="9671"/>
                  </a:cubicBezTo>
                  <a:lnTo>
                    <a:pt x="46634" y="39830"/>
                  </a:lnTo>
                  <a:cubicBezTo>
                    <a:pt x="43174" y="45901"/>
                    <a:pt x="37038" y="49622"/>
                    <a:pt x="30053" y="49818"/>
                  </a:cubicBezTo>
                  <a:cubicBezTo>
                    <a:pt x="29857" y="49883"/>
                    <a:pt x="29661" y="49883"/>
                    <a:pt x="29530" y="498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39" name="Полилиния: фигура 104">
              <a:extLst>
                <a:ext uri="{FF2B5EF4-FFF2-40B4-BE49-F238E27FC236}">
                  <a16:creationId xmlns:a16="http://schemas.microsoft.com/office/drawing/2014/main" id="{F46DC915-69A7-4730-82E7-B4246EB8B36F}"/>
                </a:ext>
              </a:extLst>
            </p:cNvPr>
            <p:cNvSpPr/>
            <p:nvPr/>
          </p:nvSpPr>
          <p:spPr>
            <a:xfrm>
              <a:off x="2003157" y="4715408"/>
              <a:ext cx="25444" cy="62682"/>
            </a:xfrm>
            <a:custGeom>
              <a:avLst/>
              <a:gdLst>
                <a:gd name="connsiteX0" fmla="*/ 18924 w 25444"/>
                <a:gd name="connsiteY0" fmla="*/ 62683 h 62682"/>
                <a:gd name="connsiteX1" fmla="*/ 12592 w 25444"/>
                <a:gd name="connsiteY1" fmla="*/ 57722 h 62682"/>
                <a:gd name="connsiteX2" fmla="*/ 189 w 25444"/>
                <a:gd name="connsiteY2" fmla="*/ 8109 h 62682"/>
                <a:gd name="connsiteX3" fmla="*/ 4954 w 25444"/>
                <a:gd name="connsiteY3" fmla="*/ 210 h 62682"/>
                <a:gd name="connsiteX4" fmla="*/ 12853 w 25444"/>
                <a:gd name="connsiteY4" fmla="*/ 4976 h 62682"/>
                <a:gd name="connsiteX5" fmla="*/ 25256 w 25444"/>
                <a:gd name="connsiteY5" fmla="*/ 54588 h 62682"/>
                <a:gd name="connsiteX6" fmla="*/ 20491 w 25444"/>
                <a:gd name="connsiteY6" fmla="*/ 62487 h 62682"/>
                <a:gd name="connsiteX7" fmla="*/ 18924 w 25444"/>
                <a:gd name="connsiteY7" fmla="*/ 62683 h 62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444" h="62682">
                  <a:moveTo>
                    <a:pt x="18924" y="62683"/>
                  </a:moveTo>
                  <a:cubicBezTo>
                    <a:pt x="15986" y="62683"/>
                    <a:pt x="13310" y="60725"/>
                    <a:pt x="12592" y="57722"/>
                  </a:cubicBezTo>
                  <a:lnTo>
                    <a:pt x="189" y="8109"/>
                  </a:lnTo>
                  <a:cubicBezTo>
                    <a:pt x="-660" y="4584"/>
                    <a:pt x="1429" y="1059"/>
                    <a:pt x="4954" y="210"/>
                  </a:cubicBezTo>
                  <a:cubicBezTo>
                    <a:pt x="8414" y="-704"/>
                    <a:pt x="12004" y="1450"/>
                    <a:pt x="12853" y="4976"/>
                  </a:cubicBezTo>
                  <a:lnTo>
                    <a:pt x="25256" y="54588"/>
                  </a:lnTo>
                  <a:cubicBezTo>
                    <a:pt x="26105" y="58113"/>
                    <a:pt x="24016" y="61638"/>
                    <a:pt x="20491" y="62487"/>
                  </a:cubicBezTo>
                  <a:cubicBezTo>
                    <a:pt x="19969" y="62618"/>
                    <a:pt x="19446" y="62683"/>
                    <a:pt x="18924" y="626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40" name="Полилиния: фигура 105">
              <a:extLst>
                <a:ext uri="{FF2B5EF4-FFF2-40B4-BE49-F238E27FC236}">
                  <a16:creationId xmlns:a16="http://schemas.microsoft.com/office/drawing/2014/main" id="{1EDF217D-5FDD-4169-B657-C935A34BD163}"/>
                </a:ext>
              </a:extLst>
            </p:cNvPr>
            <p:cNvSpPr/>
            <p:nvPr/>
          </p:nvSpPr>
          <p:spPr>
            <a:xfrm>
              <a:off x="2160220" y="4715408"/>
              <a:ext cx="25640" cy="63531"/>
            </a:xfrm>
            <a:custGeom>
              <a:avLst/>
              <a:gdLst>
                <a:gd name="connsiteX0" fmla="*/ 6521 w 25640"/>
                <a:gd name="connsiteY0" fmla="*/ 63532 h 63531"/>
                <a:gd name="connsiteX1" fmla="*/ 4954 w 25640"/>
                <a:gd name="connsiteY1" fmla="*/ 63336 h 63531"/>
                <a:gd name="connsiteX2" fmla="*/ 189 w 25640"/>
                <a:gd name="connsiteY2" fmla="*/ 55437 h 63531"/>
                <a:gd name="connsiteX3" fmla="*/ 12788 w 25640"/>
                <a:gd name="connsiteY3" fmla="*/ 4976 h 63531"/>
                <a:gd name="connsiteX4" fmla="*/ 20687 w 25640"/>
                <a:gd name="connsiteY4" fmla="*/ 210 h 63531"/>
                <a:gd name="connsiteX5" fmla="*/ 25452 w 25640"/>
                <a:gd name="connsiteY5" fmla="*/ 8109 h 63531"/>
                <a:gd name="connsiteX6" fmla="*/ 12853 w 25640"/>
                <a:gd name="connsiteY6" fmla="*/ 58570 h 63531"/>
                <a:gd name="connsiteX7" fmla="*/ 6521 w 25640"/>
                <a:gd name="connsiteY7" fmla="*/ 63532 h 6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0" h="63531">
                  <a:moveTo>
                    <a:pt x="6521" y="63532"/>
                  </a:moveTo>
                  <a:cubicBezTo>
                    <a:pt x="5999" y="63532"/>
                    <a:pt x="5476" y="63466"/>
                    <a:pt x="4954" y="63336"/>
                  </a:cubicBezTo>
                  <a:cubicBezTo>
                    <a:pt x="1429" y="62487"/>
                    <a:pt x="-660" y="58897"/>
                    <a:pt x="189" y="55437"/>
                  </a:cubicBezTo>
                  <a:lnTo>
                    <a:pt x="12788" y="4976"/>
                  </a:lnTo>
                  <a:cubicBezTo>
                    <a:pt x="13636" y="1450"/>
                    <a:pt x="17227" y="-704"/>
                    <a:pt x="20687" y="210"/>
                  </a:cubicBezTo>
                  <a:cubicBezTo>
                    <a:pt x="24212" y="1059"/>
                    <a:pt x="26301" y="4649"/>
                    <a:pt x="25452" y="8109"/>
                  </a:cubicBezTo>
                  <a:lnTo>
                    <a:pt x="12853" y="58570"/>
                  </a:lnTo>
                  <a:cubicBezTo>
                    <a:pt x="12070" y="61573"/>
                    <a:pt x="9393" y="63532"/>
                    <a:pt x="6521" y="6353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</p:grpSp>
      <p:grpSp>
        <p:nvGrpSpPr>
          <p:cNvPr id="143" name="Группа 142">
            <a:extLst>
              <a:ext uri="{FF2B5EF4-FFF2-40B4-BE49-F238E27FC236}">
                <a16:creationId xmlns:a16="http://schemas.microsoft.com/office/drawing/2014/main" id="{8FA911E9-DFCD-464C-AAE0-1DB102DD8FDE}"/>
              </a:ext>
            </a:extLst>
          </p:cNvPr>
          <p:cNvGrpSpPr/>
          <p:nvPr/>
        </p:nvGrpSpPr>
        <p:grpSpPr>
          <a:xfrm>
            <a:off x="3310260" y="4008657"/>
            <a:ext cx="260711" cy="338922"/>
            <a:chOff x="1963982" y="4441248"/>
            <a:chExt cx="261120" cy="339454"/>
          </a:xfrm>
          <a:solidFill>
            <a:schemeClr val="tx2"/>
          </a:solidFill>
        </p:grpSpPr>
        <p:sp>
          <p:nvSpPr>
            <p:cNvPr id="144" name="Полилиния: фигура 109">
              <a:extLst>
                <a:ext uri="{FF2B5EF4-FFF2-40B4-BE49-F238E27FC236}">
                  <a16:creationId xmlns:a16="http://schemas.microsoft.com/office/drawing/2014/main" id="{33A511A8-24AE-4A11-A027-FAD345ECF4C5}"/>
                </a:ext>
              </a:extLst>
            </p:cNvPr>
            <p:cNvSpPr/>
            <p:nvPr/>
          </p:nvSpPr>
          <p:spPr>
            <a:xfrm>
              <a:off x="2029262" y="4506527"/>
              <a:ext cx="13056" cy="26111"/>
            </a:xfrm>
            <a:custGeom>
              <a:avLst/>
              <a:gdLst>
                <a:gd name="connsiteX0" fmla="*/ 13056 w 13056"/>
                <a:gd name="connsiteY0" fmla="*/ 26112 h 26111"/>
                <a:gd name="connsiteX1" fmla="*/ 0 w 13056"/>
                <a:gd name="connsiteY1" fmla="*/ 13056 h 26111"/>
                <a:gd name="connsiteX2" fmla="*/ 13056 w 13056"/>
                <a:gd name="connsiteY2" fmla="*/ 0 h 26111"/>
                <a:gd name="connsiteX3" fmla="*/ 13056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13056" y="26112"/>
                  </a:moveTo>
                  <a:cubicBezTo>
                    <a:pt x="5875" y="26112"/>
                    <a:pt x="0" y="20302"/>
                    <a:pt x="0" y="13056"/>
                  </a:cubicBezTo>
                  <a:cubicBezTo>
                    <a:pt x="0" y="5875"/>
                    <a:pt x="5875" y="0"/>
                    <a:pt x="13056" y="0"/>
                  </a:cubicBezTo>
                  <a:lnTo>
                    <a:pt x="13056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45" name="Полилиния: фигура 110">
              <a:extLst>
                <a:ext uri="{FF2B5EF4-FFF2-40B4-BE49-F238E27FC236}">
                  <a16:creationId xmlns:a16="http://schemas.microsoft.com/office/drawing/2014/main" id="{B14C4E00-1707-469A-9606-9E5774D2501A}"/>
                </a:ext>
              </a:extLst>
            </p:cNvPr>
            <p:cNvSpPr/>
            <p:nvPr/>
          </p:nvSpPr>
          <p:spPr>
            <a:xfrm>
              <a:off x="2146766" y="4506527"/>
              <a:ext cx="13056" cy="26111"/>
            </a:xfrm>
            <a:custGeom>
              <a:avLst/>
              <a:gdLst>
                <a:gd name="connsiteX0" fmla="*/ 0 w 13056"/>
                <a:gd name="connsiteY0" fmla="*/ 26112 h 26111"/>
                <a:gd name="connsiteX1" fmla="*/ 13056 w 13056"/>
                <a:gd name="connsiteY1" fmla="*/ 13056 h 26111"/>
                <a:gd name="connsiteX2" fmla="*/ 0 w 13056"/>
                <a:gd name="connsiteY2" fmla="*/ 0 h 26111"/>
                <a:gd name="connsiteX3" fmla="*/ 0 w 13056"/>
                <a:gd name="connsiteY3" fmla="*/ 26112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56" h="26111">
                  <a:moveTo>
                    <a:pt x="0" y="26112"/>
                  </a:moveTo>
                  <a:cubicBezTo>
                    <a:pt x="7181" y="26112"/>
                    <a:pt x="13056" y="20302"/>
                    <a:pt x="13056" y="13056"/>
                  </a:cubicBezTo>
                  <a:cubicBezTo>
                    <a:pt x="13056" y="5875"/>
                    <a:pt x="7181" y="0"/>
                    <a:pt x="0" y="0"/>
                  </a:cubicBezTo>
                  <a:lnTo>
                    <a:pt x="0" y="26112"/>
                  </a:ln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46" name="Полилиния: фигура 111">
              <a:extLst>
                <a:ext uri="{FF2B5EF4-FFF2-40B4-BE49-F238E27FC236}">
                  <a16:creationId xmlns:a16="http://schemas.microsoft.com/office/drawing/2014/main" id="{8A4F8112-4FCB-4C70-B879-706FE6DFBBC6}"/>
                </a:ext>
              </a:extLst>
            </p:cNvPr>
            <p:cNvSpPr/>
            <p:nvPr/>
          </p:nvSpPr>
          <p:spPr>
            <a:xfrm>
              <a:off x="2035790" y="4441248"/>
              <a:ext cx="117504" cy="143615"/>
            </a:xfrm>
            <a:custGeom>
              <a:avLst/>
              <a:gdLst>
                <a:gd name="connsiteX0" fmla="*/ 58752 w 117504"/>
                <a:gd name="connsiteY0" fmla="*/ 143616 h 143615"/>
                <a:gd name="connsiteX1" fmla="*/ 0 w 117504"/>
                <a:gd name="connsiteY1" fmla="*/ 58752 h 143615"/>
                <a:gd name="connsiteX2" fmla="*/ 58752 w 117504"/>
                <a:gd name="connsiteY2" fmla="*/ 0 h 143615"/>
                <a:gd name="connsiteX3" fmla="*/ 117504 w 117504"/>
                <a:gd name="connsiteY3" fmla="*/ 58752 h 143615"/>
                <a:gd name="connsiteX4" fmla="*/ 58752 w 117504"/>
                <a:gd name="connsiteY4" fmla="*/ 143616 h 143615"/>
                <a:gd name="connsiteX5" fmla="*/ 58752 w 117504"/>
                <a:gd name="connsiteY5" fmla="*/ 13056 h 143615"/>
                <a:gd name="connsiteX6" fmla="*/ 13056 w 117504"/>
                <a:gd name="connsiteY6" fmla="*/ 58752 h 143615"/>
                <a:gd name="connsiteX7" fmla="*/ 58752 w 117504"/>
                <a:gd name="connsiteY7" fmla="*/ 130560 h 143615"/>
                <a:gd name="connsiteX8" fmla="*/ 104448 w 117504"/>
                <a:gd name="connsiteY8" fmla="*/ 58752 h 143615"/>
                <a:gd name="connsiteX9" fmla="*/ 58752 w 117504"/>
                <a:gd name="connsiteY9" fmla="*/ 13056 h 14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504" h="143615">
                  <a:moveTo>
                    <a:pt x="58752" y="143616"/>
                  </a:moveTo>
                  <a:cubicBezTo>
                    <a:pt x="24219" y="143616"/>
                    <a:pt x="0" y="88585"/>
                    <a:pt x="0" y="58752"/>
                  </a:cubicBezTo>
                  <a:cubicBezTo>
                    <a:pt x="0" y="26373"/>
                    <a:pt x="26373" y="0"/>
                    <a:pt x="58752" y="0"/>
                  </a:cubicBezTo>
                  <a:cubicBezTo>
                    <a:pt x="91131" y="0"/>
                    <a:pt x="117504" y="26373"/>
                    <a:pt x="117504" y="58752"/>
                  </a:cubicBezTo>
                  <a:cubicBezTo>
                    <a:pt x="117504" y="88585"/>
                    <a:pt x="93285" y="143616"/>
                    <a:pt x="58752" y="143616"/>
                  </a:cubicBezTo>
                  <a:close/>
                  <a:moveTo>
                    <a:pt x="58752" y="13056"/>
                  </a:moveTo>
                  <a:cubicBezTo>
                    <a:pt x="33554" y="13056"/>
                    <a:pt x="13056" y="33554"/>
                    <a:pt x="13056" y="58752"/>
                  </a:cubicBezTo>
                  <a:cubicBezTo>
                    <a:pt x="13056" y="85778"/>
                    <a:pt x="35186" y="130560"/>
                    <a:pt x="58752" y="130560"/>
                  </a:cubicBezTo>
                  <a:cubicBezTo>
                    <a:pt x="82318" y="130560"/>
                    <a:pt x="104448" y="85778"/>
                    <a:pt x="104448" y="58752"/>
                  </a:cubicBezTo>
                  <a:cubicBezTo>
                    <a:pt x="104448" y="33554"/>
                    <a:pt x="83950" y="13056"/>
                    <a:pt x="5875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47" name="Полилиния: фигура 112">
              <a:extLst>
                <a:ext uri="{FF2B5EF4-FFF2-40B4-BE49-F238E27FC236}">
                  <a16:creationId xmlns:a16="http://schemas.microsoft.com/office/drawing/2014/main" id="{DDA64B81-4123-491B-9EA1-242999E68D64}"/>
                </a:ext>
              </a:extLst>
            </p:cNvPr>
            <p:cNvSpPr/>
            <p:nvPr/>
          </p:nvSpPr>
          <p:spPr>
            <a:xfrm>
              <a:off x="2087997" y="4480464"/>
              <a:ext cx="63687" cy="28282"/>
            </a:xfrm>
            <a:custGeom>
              <a:avLst/>
              <a:gdLst>
                <a:gd name="connsiteX0" fmla="*/ 43558 w 63687"/>
                <a:gd name="connsiteY0" fmla="*/ 28282 h 28282"/>
                <a:gd name="connsiteX1" fmla="*/ 1909 w 63687"/>
                <a:gd name="connsiteY1" fmla="*/ 11114 h 28282"/>
                <a:gd name="connsiteX2" fmla="*/ 1909 w 63687"/>
                <a:gd name="connsiteY2" fmla="*/ 1909 h 28282"/>
                <a:gd name="connsiteX3" fmla="*/ 11114 w 63687"/>
                <a:gd name="connsiteY3" fmla="*/ 1909 h 28282"/>
                <a:gd name="connsiteX4" fmla="*/ 55439 w 63687"/>
                <a:gd name="connsiteY4" fmla="*/ 13725 h 28282"/>
                <a:gd name="connsiteX5" fmla="*/ 63468 w 63687"/>
                <a:gd name="connsiteY5" fmla="*/ 18295 h 28282"/>
                <a:gd name="connsiteX6" fmla="*/ 58899 w 63687"/>
                <a:gd name="connsiteY6" fmla="*/ 26324 h 28282"/>
                <a:gd name="connsiteX7" fmla="*/ 43558 w 63687"/>
                <a:gd name="connsiteY7" fmla="*/ 28282 h 28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687" h="28282">
                  <a:moveTo>
                    <a:pt x="43558" y="28282"/>
                  </a:moveTo>
                  <a:cubicBezTo>
                    <a:pt x="28152" y="28282"/>
                    <a:pt x="13072" y="22211"/>
                    <a:pt x="1909" y="11114"/>
                  </a:cubicBezTo>
                  <a:cubicBezTo>
                    <a:pt x="-636" y="8568"/>
                    <a:pt x="-636" y="4455"/>
                    <a:pt x="1909" y="1909"/>
                  </a:cubicBezTo>
                  <a:cubicBezTo>
                    <a:pt x="4455" y="-636"/>
                    <a:pt x="8568" y="-636"/>
                    <a:pt x="11114" y="1909"/>
                  </a:cubicBezTo>
                  <a:cubicBezTo>
                    <a:pt x="22668" y="13464"/>
                    <a:pt x="39641" y="17968"/>
                    <a:pt x="55439" y="13725"/>
                  </a:cubicBezTo>
                  <a:cubicBezTo>
                    <a:pt x="58899" y="12746"/>
                    <a:pt x="62489" y="14835"/>
                    <a:pt x="63468" y="18295"/>
                  </a:cubicBezTo>
                  <a:cubicBezTo>
                    <a:pt x="64382" y="21754"/>
                    <a:pt x="62359" y="25345"/>
                    <a:pt x="58899" y="26324"/>
                  </a:cubicBezTo>
                  <a:cubicBezTo>
                    <a:pt x="53872" y="27630"/>
                    <a:pt x="48715" y="28282"/>
                    <a:pt x="43558" y="2828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48" name="Полилиния: фигура 113">
              <a:extLst>
                <a:ext uri="{FF2B5EF4-FFF2-40B4-BE49-F238E27FC236}">
                  <a16:creationId xmlns:a16="http://schemas.microsoft.com/office/drawing/2014/main" id="{447E563E-E807-426B-B482-31081F16FD05}"/>
                </a:ext>
              </a:extLst>
            </p:cNvPr>
            <p:cNvSpPr/>
            <p:nvPr/>
          </p:nvSpPr>
          <p:spPr>
            <a:xfrm>
              <a:off x="2068430" y="4480415"/>
              <a:ext cx="32640" cy="13055"/>
            </a:xfrm>
            <a:custGeom>
              <a:avLst/>
              <a:gdLst>
                <a:gd name="connsiteX0" fmla="*/ 26112 w 32640"/>
                <a:gd name="connsiteY0" fmla="*/ 13056 h 13055"/>
                <a:gd name="connsiteX1" fmla="*/ 6528 w 32640"/>
                <a:gd name="connsiteY1" fmla="*/ 13056 h 13055"/>
                <a:gd name="connsiteX2" fmla="*/ 0 w 32640"/>
                <a:gd name="connsiteY2" fmla="*/ 6528 h 13055"/>
                <a:gd name="connsiteX3" fmla="*/ 6528 w 32640"/>
                <a:gd name="connsiteY3" fmla="*/ 0 h 13055"/>
                <a:gd name="connsiteX4" fmla="*/ 26112 w 32640"/>
                <a:gd name="connsiteY4" fmla="*/ 0 h 13055"/>
                <a:gd name="connsiteX5" fmla="*/ 32640 w 32640"/>
                <a:gd name="connsiteY5" fmla="*/ 6528 h 13055"/>
                <a:gd name="connsiteX6" fmla="*/ 26112 w 32640"/>
                <a:gd name="connsiteY6" fmla="*/ 13056 h 13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40" h="13055">
                  <a:moveTo>
                    <a:pt x="26112" y="13056"/>
                  </a:moveTo>
                  <a:lnTo>
                    <a:pt x="6528" y="13056"/>
                  </a:lnTo>
                  <a:cubicBezTo>
                    <a:pt x="2938" y="13056"/>
                    <a:pt x="0" y="10118"/>
                    <a:pt x="0" y="6528"/>
                  </a:cubicBezTo>
                  <a:cubicBezTo>
                    <a:pt x="0" y="2938"/>
                    <a:pt x="2938" y="0"/>
                    <a:pt x="6528" y="0"/>
                  </a:cubicBezTo>
                  <a:lnTo>
                    <a:pt x="26112" y="0"/>
                  </a:lnTo>
                  <a:cubicBezTo>
                    <a:pt x="29702" y="0"/>
                    <a:pt x="32640" y="2938"/>
                    <a:pt x="32640" y="6528"/>
                  </a:cubicBezTo>
                  <a:cubicBezTo>
                    <a:pt x="32640" y="10118"/>
                    <a:pt x="29702" y="13056"/>
                    <a:pt x="26112" y="13056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49" name="Полилиния: фигура 114">
              <a:extLst>
                <a:ext uri="{FF2B5EF4-FFF2-40B4-BE49-F238E27FC236}">
                  <a16:creationId xmlns:a16="http://schemas.microsoft.com/office/drawing/2014/main" id="{B0F2C2B7-9EFD-4846-B739-7E7C4BB05B6A}"/>
                </a:ext>
              </a:extLst>
            </p:cNvPr>
            <p:cNvSpPr/>
            <p:nvPr/>
          </p:nvSpPr>
          <p:spPr>
            <a:xfrm>
              <a:off x="1963982" y="4600772"/>
              <a:ext cx="261120" cy="179930"/>
            </a:xfrm>
            <a:custGeom>
              <a:avLst/>
              <a:gdLst>
                <a:gd name="connsiteX0" fmla="*/ 241536 w 261120"/>
                <a:gd name="connsiteY0" fmla="*/ 179931 h 179930"/>
                <a:gd name="connsiteX1" fmla="*/ 19584 w 261120"/>
                <a:gd name="connsiteY1" fmla="*/ 179931 h 179930"/>
                <a:gd name="connsiteX2" fmla="*/ 0 w 261120"/>
                <a:gd name="connsiteY2" fmla="*/ 160347 h 179930"/>
                <a:gd name="connsiteX3" fmla="*/ 0 w 261120"/>
                <a:gd name="connsiteY3" fmla="*/ 68825 h 179930"/>
                <a:gd name="connsiteX4" fmla="*/ 44390 w 261120"/>
                <a:gd name="connsiteY4" fmla="*/ 9747 h 179930"/>
                <a:gd name="connsiteX5" fmla="*/ 77030 w 261120"/>
                <a:gd name="connsiteY5" fmla="*/ 281 h 179930"/>
                <a:gd name="connsiteX6" fmla="*/ 85125 w 261120"/>
                <a:gd name="connsiteY6" fmla="*/ 4720 h 179930"/>
                <a:gd name="connsiteX7" fmla="*/ 80686 w 261120"/>
                <a:gd name="connsiteY7" fmla="*/ 12815 h 179930"/>
                <a:gd name="connsiteX8" fmla="*/ 48046 w 261120"/>
                <a:gd name="connsiteY8" fmla="*/ 22280 h 179930"/>
                <a:gd name="connsiteX9" fmla="*/ 13056 w 261120"/>
                <a:gd name="connsiteY9" fmla="*/ 68825 h 179930"/>
                <a:gd name="connsiteX10" fmla="*/ 13056 w 261120"/>
                <a:gd name="connsiteY10" fmla="*/ 160347 h 179930"/>
                <a:gd name="connsiteX11" fmla="*/ 19584 w 261120"/>
                <a:gd name="connsiteY11" fmla="*/ 166875 h 179930"/>
                <a:gd name="connsiteX12" fmla="*/ 241536 w 261120"/>
                <a:gd name="connsiteY12" fmla="*/ 166875 h 179930"/>
                <a:gd name="connsiteX13" fmla="*/ 248064 w 261120"/>
                <a:gd name="connsiteY13" fmla="*/ 160347 h 179930"/>
                <a:gd name="connsiteX14" fmla="*/ 248064 w 261120"/>
                <a:gd name="connsiteY14" fmla="*/ 69282 h 179930"/>
                <a:gd name="connsiteX15" fmla="*/ 213531 w 261120"/>
                <a:gd name="connsiteY15" fmla="*/ 22933 h 179930"/>
                <a:gd name="connsiteX16" fmla="*/ 179455 w 261120"/>
                <a:gd name="connsiteY16" fmla="*/ 12749 h 179930"/>
                <a:gd name="connsiteX17" fmla="*/ 175081 w 261120"/>
                <a:gd name="connsiteY17" fmla="*/ 4655 h 179930"/>
                <a:gd name="connsiteX18" fmla="*/ 183176 w 261120"/>
                <a:gd name="connsiteY18" fmla="*/ 281 h 179930"/>
                <a:gd name="connsiteX19" fmla="*/ 217252 w 261120"/>
                <a:gd name="connsiteY19" fmla="*/ 10465 h 179930"/>
                <a:gd name="connsiteX20" fmla="*/ 261120 w 261120"/>
                <a:gd name="connsiteY20" fmla="*/ 69347 h 179930"/>
                <a:gd name="connsiteX21" fmla="*/ 261120 w 261120"/>
                <a:gd name="connsiteY21" fmla="*/ 160347 h 179930"/>
                <a:gd name="connsiteX22" fmla="*/ 241536 w 261120"/>
                <a:gd name="connsiteY22" fmla="*/ 179931 h 17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120" h="179930">
                  <a:moveTo>
                    <a:pt x="241536" y="179931"/>
                  </a:moveTo>
                  <a:lnTo>
                    <a:pt x="19584" y="179931"/>
                  </a:lnTo>
                  <a:cubicBezTo>
                    <a:pt x="8813" y="179931"/>
                    <a:pt x="0" y="171118"/>
                    <a:pt x="0" y="160347"/>
                  </a:cubicBezTo>
                  <a:lnTo>
                    <a:pt x="0" y="68825"/>
                  </a:lnTo>
                  <a:cubicBezTo>
                    <a:pt x="0" y="41603"/>
                    <a:pt x="18278" y="17319"/>
                    <a:pt x="44390" y="9747"/>
                  </a:cubicBezTo>
                  <a:lnTo>
                    <a:pt x="77030" y="281"/>
                  </a:lnTo>
                  <a:cubicBezTo>
                    <a:pt x="80490" y="-698"/>
                    <a:pt x="84146" y="1260"/>
                    <a:pt x="85125" y="4720"/>
                  </a:cubicBezTo>
                  <a:cubicBezTo>
                    <a:pt x="86104" y="8180"/>
                    <a:pt x="84146" y="11835"/>
                    <a:pt x="80686" y="12815"/>
                  </a:cubicBezTo>
                  <a:lnTo>
                    <a:pt x="48046" y="22280"/>
                  </a:lnTo>
                  <a:cubicBezTo>
                    <a:pt x="27418" y="28221"/>
                    <a:pt x="13056" y="47348"/>
                    <a:pt x="13056" y="68825"/>
                  </a:cubicBezTo>
                  <a:lnTo>
                    <a:pt x="13056" y="160347"/>
                  </a:lnTo>
                  <a:cubicBezTo>
                    <a:pt x="13056" y="163937"/>
                    <a:pt x="15994" y="166875"/>
                    <a:pt x="19584" y="166875"/>
                  </a:cubicBezTo>
                  <a:lnTo>
                    <a:pt x="241536" y="166875"/>
                  </a:lnTo>
                  <a:cubicBezTo>
                    <a:pt x="245126" y="166875"/>
                    <a:pt x="248064" y="163937"/>
                    <a:pt x="248064" y="160347"/>
                  </a:cubicBezTo>
                  <a:lnTo>
                    <a:pt x="248064" y="69282"/>
                  </a:lnTo>
                  <a:cubicBezTo>
                    <a:pt x="248064" y="48066"/>
                    <a:pt x="233898" y="29004"/>
                    <a:pt x="213531" y="22933"/>
                  </a:cubicBezTo>
                  <a:lnTo>
                    <a:pt x="179455" y="12749"/>
                  </a:lnTo>
                  <a:cubicBezTo>
                    <a:pt x="175995" y="11705"/>
                    <a:pt x="174036" y="8115"/>
                    <a:pt x="175081" y="4655"/>
                  </a:cubicBezTo>
                  <a:cubicBezTo>
                    <a:pt x="176125" y="1195"/>
                    <a:pt x="179716" y="-764"/>
                    <a:pt x="183176" y="281"/>
                  </a:cubicBezTo>
                  <a:lnTo>
                    <a:pt x="217252" y="10465"/>
                  </a:lnTo>
                  <a:cubicBezTo>
                    <a:pt x="243103" y="18168"/>
                    <a:pt x="261120" y="42386"/>
                    <a:pt x="261120" y="69347"/>
                  </a:cubicBezTo>
                  <a:lnTo>
                    <a:pt x="261120" y="160347"/>
                  </a:lnTo>
                  <a:cubicBezTo>
                    <a:pt x="261120" y="171118"/>
                    <a:pt x="252307" y="179931"/>
                    <a:pt x="241536" y="179931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grpSp>
          <p:nvGrpSpPr>
            <p:cNvPr id="150" name="Рисунок 79">
              <a:extLst>
                <a:ext uri="{FF2B5EF4-FFF2-40B4-BE49-F238E27FC236}">
                  <a16:creationId xmlns:a16="http://schemas.microsoft.com/office/drawing/2014/main" id="{3D33EE8F-F27A-4AE3-8D9D-6C4CB887D1C0}"/>
                </a:ext>
              </a:extLst>
            </p:cNvPr>
            <p:cNvGrpSpPr/>
            <p:nvPr/>
          </p:nvGrpSpPr>
          <p:grpSpPr>
            <a:xfrm>
              <a:off x="2065918" y="4637535"/>
              <a:ext cx="57181" cy="104064"/>
              <a:chOff x="2065918" y="4637535"/>
              <a:chExt cx="57181" cy="104064"/>
            </a:xfrm>
            <a:grpFill/>
          </p:grpSpPr>
          <p:sp>
            <p:nvSpPr>
              <p:cNvPr id="156" name="Полилиния: фигура 120">
                <a:extLst>
                  <a:ext uri="{FF2B5EF4-FFF2-40B4-BE49-F238E27FC236}">
                    <a16:creationId xmlns:a16="http://schemas.microsoft.com/office/drawing/2014/main" id="{9D1A0AD8-6C6F-4039-B0CE-0978098598C5}"/>
                  </a:ext>
                </a:extLst>
              </p:cNvPr>
              <p:cNvSpPr/>
              <p:nvPr/>
            </p:nvSpPr>
            <p:spPr>
              <a:xfrm>
                <a:off x="2065918" y="4651560"/>
                <a:ext cx="57181" cy="90039"/>
              </a:xfrm>
              <a:custGeom>
                <a:avLst/>
                <a:gdLst>
                  <a:gd name="connsiteX0" fmla="*/ 28623 w 57181"/>
                  <a:gd name="connsiteY0" fmla="*/ 90040 h 90039"/>
                  <a:gd name="connsiteX1" fmla="*/ 24380 w 57181"/>
                  <a:gd name="connsiteY1" fmla="*/ 88473 h 90039"/>
                  <a:gd name="connsiteX2" fmla="*/ 2250 w 57181"/>
                  <a:gd name="connsiteY2" fmla="*/ 69346 h 90039"/>
                  <a:gd name="connsiteX3" fmla="*/ 227 w 57181"/>
                  <a:gd name="connsiteY3" fmla="*/ 62753 h 90039"/>
                  <a:gd name="connsiteX4" fmla="*/ 15502 w 57181"/>
                  <a:gd name="connsiteY4" fmla="*/ 4850 h 90039"/>
                  <a:gd name="connsiteX5" fmla="*/ 23466 w 57181"/>
                  <a:gd name="connsiteY5" fmla="*/ 215 h 90039"/>
                  <a:gd name="connsiteX6" fmla="*/ 28101 w 57181"/>
                  <a:gd name="connsiteY6" fmla="*/ 8179 h 90039"/>
                  <a:gd name="connsiteX7" fmla="*/ 13870 w 57181"/>
                  <a:gd name="connsiteY7" fmla="*/ 62165 h 90039"/>
                  <a:gd name="connsiteX8" fmla="*/ 28623 w 57181"/>
                  <a:gd name="connsiteY8" fmla="*/ 74895 h 90039"/>
                  <a:gd name="connsiteX9" fmla="*/ 43311 w 57181"/>
                  <a:gd name="connsiteY9" fmla="*/ 62165 h 90039"/>
                  <a:gd name="connsiteX10" fmla="*/ 29080 w 57181"/>
                  <a:gd name="connsiteY10" fmla="*/ 8179 h 90039"/>
                  <a:gd name="connsiteX11" fmla="*/ 33715 w 57181"/>
                  <a:gd name="connsiteY11" fmla="*/ 215 h 90039"/>
                  <a:gd name="connsiteX12" fmla="*/ 41679 w 57181"/>
                  <a:gd name="connsiteY12" fmla="*/ 4850 h 90039"/>
                  <a:gd name="connsiteX13" fmla="*/ 56955 w 57181"/>
                  <a:gd name="connsiteY13" fmla="*/ 62753 h 90039"/>
                  <a:gd name="connsiteX14" fmla="*/ 54931 w 57181"/>
                  <a:gd name="connsiteY14" fmla="*/ 69346 h 90039"/>
                  <a:gd name="connsiteX15" fmla="*/ 32867 w 57181"/>
                  <a:gd name="connsiteY15" fmla="*/ 88473 h 90039"/>
                  <a:gd name="connsiteX16" fmla="*/ 28623 w 57181"/>
                  <a:gd name="connsiteY16" fmla="*/ 90040 h 90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7181" h="90039">
                    <a:moveTo>
                      <a:pt x="28623" y="90040"/>
                    </a:moveTo>
                    <a:cubicBezTo>
                      <a:pt x="27122" y="90040"/>
                      <a:pt x="25555" y="89518"/>
                      <a:pt x="24380" y="88473"/>
                    </a:cubicBezTo>
                    <a:lnTo>
                      <a:pt x="2250" y="69346"/>
                    </a:lnTo>
                    <a:cubicBezTo>
                      <a:pt x="357" y="67714"/>
                      <a:pt x="-426" y="65168"/>
                      <a:pt x="227" y="62753"/>
                    </a:cubicBezTo>
                    <a:lnTo>
                      <a:pt x="15502" y="4850"/>
                    </a:lnTo>
                    <a:cubicBezTo>
                      <a:pt x="16416" y="1390"/>
                      <a:pt x="20006" y="-699"/>
                      <a:pt x="23466" y="215"/>
                    </a:cubicBezTo>
                    <a:cubicBezTo>
                      <a:pt x="26926" y="1129"/>
                      <a:pt x="29015" y="4719"/>
                      <a:pt x="28101" y="8179"/>
                    </a:cubicBezTo>
                    <a:lnTo>
                      <a:pt x="13870" y="62165"/>
                    </a:lnTo>
                    <a:lnTo>
                      <a:pt x="28623" y="74895"/>
                    </a:lnTo>
                    <a:lnTo>
                      <a:pt x="43311" y="62165"/>
                    </a:lnTo>
                    <a:lnTo>
                      <a:pt x="29080" y="8179"/>
                    </a:lnTo>
                    <a:cubicBezTo>
                      <a:pt x="28166" y="4719"/>
                      <a:pt x="30255" y="1129"/>
                      <a:pt x="33715" y="215"/>
                    </a:cubicBezTo>
                    <a:cubicBezTo>
                      <a:pt x="37175" y="-699"/>
                      <a:pt x="40765" y="1390"/>
                      <a:pt x="41679" y="4850"/>
                    </a:cubicBezTo>
                    <a:lnTo>
                      <a:pt x="56955" y="62753"/>
                    </a:lnTo>
                    <a:cubicBezTo>
                      <a:pt x="57608" y="65168"/>
                      <a:pt x="56824" y="67714"/>
                      <a:pt x="54931" y="69346"/>
                    </a:cubicBezTo>
                    <a:lnTo>
                      <a:pt x="32867" y="88473"/>
                    </a:lnTo>
                    <a:cubicBezTo>
                      <a:pt x="31691" y="89518"/>
                      <a:pt x="30190" y="90040"/>
                      <a:pt x="28623" y="90040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2828">
                  <a:defRPr/>
                </a:pPr>
                <a:endParaRPr lang="ru-RU" sz="1797" kern="0" dirty="0">
                  <a:solidFill>
                    <a:srgbClr val="424242"/>
                  </a:solidFill>
                  <a:latin typeface="Cera CY"/>
                </a:endParaRPr>
              </a:p>
            </p:txBody>
          </p:sp>
          <p:sp>
            <p:nvSpPr>
              <p:cNvPr id="157" name="Полилиния: фигура 121">
                <a:extLst>
                  <a:ext uri="{FF2B5EF4-FFF2-40B4-BE49-F238E27FC236}">
                    <a16:creationId xmlns:a16="http://schemas.microsoft.com/office/drawing/2014/main" id="{D27E8315-2D21-487A-865F-8E6A7EA66B90}"/>
                  </a:ext>
                </a:extLst>
              </p:cNvPr>
              <p:cNvSpPr/>
              <p:nvPr/>
            </p:nvSpPr>
            <p:spPr>
              <a:xfrm>
                <a:off x="2071163" y="4637535"/>
                <a:ext cx="47802" cy="27034"/>
              </a:xfrm>
              <a:custGeom>
                <a:avLst/>
                <a:gdLst>
                  <a:gd name="connsiteX0" fmla="*/ 23379 w 47802"/>
                  <a:gd name="connsiteY0" fmla="*/ 27034 h 27034"/>
                  <a:gd name="connsiteX1" fmla="*/ 19332 w 47802"/>
                  <a:gd name="connsiteY1" fmla="*/ 25664 h 27034"/>
                  <a:gd name="connsiteX2" fmla="*/ 2489 w 47802"/>
                  <a:gd name="connsiteY2" fmla="*/ 12412 h 27034"/>
                  <a:gd name="connsiteX3" fmla="*/ 1380 w 47802"/>
                  <a:gd name="connsiteY3" fmla="*/ 3273 h 27034"/>
                  <a:gd name="connsiteX4" fmla="*/ 10519 w 47802"/>
                  <a:gd name="connsiteY4" fmla="*/ 2163 h 27034"/>
                  <a:gd name="connsiteX5" fmla="*/ 23379 w 47802"/>
                  <a:gd name="connsiteY5" fmla="*/ 12216 h 27034"/>
                  <a:gd name="connsiteX6" fmla="*/ 37284 w 47802"/>
                  <a:gd name="connsiteY6" fmla="*/ 1380 h 27034"/>
                  <a:gd name="connsiteX7" fmla="*/ 46423 w 47802"/>
                  <a:gd name="connsiteY7" fmla="*/ 2489 h 27034"/>
                  <a:gd name="connsiteX8" fmla="*/ 45313 w 47802"/>
                  <a:gd name="connsiteY8" fmla="*/ 11628 h 27034"/>
                  <a:gd name="connsiteX9" fmla="*/ 27361 w 47802"/>
                  <a:gd name="connsiteY9" fmla="*/ 25664 h 27034"/>
                  <a:gd name="connsiteX10" fmla="*/ 23379 w 47802"/>
                  <a:gd name="connsiteY10" fmla="*/ 27034 h 2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802" h="27034">
                    <a:moveTo>
                      <a:pt x="23379" y="27034"/>
                    </a:moveTo>
                    <a:cubicBezTo>
                      <a:pt x="21943" y="27034"/>
                      <a:pt x="20507" y="26578"/>
                      <a:pt x="19332" y="25664"/>
                    </a:cubicBezTo>
                    <a:lnTo>
                      <a:pt x="2489" y="12412"/>
                    </a:lnTo>
                    <a:cubicBezTo>
                      <a:pt x="-318" y="10192"/>
                      <a:pt x="-840" y="6080"/>
                      <a:pt x="1380" y="3273"/>
                    </a:cubicBezTo>
                    <a:cubicBezTo>
                      <a:pt x="3599" y="466"/>
                      <a:pt x="7712" y="-57"/>
                      <a:pt x="10519" y="2163"/>
                    </a:cubicBezTo>
                    <a:lnTo>
                      <a:pt x="23379" y="12216"/>
                    </a:lnTo>
                    <a:lnTo>
                      <a:pt x="37284" y="1380"/>
                    </a:lnTo>
                    <a:cubicBezTo>
                      <a:pt x="40091" y="-840"/>
                      <a:pt x="44203" y="-318"/>
                      <a:pt x="46423" y="2489"/>
                    </a:cubicBezTo>
                    <a:cubicBezTo>
                      <a:pt x="48642" y="5362"/>
                      <a:pt x="48120" y="9409"/>
                      <a:pt x="45313" y="11628"/>
                    </a:cubicBezTo>
                    <a:lnTo>
                      <a:pt x="27361" y="25664"/>
                    </a:lnTo>
                    <a:cubicBezTo>
                      <a:pt x="26186" y="26578"/>
                      <a:pt x="24815" y="27034"/>
                      <a:pt x="23379" y="27034"/>
                    </a:cubicBezTo>
                    <a:close/>
                  </a:path>
                </a:pathLst>
              </a:custGeom>
              <a:grpFill/>
              <a:ln w="6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2828">
                  <a:defRPr/>
                </a:pPr>
                <a:endParaRPr lang="ru-RU" sz="1797" kern="0" dirty="0">
                  <a:solidFill>
                    <a:srgbClr val="424242"/>
                  </a:solidFill>
                  <a:latin typeface="Cera CY"/>
                </a:endParaRPr>
              </a:p>
            </p:txBody>
          </p:sp>
        </p:grpSp>
        <p:sp>
          <p:nvSpPr>
            <p:cNvPr id="151" name="Полилиния: фигура 116">
              <a:extLst>
                <a:ext uri="{FF2B5EF4-FFF2-40B4-BE49-F238E27FC236}">
                  <a16:creationId xmlns:a16="http://schemas.microsoft.com/office/drawing/2014/main" id="{1363609F-69CC-4E5E-8CB4-99E1B87898A4}"/>
                </a:ext>
              </a:extLst>
            </p:cNvPr>
            <p:cNvSpPr/>
            <p:nvPr/>
          </p:nvSpPr>
          <p:spPr>
            <a:xfrm>
              <a:off x="2036273" y="4600753"/>
              <a:ext cx="64261" cy="49846"/>
            </a:xfrm>
            <a:custGeom>
              <a:avLst/>
              <a:gdLst>
                <a:gd name="connsiteX0" fmla="*/ 34702 w 64261"/>
                <a:gd name="connsiteY0" fmla="*/ 49847 h 49846"/>
                <a:gd name="connsiteX1" fmla="*/ 34180 w 64261"/>
                <a:gd name="connsiteY1" fmla="*/ 49847 h 49846"/>
                <a:gd name="connsiteX2" fmla="*/ 17599 w 64261"/>
                <a:gd name="connsiteY2" fmla="*/ 39859 h 49846"/>
                <a:gd name="connsiteX3" fmla="*/ 822 w 64261"/>
                <a:gd name="connsiteY3" fmla="*/ 9700 h 49846"/>
                <a:gd name="connsiteX4" fmla="*/ 3368 w 64261"/>
                <a:gd name="connsiteY4" fmla="*/ 822 h 49846"/>
                <a:gd name="connsiteX5" fmla="*/ 12246 w 64261"/>
                <a:gd name="connsiteY5" fmla="*/ 3368 h 49846"/>
                <a:gd name="connsiteX6" fmla="*/ 28957 w 64261"/>
                <a:gd name="connsiteY6" fmla="*/ 33462 h 49846"/>
                <a:gd name="connsiteX7" fmla="*/ 34441 w 64261"/>
                <a:gd name="connsiteY7" fmla="*/ 36726 h 49846"/>
                <a:gd name="connsiteX8" fmla="*/ 40120 w 64261"/>
                <a:gd name="connsiteY8" fmla="*/ 33658 h 49846"/>
                <a:gd name="connsiteX9" fmla="*/ 52197 w 64261"/>
                <a:gd name="connsiteY9" fmla="*/ 14596 h 49846"/>
                <a:gd name="connsiteX10" fmla="*/ 61206 w 64261"/>
                <a:gd name="connsiteY10" fmla="*/ 12572 h 49846"/>
                <a:gd name="connsiteX11" fmla="*/ 63229 w 64261"/>
                <a:gd name="connsiteY11" fmla="*/ 21581 h 49846"/>
                <a:gd name="connsiteX12" fmla="*/ 51153 w 64261"/>
                <a:gd name="connsiteY12" fmla="*/ 40642 h 49846"/>
                <a:gd name="connsiteX13" fmla="*/ 34702 w 64261"/>
                <a:gd name="connsiteY13" fmla="*/ 49847 h 4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61" h="49846">
                  <a:moveTo>
                    <a:pt x="34702" y="49847"/>
                  </a:moveTo>
                  <a:cubicBezTo>
                    <a:pt x="34506" y="49847"/>
                    <a:pt x="34376" y="49847"/>
                    <a:pt x="34180" y="49847"/>
                  </a:cubicBezTo>
                  <a:cubicBezTo>
                    <a:pt x="27195" y="49651"/>
                    <a:pt x="21059" y="45930"/>
                    <a:pt x="17599" y="39859"/>
                  </a:cubicBezTo>
                  <a:lnTo>
                    <a:pt x="822" y="9700"/>
                  </a:lnTo>
                  <a:cubicBezTo>
                    <a:pt x="-941" y="6566"/>
                    <a:pt x="234" y="2584"/>
                    <a:pt x="3368" y="822"/>
                  </a:cubicBezTo>
                  <a:cubicBezTo>
                    <a:pt x="6501" y="-941"/>
                    <a:pt x="10483" y="234"/>
                    <a:pt x="12246" y="3368"/>
                  </a:cubicBezTo>
                  <a:lnTo>
                    <a:pt x="28957" y="33462"/>
                  </a:lnTo>
                  <a:cubicBezTo>
                    <a:pt x="30589" y="36334"/>
                    <a:pt x="33331" y="36726"/>
                    <a:pt x="34441" y="36726"/>
                  </a:cubicBezTo>
                  <a:cubicBezTo>
                    <a:pt x="35616" y="36726"/>
                    <a:pt x="38358" y="36530"/>
                    <a:pt x="40120" y="33658"/>
                  </a:cubicBezTo>
                  <a:lnTo>
                    <a:pt x="52197" y="14596"/>
                  </a:lnTo>
                  <a:cubicBezTo>
                    <a:pt x="54156" y="11528"/>
                    <a:pt x="58138" y="10614"/>
                    <a:pt x="61206" y="12572"/>
                  </a:cubicBezTo>
                  <a:cubicBezTo>
                    <a:pt x="64274" y="14465"/>
                    <a:pt x="65188" y="18513"/>
                    <a:pt x="63229" y="21581"/>
                  </a:cubicBezTo>
                  <a:lnTo>
                    <a:pt x="51153" y="40642"/>
                  </a:lnTo>
                  <a:cubicBezTo>
                    <a:pt x="47628" y="46452"/>
                    <a:pt x="41426" y="49847"/>
                    <a:pt x="34702" y="49847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52" name="Полилиния: фигура 117">
              <a:extLst>
                <a:ext uri="{FF2B5EF4-FFF2-40B4-BE49-F238E27FC236}">
                  <a16:creationId xmlns:a16="http://schemas.microsoft.com/office/drawing/2014/main" id="{91B0952B-8D2C-4673-AB45-5B742FA19087}"/>
                </a:ext>
              </a:extLst>
            </p:cNvPr>
            <p:cNvSpPr/>
            <p:nvPr/>
          </p:nvSpPr>
          <p:spPr>
            <a:xfrm>
              <a:off x="2087598" y="4600717"/>
              <a:ext cx="64297" cy="49883"/>
            </a:xfrm>
            <a:custGeom>
              <a:avLst/>
              <a:gdLst>
                <a:gd name="connsiteX0" fmla="*/ 29530 w 64297"/>
                <a:gd name="connsiteY0" fmla="*/ 49883 h 49883"/>
                <a:gd name="connsiteX1" fmla="*/ 13015 w 64297"/>
                <a:gd name="connsiteY1" fmla="*/ 40744 h 49883"/>
                <a:gd name="connsiteX2" fmla="*/ 1003 w 64297"/>
                <a:gd name="connsiteY2" fmla="*/ 21682 h 49883"/>
                <a:gd name="connsiteX3" fmla="*/ 3027 w 64297"/>
                <a:gd name="connsiteY3" fmla="*/ 12674 h 49883"/>
                <a:gd name="connsiteX4" fmla="*/ 12035 w 64297"/>
                <a:gd name="connsiteY4" fmla="*/ 14697 h 49883"/>
                <a:gd name="connsiteX5" fmla="*/ 24047 w 64297"/>
                <a:gd name="connsiteY5" fmla="*/ 33759 h 49883"/>
                <a:gd name="connsiteX6" fmla="*/ 29726 w 64297"/>
                <a:gd name="connsiteY6" fmla="*/ 36827 h 49883"/>
                <a:gd name="connsiteX7" fmla="*/ 35275 w 64297"/>
                <a:gd name="connsiteY7" fmla="*/ 33498 h 49883"/>
                <a:gd name="connsiteX8" fmla="*/ 52052 w 64297"/>
                <a:gd name="connsiteY8" fmla="*/ 3339 h 49883"/>
                <a:gd name="connsiteX9" fmla="*/ 60930 w 64297"/>
                <a:gd name="connsiteY9" fmla="*/ 793 h 49883"/>
                <a:gd name="connsiteX10" fmla="*/ 63476 w 64297"/>
                <a:gd name="connsiteY10" fmla="*/ 9671 h 49883"/>
                <a:gd name="connsiteX11" fmla="*/ 46634 w 64297"/>
                <a:gd name="connsiteY11" fmla="*/ 39830 h 49883"/>
                <a:gd name="connsiteX12" fmla="*/ 30053 w 64297"/>
                <a:gd name="connsiteY12" fmla="*/ 49818 h 49883"/>
                <a:gd name="connsiteX13" fmla="*/ 29530 w 64297"/>
                <a:gd name="connsiteY13" fmla="*/ 49883 h 4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297" h="49883">
                  <a:moveTo>
                    <a:pt x="29530" y="49883"/>
                  </a:moveTo>
                  <a:cubicBezTo>
                    <a:pt x="22741" y="49883"/>
                    <a:pt x="16605" y="46489"/>
                    <a:pt x="13015" y="40744"/>
                  </a:cubicBezTo>
                  <a:lnTo>
                    <a:pt x="1003" y="21682"/>
                  </a:lnTo>
                  <a:cubicBezTo>
                    <a:pt x="-890" y="18614"/>
                    <a:pt x="-41" y="14632"/>
                    <a:pt x="3027" y="12674"/>
                  </a:cubicBezTo>
                  <a:cubicBezTo>
                    <a:pt x="6095" y="10781"/>
                    <a:pt x="10077" y="11695"/>
                    <a:pt x="12035" y="14697"/>
                  </a:cubicBezTo>
                  <a:lnTo>
                    <a:pt x="24047" y="33759"/>
                  </a:lnTo>
                  <a:cubicBezTo>
                    <a:pt x="25809" y="36566"/>
                    <a:pt x="28616" y="36827"/>
                    <a:pt x="29726" y="36827"/>
                  </a:cubicBezTo>
                  <a:cubicBezTo>
                    <a:pt x="30836" y="36827"/>
                    <a:pt x="33578" y="36436"/>
                    <a:pt x="35275" y="33498"/>
                  </a:cubicBezTo>
                  <a:lnTo>
                    <a:pt x="52052" y="3339"/>
                  </a:lnTo>
                  <a:cubicBezTo>
                    <a:pt x="53815" y="205"/>
                    <a:pt x="57797" y="-904"/>
                    <a:pt x="60930" y="793"/>
                  </a:cubicBezTo>
                  <a:cubicBezTo>
                    <a:pt x="64063" y="2490"/>
                    <a:pt x="65239" y="6537"/>
                    <a:pt x="63476" y="9671"/>
                  </a:cubicBezTo>
                  <a:lnTo>
                    <a:pt x="46634" y="39830"/>
                  </a:lnTo>
                  <a:cubicBezTo>
                    <a:pt x="43174" y="45901"/>
                    <a:pt x="37038" y="49622"/>
                    <a:pt x="30053" y="49818"/>
                  </a:cubicBezTo>
                  <a:cubicBezTo>
                    <a:pt x="29857" y="49883"/>
                    <a:pt x="29661" y="49883"/>
                    <a:pt x="29530" y="498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53" name="Полилиния: фигура 118">
              <a:extLst>
                <a:ext uri="{FF2B5EF4-FFF2-40B4-BE49-F238E27FC236}">
                  <a16:creationId xmlns:a16="http://schemas.microsoft.com/office/drawing/2014/main" id="{4F959143-BE7D-4F0D-8346-729DEA978577}"/>
                </a:ext>
              </a:extLst>
            </p:cNvPr>
            <p:cNvSpPr/>
            <p:nvPr/>
          </p:nvSpPr>
          <p:spPr>
            <a:xfrm>
              <a:off x="2003157" y="4715408"/>
              <a:ext cx="25444" cy="62682"/>
            </a:xfrm>
            <a:custGeom>
              <a:avLst/>
              <a:gdLst>
                <a:gd name="connsiteX0" fmla="*/ 18924 w 25444"/>
                <a:gd name="connsiteY0" fmla="*/ 62683 h 62682"/>
                <a:gd name="connsiteX1" fmla="*/ 12592 w 25444"/>
                <a:gd name="connsiteY1" fmla="*/ 57722 h 62682"/>
                <a:gd name="connsiteX2" fmla="*/ 189 w 25444"/>
                <a:gd name="connsiteY2" fmla="*/ 8109 h 62682"/>
                <a:gd name="connsiteX3" fmla="*/ 4954 w 25444"/>
                <a:gd name="connsiteY3" fmla="*/ 210 h 62682"/>
                <a:gd name="connsiteX4" fmla="*/ 12853 w 25444"/>
                <a:gd name="connsiteY4" fmla="*/ 4976 h 62682"/>
                <a:gd name="connsiteX5" fmla="*/ 25256 w 25444"/>
                <a:gd name="connsiteY5" fmla="*/ 54588 h 62682"/>
                <a:gd name="connsiteX6" fmla="*/ 20491 w 25444"/>
                <a:gd name="connsiteY6" fmla="*/ 62487 h 62682"/>
                <a:gd name="connsiteX7" fmla="*/ 18924 w 25444"/>
                <a:gd name="connsiteY7" fmla="*/ 62683 h 62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444" h="62682">
                  <a:moveTo>
                    <a:pt x="18924" y="62683"/>
                  </a:moveTo>
                  <a:cubicBezTo>
                    <a:pt x="15986" y="62683"/>
                    <a:pt x="13310" y="60725"/>
                    <a:pt x="12592" y="57722"/>
                  </a:cubicBezTo>
                  <a:lnTo>
                    <a:pt x="189" y="8109"/>
                  </a:lnTo>
                  <a:cubicBezTo>
                    <a:pt x="-660" y="4584"/>
                    <a:pt x="1429" y="1059"/>
                    <a:pt x="4954" y="210"/>
                  </a:cubicBezTo>
                  <a:cubicBezTo>
                    <a:pt x="8414" y="-704"/>
                    <a:pt x="12004" y="1450"/>
                    <a:pt x="12853" y="4976"/>
                  </a:cubicBezTo>
                  <a:lnTo>
                    <a:pt x="25256" y="54588"/>
                  </a:lnTo>
                  <a:cubicBezTo>
                    <a:pt x="26105" y="58113"/>
                    <a:pt x="24016" y="61638"/>
                    <a:pt x="20491" y="62487"/>
                  </a:cubicBezTo>
                  <a:cubicBezTo>
                    <a:pt x="19969" y="62618"/>
                    <a:pt x="19446" y="62683"/>
                    <a:pt x="18924" y="62683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  <p:sp>
          <p:nvSpPr>
            <p:cNvPr id="155" name="Полилиния: фигура 119">
              <a:extLst>
                <a:ext uri="{FF2B5EF4-FFF2-40B4-BE49-F238E27FC236}">
                  <a16:creationId xmlns:a16="http://schemas.microsoft.com/office/drawing/2014/main" id="{1D7FAB7D-CE65-4A02-A616-356B7D21C281}"/>
                </a:ext>
              </a:extLst>
            </p:cNvPr>
            <p:cNvSpPr/>
            <p:nvPr/>
          </p:nvSpPr>
          <p:spPr>
            <a:xfrm>
              <a:off x="2160220" y="4715408"/>
              <a:ext cx="25640" cy="63531"/>
            </a:xfrm>
            <a:custGeom>
              <a:avLst/>
              <a:gdLst>
                <a:gd name="connsiteX0" fmla="*/ 6521 w 25640"/>
                <a:gd name="connsiteY0" fmla="*/ 63532 h 63531"/>
                <a:gd name="connsiteX1" fmla="*/ 4954 w 25640"/>
                <a:gd name="connsiteY1" fmla="*/ 63336 h 63531"/>
                <a:gd name="connsiteX2" fmla="*/ 189 w 25640"/>
                <a:gd name="connsiteY2" fmla="*/ 55437 h 63531"/>
                <a:gd name="connsiteX3" fmla="*/ 12788 w 25640"/>
                <a:gd name="connsiteY3" fmla="*/ 4976 h 63531"/>
                <a:gd name="connsiteX4" fmla="*/ 20687 w 25640"/>
                <a:gd name="connsiteY4" fmla="*/ 210 h 63531"/>
                <a:gd name="connsiteX5" fmla="*/ 25452 w 25640"/>
                <a:gd name="connsiteY5" fmla="*/ 8109 h 63531"/>
                <a:gd name="connsiteX6" fmla="*/ 12853 w 25640"/>
                <a:gd name="connsiteY6" fmla="*/ 58570 h 63531"/>
                <a:gd name="connsiteX7" fmla="*/ 6521 w 25640"/>
                <a:gd name="connsiteY7" fmla="*/ 63532 h 6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0" h="63531">
                  <a:moveTo>
                    <a:pt x="6521" y="63532"/>
                  </a:moveTo>
                  <a:cubicBezTo>
                    <a:pt x="5999" y="63532"/>
                    <a:pt x="5476" y="63466"/>
                    <a:pt x="4954" y="63336"/>
                  </a:cubicBezTo>
                  <a:cubicBezTo>
                    <a:pt x="1429" y="62487"/>
                    <a:pt x="-660" y="58897"/>
                    <a:pt x="189" y="55437"/>
                  </a:cubicBezTo>
                  <a:lnTo>
                    <a:pt x="12788" y="4976"/>
                  </a:lnTo>
                  <a:cubicBezTo>
                    <a:pt x="13636" y="1450"/>
                    <a:pt x="17227" y="-704"/>
                    <a:pt x="20687" y="210"/>
                  </a:cubicBezTo>
                  <a:cubicBezTo>
                    <a:pt x="24212" y="1059"/>
                    <a:pt x="26301" y="4649"/>
                    <a:pt x="25452" y="8109"/>
                  </a:cubicBezTo>
                  <a:lnTo>
                    <a:pt x="12853" y="58570"/>
                  </a:lnTo>
                  <a:cubicBezTo>
                    <a:pt x="12070" y="61573"/>
                    <a:pt x="9393" y="63532"/>
                    <a:pt x="6521" y="63532"/>
                  </a:cubicBezTo>
                  <a:close/>
                </a:path>
              </a:pathLst>
            </a:custGeom>
            <a:grpFill/>
            <a:ln w="64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2828">
                <a:defRPr/>
              </a:pPr>
              <a:endParaRPr lang="ru-RU" sz="1797" kern="0" dirty="0">
                <a:solidFill>
                  <a:srgbClr val="424242"/>
                </a:solidFill>
                <a:latin typeface="Cera CY"/>
              </a:endParaRPr>
            </a:p>
          </p:txBody>
        </p:sp>
      </p:grp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57" y="162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417" name="Слайд think-cell" r:id="rId10" imgW="353" imgH="318" progId="TCLayout.ActiveDocument.1">
                  <p:embed/>
                </p:oleObj>
              </mc:Choice>
              <mc:Fallback>
                <p:oleObj name="Слайд think-cell" r:id="rId10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57" y="162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70" y="40"/>
            <a:ext cx="158748" cy="1587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2925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2800" b="1" dirty="0">
              <a:solidFill>
                <a:srgbClr val="FFFFFF"/>
              </a:solidFill>
              <a:latin typeface="Cera CY" panose="00000500000000000000" pitchFamily="50" charset="-52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41349FC-51C7-45E1-87DA-89E506CF32E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914329">
              <a:defRPr/>
            </a:pPr>
            <a:fld id="{58A9CFFD-EE99-4E11-B8BC-23AC5DDB75ED}" type="slidenum">
              <a:rPr lang="ru-RU">
                <a:solidFill>
                  <a:srgbClr val="000000"/>
                </a:solidFill>
              </a:rPr>
              <a:pPr defTabSz="914329">
                <a:defRPr/>
              </a:pPr>
              <a:t>6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0C3EFB4D-E585-4948-AA13-3ACF69E1CB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6197" y="262556"/>
            <a:ext cx="911953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FF7900"/>
              </a:buClr>
            </a:pPr>
            <a:r>
              <a:rPr lang="ru-RU" sz="2600" b="1" dirty="0" smtClean="0"/>
              <a:t>Периметр </a:t>
            </a:r>
            <a:r>
              <a:rPr lang="en-US" sz="2600" b="1" dirty="0" smtClean="0"/>
              <a:t>банковско</a:t>
            </a:r>
            <a:r>
              <a:rPr lang="ru-RU" sz="2600" b="1" dirty="0" smtClean="0"/>
              <a:t>го</a:t>
            </a:r>
            <a:r>
              <a:rPr lang="en-US" sz="2600" b="1" dirty="0" smtClean="0"/>
              <a:t> сопровождени</a:t>
            </a:r>
            <a:r>
              <a:rPr lang="ru-RU" sz="2600" b="1" dirty="0" smtClean="0"/>
              <a:t>я</a:t>
            </a:r>
            <a:endParaRPr lang="ru-RU" sz="2600" b="1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9BEBF37-22DB-436A-A70B-BCBFC8C060A5}"/>
              </a:ext>
            </a:extLst>
          </p:cNvPr>
          <p:cNvSpPr txBox="1"/>
          <p:nvPr/>
        </p:nvSpPr>
        <p:spPr>
          <a:xfrm>
            <a:off x="6100212" y="3945035"/>
            <a:ext cx="2023590" cy="11079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Cera CY" panose="00000500000000000000" pitchFamily="2" charset="-52"/>
              </a:rPr>
              <a:t>Получатели средств, которым не требуется открытие отдельных счетов </a:t>
            </a:r>
            <a:r>
              <a:rPr lang="ru-RU" sz="1200" dirty="0" smtClean="0">
                <a:latin typeface="Cera CY" panose="00000500000000000000" pitchFamily="2" charset="-52"/>
              </a:rPr>
              <a:t>(</a:t>
            </a:r>
            <a:r>
              <a:rPr lang="ru-RU" sz="1200" dirty="0">
                <a:latin typeface="Cera CY" panose="00000500000000000000" pitchFamily="2" charset="-52"/>
              </a:rPr>
              <a:t>исключения </a:t>
            </a:r>
            <a:br>
              <a:rPr lang="ru-RU" sz="1200" dirty="0">
                <a:latin typeface="Cera CY" panose="00000500000000000000" pitchFamily="2" charset="-52"/>
              </a:rPr>
            </a:br>
            <a:r>
              <a:rPr lang="ru-RU" sz="1200" dirty="0">
                <a:latin typeface="Cera CY" panose="00000500000000000000" pitchFamily="2" charset="-52"/>
              </a:rPr>
              <a:t>из периметра банковского сопровождения)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5F9D889-A6C8-4B04-88AD-18D252A48241}"/>
              </a:ext>
            </a:extLst>
          </p:cNvPr>
          <p:cNvSpPr txBox="1"/>
          <p:nvPr/>
        </p:nvSpPr>
        <p:spPr>
          <a:xfrm>
            <a:off x="6113145" y="2215836"/>
            <a:ext cx="1923078" cy="11079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424242"/>
                </a:solidFill>
                <a:latin typeface="Cera CY" panose="00000500000000000000" pitchFamily="2" charset="-52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Участники исполнения проекта, </a:t>
            </a:r>
            <a:r>
              <a:rPr lang="ru-RU" dirty="0" smtClean="0">
                <a:solidFill>
                  <a:schemeClr val="tx1"/>
                </a:solidFill>
              </a:rPr>
              <a:t>обязанные проводить расчеты</a:t>
            </a:r>
            <a:r>
              <a:rPr lang="ru-RU" dirty="0">
                <a:solidFill>
                  <a:schemeClr val="tx1"/>
                </a:solidFill>
              </a:rPr>
              <a:t/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с использованием </a:t>
            </a:r>
            <a:r>
              <a:rPr lang="ru-RU" dirty="0" smtClean="0">
                <a:solidFill>
                  <a:schemeClr val="tx1"/>
                </a:solidFill>
              </a:rPr>
              <a:t>отдельных банковских </a:t>
            </a:r>
            <a:r>
              <a:rPr lang="ru-RU" dirty="0">
                <a:solidFill>
                  <a:schemeClr val="tx1"/>
                </a:solidFill>
              </a:rPr>
              <a:t>счетов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0BF9387-7F83-48B6-838E-7A63EBC41B82}"/>
              </a:ext>
            </a:extLst>
          </p:cNvPr>
          <p:cNvSpPr txBox="1"/>
          <p:nvPr/>
        </p:nvSpPr>
        <p:spPr>
          <a:xfrm>
            <a:off x="4805886" y="1672577"/>
            <a:ext cx="1080000" cy="18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828"/>
            <a:r>
              <a:rPr lang="ru-RU" sz="1198" b="1" dirty="0">
                <a:solidFill>
                  <a:schemeClr val="accent6"/>
                </a:solidFill>
                <a:latin typeface="Cera CY" panose="00000500000000000000" pitchFamily="2" charset="-52"/>
              </a:rPr>
              <a:t>Заказчик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40ABE39D-C6F0-4478-9B8A-81838DD52368}"/>
              </a:ext>
            </a:extLst>
          </p:cNvPr>
          <p:cNvSpPr txBox="1"/>
          <p:nvPr/>
        </p:nvSpPr>
        <p:spPr>
          <a:xfrm>
            <a:off x="4805886" y="2182485"/>
            <a:ext cx="1080000" cy="3686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828"/>
            <a:r>
              <a:rPr lang="ru-RU" sz="1198" b="1" dirty="0">
                <a:solidFill>
                  <a:schemeClr val="accent2">
                    <a:alpha val="75000"/>
                  </a:schemeClr>
                </a:solidFill>
                <a:latin typeface="Cera CY" panose="00000500000000000000" pitchFamily="2" charset="-52"/>
              </a:rPr>
              <a:t>Исполнитель</a:t>
            </a:r>
            <a:r>
              <a:rPr lang="ru-RU" sz="1198" b="1" i="1" dirty="0">
                <a:solidFill>
                  <a:schemeClr val="accent2">
                    <a:alpha val="75000"/>
                  </a:schemeClr>
                </a:solidFill>
                <a:latin typeface="Cera CY" panose="00000500000000000000" pitchFamily="2" charset="-52"/>
              </a:rPr>
              <a:t> </a:t>
            </a:r>
            <a:r>
              <a:rPr lang="ru-RU" sz="1198" b="1" dirty="0">
                <a:solidFill>
                  <a:schemeClr val="accent2">
                    <a:alpha val="75000"/>
                  </a:schemeClr>
                </a:solidFill>
                <a:latin typeface="Cera CY" panose="00000500000000000000" pitchFamily="2" charset="-52"/>
              </a:rPr>
              <a:t>1-й уровень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E6BEEBD-9837-4ACE-B5B6-9F8B1488BA79}"/>
              </a:ext>
            </a:extLst>
          </p:cNvPr>
          <p:cNvSpPr txBox="1"/>
          <p:nvPr/>
        </p:nvSpPr>
        <p:spPr>
          <a:xfrm>
            <a:off x="4805886" y="2770182"/>
            <a:ext cx="1080000" cy="3686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828"/>
            <a:r>
              <a:rPr lang="ru-RU" sz="1198" b="1" dirty="0">
                <a:solidFill>
                  <a:schemeClr val="accent2"/>
                </a:solidFill>
                <a:latin typeface="Cera CY" panose="00000500000000000000" pitchFamily="2" charset="-52"/>
              </a:rPr>
              <a:t>Исполнители 2-й уровень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A30781D-F602-445A-A6F0-254263284541}"/>
              </a:ext>
            </a:extLst>
          </p:cNvPr>
          <p:cNvSpPr txBox="1"/>
          <p:nvPr/>
        </p:nvSpPr>
        <p:spPr>
          <a:xfrm>
            <a:off x="4805886" y="3357879"/>
            <a:ext cx="1080000" cy="3686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828"/>
            <a:r>
              <a:rPr lang="ru-RU" sz="1198" b="1" dirty="0">
                <a:solidFill>
                  <a:schemeClr val="accent1"/>
                </a:solidFill>
                <a:latin typeface="Cera CY" panose="00000500000000000000" pitchFamily="2" charset="-52"/>
              </a:rPr>
              <a:t>Исполнители </a:t>
            </a:r>
            <a:r>
              <a:rPr lang="en-US" sz="1198" b="1" dirty="0">
                <a:solidFill>
                  <a:schemeClr val="accent1"/>
                </a:solidFill>
                <a:latin typeface="Cera CY" panose="00000500000000000000" pitchFamily="2" charset="-52"/>
              </a:rPr>
              <a:t>n</a:t>
            </a:r>
            <a:r>
              <a:rPr lang="ru-RU" sz="1198" b="1" dirty="0">
                <a:solidFill>
                  <a:schemeClr val="accent1"/>
                </a:solidFill>
                <a:latin typeface="Cera CY" panose="00000500000000000000" pitchFamily="2" charset="-52"/>
              </a:rPr>
              <a:t>-й уровень</a:t>
            </a:r>
          </a:p>
        </p:txBody>
      </p: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099E7F10-115D-4B11-8DB9-BC4B3EF17D87}"/>
              </a:ext>
            </a:extLst>
          </p:cNvPr>
          <p:cNvCxnSpPr>
            <a:cxnSpLocks/>
          </p:cNvCxnSpPr>
          <p:nvPr/>
        </p:nvCxnSpPr>
        <p:spPr>
          <a:xfrm>
            <a:off x="3268528" y="2361500"/>
            <a:ext cx="1386599" cy="0"/>
          </a:xfrm>
          <a:prstGeom prst="line">
            <a:avLst/>
          </a:prstGeom>
          <a:noFill/>
          <a:ln w="15875" cap="flat" cmpd="sng" algn="ctr">
            <a:solidFill>
              <a:schemeClr val="bg1"/>
            </a:solidFill>
            <a:prstDash val="dash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id="{BACB6690-24EE-4BB7-A8E9-4DD08AFF8D88}"/>
              </a:ext>
            </a:extLst>
          </p:cNvPr>
          <p:cNvCxnSpPr>
            <a:cxnSpLocks/>
          </p:cNvCxnSpPr>
          <p:nvPr/>
        </p:nvCxnSpPr>
        <p:spPr>
          <a:xfrm>
            <a:off x="3636047" y="2943113"/>
            <a:ext cx="1019080" cy="0"/>
          </a:xfrm>
          <a:prstGeom prst="line">
            <a:avLst/>
          </a:prstGeom>
          <a:noFill/>
          <a:ln w="15875" cap="flat" cmpd="sng" algn="ctr">
            <a:solidFill>
              <a:schemeClr val="bg1"/>
            </a:solidFill>
            <a:prstDash val="dash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92" name="Прямая соединительная линия 91">
            <a:extLst>
              <a:ext uri="{FF2B5EF4-FFF2-40B4-BE49-F238E27FC236}">
                <a16:creationId xmlns:a16="http://schemas.microsoft.com/office/drawing/2014/main" id="{9A98891C-2F80-40DC-B649-6468461B0556}"/>
              </a:ext>
            </a:extLst>
          </p:cNvPr>
          <p:cNvCxnSpPr>
            <a:cxnSpLocks/>
          </p:cNvCxnSpPr>
          <p:nvPr/>
        </p:nvCxnSpPr>
        <p:spPr>
          <a:xfrm>
            <a:off x="3997666" y="3528882"/>
            <a:ext cx="657461" cy="0"/>
          </a:xfrm>
          <a:prstGeom prst="line">
            <a:avLst/>
          </a:prstGeom>
          <a:noFill/>
          <a:ln w="15875" cap="flat" cmpd="sng" algn="ctr">
            <a:solidFill>
              <a:schemeClr val="bg1"/>
            </a:solidFill>
            <a:prstDash val="dash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9331EDB5-86B4-4E09-8B21-644C0E0440CC}"/>
              </a:ext>
            </a:extLst>
          </p:cNvPr>
          <p:cNvCxnSpPr>
            <a:cxnSpLocks/>
          </p:cNvCxnSpPr>
          <p:nvPr/>
        </p:nvCxnSpPr>
        <p:spPr>
          <a:xfrm>
            <a:off x="4359656" y="4176365"/>
            <a:ext cx="295471" cy="0"/>
          </a:xfrm>
          <a:prstGeom prst="line">
            <a:avLst/>
          </a:prstGeom>
          <a:noFill/>
          <a:ln w="15875" cap="flat" cmpd="sng" algn="ctr">
            <a:solidFill>
              <a:schemeClr val="bg1"/>
            </a:solidFill>
            <a:prstDash val="dash"/>
            <a:miter lim="800000"/>
            <a:headEnd type="oval" w="med" len="med"/>
            <a:tailEnd type="oval" w="med" len="med"/>
          </a:ln>
          <a:effectLst/>
        </p:spPr>
      </p:cxnSp>
      <p:sp>
        <p:nvSpPr>
          <p:cNvPr id="159" name="TextBox 158">
            <a:extLst>
              <a:ext uri="{FF2B5EF4-FFF2-40B4-BE49-F238E27FC236}">
                <a16:creationId xmlns:a16="http://schemas.microsoft.com/office/drawing/2014/main" id="{9E6BEEBD-9837-4ACE-B5B6-9F8B1488BA79}"/>
              </a:ext>
            </a:extLst>
          </p:cNvPr>
          <p:cNvSpPr txBox="1"/>
          <p:nvPr/>
        </p:nvSpPr>
        <p:spPr>
          <a:xfrm>
            <a:off x="4805886" y="3922364"/>
            <a:ext cx="1080000" cy="553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828"/>
            <a:r>
              <a:rPr lang="ru-RU" sz="1199" b="1" dirty="0">
                <a:solidFill>
                  <a:schemeClr val="tx2"/>
                </a:solidFill>
                <a:latin typeface="Cera CY" panose="00000500000000000000" pitchFamily="2" charset="-52"/>
              </a:rPr>
              <a:t>Лица вне периметра БСК</a:t>
            </a:r>
          </a:p>
        </p:txBody>
      </p:sp>
      <p:sp>
        <p:nvSpPr>
          <p:cNvPr id="116" name="Прямоугольник: скругленные углы 37">
            <a:extLst>
              <a:ext uri="{FF2B5EF4-FFF2-40B4-BE49-F238E27FC236}">
                <a16:creationId xmlns:a16="http://schemas.microsoft.com/office/drawing/2014/main" id="{88214528-8C4D-7B43-4A53-68E644159289}"/>
              </a:ext>
            </a:extLst>
          </p:cNvPr>
          <p:cNvSpPr/>
          <p:nvPr/>
        </p:nvSpPr>
        <p:spPr>
          <a:xfrm>
            <a:off x="8569410" y="1055077"/>
            <a:ext cx="3159107" cy="5075749"/>
          </a:xfrm>
          <a:prstGeom prst="roundRect">
            <a:avLst>
              <a:gd name="adj" fmla="val 654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17" name="Текст 7">
            <a:extLst>
              <a:ext uri="{FF2B5EF4-FFF2-40B4-BE49-F238E27FC236}">
                <a16:creationId xmlns:a16="http://schemas.microsoft.com/office/drawing/2014/main" id="{5299B7B3-7BC5-419F-AE59-CA5DD34F5937}"/>
              </a:ext>
            </a:extLst>
          </p:cNvPr>
          <p:cNvSpPr txBox="1">
            <a:spLocks/>
          </p:cNvSpPr>
          <p:nvPr/>
        </p:nvSpPr>
        <p:spPr>
          <a:xfrm>
            <a:off x="8740024" y="1052513"/>
            <a:ext cx="2802063" cy="5078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63538" indent="-3635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lang="ru-RU"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804863" indent="-34766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255713" indent="-34131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708150" indent="-3365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147888" indent="-3190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  <a:buChar char="—"/>
              <a:defRPr sz="1400" kern="1200">
                <a:solidFill>
                  <a:srgbClr val="343D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600"/>
              </a:spcAft>
              <a:buClr>
                <a:schemeClr val="accent6"/>
              </a:buClr>
              <a:buNone/>
            </a:pPr>
            <a:r>
              <a:rPr lang="ru-RU" sz="1600" b="1" dirty="0" smtClean="0">
                <a:solidFill>
                  <a:schemeClr val="tx1"/>
                </a:solidFill>
                <a:latin typeface="Cera CY" pitchFamily="2" charset="0"/>
              </a:rPr>
              <a:t>Типовые </a:t>
            </a:r>
            <a:r>
              <a:rPr lang="ru-RU" sz="1600" b="1" dirty="0">
                <a:solidFill>
                  <a:schemeClr val="tx1"/>
                </a:solidFill>
                <a:latin typeface="Cera CY" pitchFamily="2" charset="0"/>
              </a:rPr>
              <a:t>исключения </a:t>
            </a:r>
            <a:br>
              <a:rPr lang="ru-RU" sz="1600" b="1" dirty="0">
                <a:solidFill>
                  <a:schemeClr val="tx1"/>
                </a:solidFill>
                <a:latin typeface="Cera CY" pitchFamily="2" charset="0"/>
              </a:rPr>
            </a:br>
            <a:r>
              <a:rPr lang="ru-RU" sz="1600" b="1" dirty="0">
                <a:solidFill>
                  <a:schemeClr val="tx1"/>
                </a:solidFill>
                <a:latin typeface="Cera CY" pitchFamily="2" charset="0"/>
              </a:rPr>
              <a:t>из периметра банковского сопровождения:</a:t>
            </a:r>
          </a:p>
          <a:p>
            <a:pPr marL="144000" indent="-144000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Cera CY" pitchFamily="2" charset="0"/>
              </a:rPr>
              <a:t>Работники</a:t>
            </a:r>
            <a:r>
              <a:rPr lang="ru-RU" sz="1200" dirty="0">
                <a:solidFill>
                  <a:schemeClr val="tx1"/>
                </a:solidFill>
                <a:latin typeface="Cera CY" pitchFamily="2" charset="0"/>
              </a:rPr>
              <a:t>, получающие денежные </a:t>
            </a:r>
            <a:br>
              <a:rPr lang="ru-RU" sz="1200" dirty="0">
                <a:solidFill>
                  <a:schemeClr val="tx1"/>
                </a:solidFill>
                <a:latin typeface="Cera CY" pitchFamily="2" charset="0"/>
              </a:rPr>
            </a:br>
            <a:r>
              <a:rPr lang="ru-RU" sz="1200" dirty="0">
                <a:solidFill>
                  <a:schemeClr val="tx1"/>
                </a:solidFill>
                <a:latin typeface="Cera CY" pitchFamily="2" charset="0"/>
              </a:rPr>
              <a:t>средства в счет оплаты </a:t>
            </a:r>
            <a:br>
              <a:rPr lang="ru-RU" sz="1200" dirty="0">
                <a:solidFill>
                  <a:schemeClr val="tx1"/>
                </a:solidFill>
                <a:latin typeface="Cera CY" pitchFamily="2" charset="0"/>
              </a:rPr>
            </a:br>
            <a:r>
              <a:rPr lang="ru-RU" sz="1200" dirty="0">
                <a:solidFill>
                  <a:schemeClr val="tx1"/>
                </a:solidFill>
                <a:latin typeface="Cera CY" pitchFamily="2" charset="0"/>
              </a:rPr>
              <a:t>за выполнение своих трудовых обязанностей</a:t>
            </a:r>
          </a:p>
          <a:p>
            <a:pPr marL="144000" indent="-144000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Cera CY" pitchFamily="2" charset="0"/>
              </a:rPr>
              <a:t>Федеральные органы государственной </a:t>
            </a:r>
            <a:r>
              <a:rPr lang="ru-RU" sz="1200" dirty="0" smtClean="0">
                <a:solidFill>
                  <a:schemeClr val="tx1"/>
                </a:solidFill>
                <a:latin typeface="Cera CY" pitchFamily="2" charset="0"/>
              </a:rPr>
              <a:t>власти, органы </a:t>
            </a:r>
            <a:r>
              <a:rPr lang="ru-RU" sz="1200" dirty="0">
                <a:solidFill>
                  <a:schemeClr val="tx1"/>
                </a:solidFill>
                <a:latin typeface="Cera CY" pitchFamily="2" charset="0"/>
              </a:rPr>
              <a:t>государственной власти субъектов иностранного государства, органы местного самоуправления</a:t>
            </a:r>
          </a:p>
          <a:p>
            <a:pPr marL="144000" indent="-144000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Cera CY" pitchFamily="2" charset="0"/>
              </a:rPr>
              <a:t>Субъекты </a:t>
            </a:r>
            <a:r>
              <a:rPr lang="ru-RU" sz="1200" dirty="0">
                <a:solidFill>
                  <a:schemeClr val="tx1"/>
                </a:solidFill>
                <a:latin typeface="Cera CY" pitchFamily="2" charset="0"/>
              </a:rPr>
              <a:t>естественных монополий</a:t>
            </a:r>
          </a:p>
          <a:p>
            <a:pPr marL="144000" indent="-144000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Cera CY" pitchFamily="2" charset="0"/>
              </a:rPr>
              <a:t>Непосредственные производители материально-технических ресурсов, </a:t>
            </a:r>
            <a:r>
              <a:rPr lang="ru-RU" sz="1200" dirty="0" smtClean="0">
                <a:solidFill>
                  <a:schemeClr val="tx1"/>
                </a:solidFill>
                <a:latin typeface="Cera CY" pitchFamily="2" charset="0"/>
              </a:rPr>
              <a:t>их </a:t>
            </a:r>
            <a:r>
              <a:rPr lang="ru-RU" sz="1200" dirty="0">
                <a:solidFill>
                  <a:schemeClr val="tx1"/>
                </a:solidFill>
                <a:latin typeface="Cera CY" pitchFamily="2" charset="0"/>
              </a:rPr>
              <a:t>дилеры и дистрибьюторы, а также официальные представители</a:t>
            </a:r>
          </a:p>
          <a:p>
            <a:pPr marL="144000" indent="-144000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Cera CY" pitchFamily="2" charset="0"/>
              </a:rPr>
              <a:t>Лица, выполняющие работы (поставляющие товары, оказывающие услуги) по договорам на общую сумму менее Лимита существенности</a:t>
            </a:r>
          </a:p>
          <a:p>
            <a:pPr marL="144000" indent="-144000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Cera CY" pitchFamily="2" charset="0"/>
            </a:endParaRPr>
          </a:p>
        </p:txBody>
      </p:sp>
      <p:grpSp>
        <p:nvGrpSpPr>
          <p:cNvPr id="119" name="Группа 118">
            <a:extLst>
              <a:ext uri="{FF2B5EF4-FFF2-40B4-BE49-F238E27FC236}">
                <a16:creationId xmlns:a16="http://schemas.microsoft.com/office/drawing/2014/main" id="{2B2FAB54-C79E-461E-9224-5D72A0F2B203}"/>
              </a:ext>
            </a:extLst>
          </p:cNvPr>
          <p:cNvGrpSpPr/>
          <p:nvPr/>
        </p:nvGrpSpPr>
        <p:grpSpPr>
          <a:xfrm>
            <a:off x="473974" y="5491785"/>
            <a:ext cx="612000" cy="612000"/>
            <a:chOff x="4894050" y="4132480"/>
            <a:chExt cx="612000" cy="612000"/>
          </a:xfrm>
        </p:grpSpPr>
        <p:sp>
          <p:nvSpPr>
            <p:cNvPr id="120" name="Полилиния: фигура 92">
              <a:extLst>
                <a:ext uri="{FF2B5EF4-FFF2-40B4-BE49-F238E27FC236}">
                  <a16:creationId xmlns:a16="http://schemas.microsoft.com/office/drawing/2014/main" id="{DDE1F33C-4654-4DD2-9B03-E39E8F71914E}"/>
                </a:ext>
              </a:extLst>
            </p:cNvPr>
            <p:cNvSpPr/>
            <p:nvPr/>
          </p:nvSpPr>
          <p:spPr>
            <a:xfrm>
              <a:off x="4894050" y="4132480"/>
              <a:ext cx="612000" cy="612000"/>
            </a:xfrm>
            <a:custGeom>
              <a:avLst/>
              <a:gdLst>
                <a:gd name="connsiteX0" fmla="*/ 612000 w 612000"/>
                <a:gd name="connsiteY0" fmla="*/ 306000 h 612000"/>
                <a:gd name="connsiteX1" fmla="*/ 306000 w 612000"/>
                <a:gd name="connsiteY1" fmla="*/ 612000 h 612000"/>
                <a:gd name="connsiteX2" fmla="*/ 0 w 612000"/>
                <a:gd name="connsiteY2" fmla="*/ 306000 h 612000"/>
                <a:gd name="connsiteX3" fmla="*/ 306000 w 612000"/>
                <a:gd name="connsiteY3" fmla="*/ 0 h 612000"/>
                <a:gd name="connsiteX4" fmla="*/ 612000 w 612000"/>
                <a:gd name="connsiteY4" fmla="*/ 30600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612000">
                  <a:moveTo>
                    <a:pt x="612000" y="306000"/>
                  </a:move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ubicBezTo>
                    <a:pt x="474999" y="0"/>
                    <a:pt x="612000" y="137001"/>
                    <a:pt x="612000" y="306000"/>
                  </a:cubicBezTo>
                  <a:close/>
                </a:path>
              </a:pathLst>
            </a:custGeom>
            <a:solidFill>
              <a:srgbClr val="FF7900"/>
            </a:solidFill>
            <a:ln w="725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124" name="Полилиния: фигура 93">
              <a:extLst>
                <a:ext uri="{FF2B5EF4-FFF2-40B4-BE49-F238E27FC236}">
                  <a16:creationId xmlns:a16="http://schemas.microsoft.com/office/drawing/2014/main" id="{C156B57B-E929-47DE-B74D-ED1C52FB0146}"/>
                </a:ext>
              </a:extLst>
            </p:cNvPr>
            <p:cNvSpPr/>
            <p:nvPr/>
          </p:nvSpPr>
          <p:spPr>
            <a:xfrm>
              <a:off x="5017907" y="4256337"/>
              <a:ext cx="364285" cy="364285"/>
            </a:xfrm>
            <a:custGeom>
              <a:avLst/>
              <a:gdLst>
                <a:gd name="connsiteX0" fmla="*/ 182143 w 364285"/>
                <a:gd name="connsiteY0" fmla="*/ 364286 h 364285"/>
                <a:gd name="connsiteX1" fmla="*/ 0 w 364285"/>
                <a:gd name="connsiteY1" fmla="*/ 182143 h 364285"/>
                <a:gd name="connsiteX2" fmla="*/ 182143 w 364285"/>
                <a:gd name="connsiteY2" fmla="*/ 0 h 364285"/>
                <a:gd name="connsiteX3" fmla="*/ 364286 w 364285"/>
                <a:gd name="connsiteY3" fmla="*/ 182143 h 364285"/>
                <a:gd name="connsiteX4" fmla="*/ 182143 w 364285"/>
                <a:gd name="connsiteY4" fmla="*/ 364286 h 364285"/>
                <a:gd name="connsiteX5" fmla="*/ 182143 w 364285"/>
                <a:gd name="connsiteY5" fmla="*/ 14571 h 364285"/>
                <a:gd name="connsiteX6" fmla="*/ 14571 w 364285"/>
                <a:gd name="connsiteY6" fmla="*/ 182143 h 364285"/>
                <a:gd name="connsiteX7" fmla="*/ 182143 w 364285"/>
                <a:gd name="connsiteY7" fmla="*/ 349714 h 364285"/>
                <a:gd name="connsiteX8" fmla="*/ 349714 w 364285"/>
                <a:gd name="connsiteY8" fmla="*/ 182143 h 364285"/>
                <a:gd name="connsiteX9" fmla="*/ 182143 w 364285"/>
                <a:gd name="connsiteY9" fmla="*/ 14571 h 364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285" h="364285">
                  <a:moveTo>
                    <a:pt x="182143" y="364286"/>
                  </a:moveTo>
                  <a:cubicBezTo>
                    <a:pt x="81548" y="364286"/>
                    <a:pt x="0" y="282737"/>
                    <a:pt x="0" y="182143"/>
                  </a:cubicBezTo>
                  <a:cubicBezTo>
                    <a:pt x="0" y="81548"/>
                    <a:pt x="81548" y="0"/>
                    <a:pt x="182143" y="0"/>
                  </a:cubicBezTo>
                  <a:cubicBezTo>
                    <a:pt x="282737" y="0"/>
                    <a:pt x="364286" y="81548"/>
                    <a:pt x="364286" y="182143"/>
                  </a:cubicBezTo>
                  <a:cubicBezTo>
                    <a:pt x="364045" y="282638"/>
                    <a:pt x="282638" y="364045"/>
                    <a:pt x="182143" y="364286"/>
                  </a:cubicBezTo>
                  <a:close/>
                  <a:moveTo>
                    <a:pt x="182143" y="14571"/>
                  </a:moveTo>
                  <a:cubicBezTo>
                    <a:pt x="89596" y="14571"/>
                    <a:pt x="14571" y="89596"/>
                    <a:pt x="14571" y="182143"/>
                  </a:cubicBezTo>
                  <a:cubicBezTo>
                    <a:pt x="14571" y="274690"/>
                    <a:pt x="89596" y="349714"/>
                    <a:pt x="182143" y="349714"/>
                  </a:cubicBezTo>
                  <a:cubicBezTo>
                    <a:pt x="274690" y="349714"/>
                    <a:pt x="349714" y="274690"/>
                    <a:pt x="349714" y="182143"/>
                  </a:cubicBezTo>
                  <a:cubicBezTo>
                    <a:pt x="349514" y="89679"/>
                    <a:pt x="274607" y="14772"/>
                    <a:pt x="182143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Полилиния: фигура 94">
              <a:extLst>
                <a:ext uri="{FF2B5EF4-FFF2-40B4-BE49-F238E27FC236}">
                  <a16:creationId xmlns:a16="http://schemas.microsoft.com/office/drawing/2014/main" id="{C70B68F5-78BC-4E97-9BD1-632F44295982}"/>
                </a:ext>
              </a:extLst>
            </p:cNvPr>
            <p:cNvSpPr/>
            <p:nvPr/>
          </p:nvSpPr>
          <p:spPr>
            <a:xfrm>
              <a:off x="5192764" y="4540480"/>
              <a:ext cx="14571" cy="29798"/>
            </a:xfrm>
            <a:custGeom>
              <a:avLst/>
              <a:gdLst>
                <a:gd name="connsiteX0" fmla="*/ 7286 w 14571"/>
                <a:gd name="connsiteY0" fmla="*/ 29799 h 29798"/>
                <a:gd name="connsiteX1" fmla="*/ 0 w 14571"/>
                <a:gd name="connsiteY1" fmla="*/ 22513 h 29798"/>
                <a:gd name="connsiteX2" fmla="*/ 0 w 14571"/>
                <a:gd name="connsiteY2" fmla="*/ 7286 h 29798"/>
                <a:gd name="connsiteX3" fmla="*/ 7286 w 14571"/>
                <a:gd name="connsiteY3" fmla="*/ 0 h 29798"/>
                <a:gd name="connsiteX4" fmla="*/ 14571 w 14571"/>
                <a:gd name="connsiteY4" fmla="*/ 7286 h 29798"/>
                <a:gd name="connsiteX5" fmla="*/ 14571 w 14571"/>
                <a:gd name="connsiteY5" fmla="*/ 22513 h 29798"/>
                <a:gd name="connsiteX6" fmla="*/ 7286 w 14571"/>
                <a:gd name="connsiteY6" fmla="*/ 29799 h 29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29798">
                  <a:moveTo>
                    <a:pt x="7286" y="29799"/>
                  </a:moveTo>
                  <a:cubicBezTo>
                    <a:pt x="3262" y="29799"/>
                    <a:pt x="0" y="26537"/>
                    <a:pt x="0" y="22513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22513"/>
                  </a:lnTo>
                  <a:cubicBezTo>
                    <a:pt x="14571" y="26537"/>
                    <a:pt x="11310" y="29799"/>
                    <a:pt x="7286" y="29799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Полилиния: фигура 95">
              <a:extLst>
                <a:ext uri="{FF2B5EF4-FFF2-40B4-BE49-F238E27FC236}">
                  <a16:creationId xmlns:a16="http://schemas.microsoft.com/office/drawing/2014/main" id="{C62A7F90-39D4-4E40-B9FA-DD1F516FED6F}"/>
                </a:ext>
              </a:extLst>
            </p:cNvPr>
            <p:cNvSpPr/>
            <p:nvPr/>
          </p:nvSpPr>
          <p:spPr>
            <a:xfrm>
              <a:off x="5192764" y="4315205"/>
              <a:ext cx="14571" cy="196131"/>
            </a:xfrm>
            <a:custGeom>
              <a:avLst/>
              <a:gdLst>
                <a:gd name="connsiteX0" fmla="*/ 7286 w 14571"/>
                <a:gd name="connsiteY0" fmla="*/ 196131 h 196131"/>
                <a:gd name="connsiteX1" fmla="*/ 0 w 14571"/>
                <a:gd name="connsiteY1" fmla="*/ 188846 h 196131"/>
                <a:gd name="connsiteX2" fmla="*/ 0 w 14571"/>
                <a:gd name="connsiteY2" fmla="*/ 7286 h 196131"/>
                <a:gd name="connsiteX3" fmla="*/ 7286 w 14571"/>
                <a:gd name="connsiteY3" fmla="*/ 0 h 196131"/>
                <a:gd name="connsiteX4" fmla="*/ 14571 w 14571"/>
                <a:gd name="connsiteY4" fmla="*/ 7286 h 196131"/>
                <a:gd name="connsiteX5" fmla="*/ 14571 w 14571"/>
                <a:gd name="connsiteY5" fmla="*/ 188846 h 196131"/>
                <a:gd name="connsiteX6" fmla="*/ 7286 w 14571"/>
                <a:gd name="connsiteY6" fmla="*/ 196131 h 196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196131">
                  <a:moveTo>
                    <a:pt x="7286" y="196131"/>
                  </a:moveTo>
                  <a:cubicBezTo>
                    <a:pt x="3262" y="196131"/>
                    <a:pt x="0" y="192870"/>
                    <a:pt x="0" y="188846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188846"/>
                  </a:lnTo>
                  <a:cubicBezTo>
                    <a:pt x="14571" y="192870"/>
                    <a:pt x="11310" y="196131"/>
                    <a:pt x="7286" y="19613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160" name="Прямая соединительная линия 159">
            <a:extLst>
              <a:ext uri="{FF2B5EF4-FFF2-40B4-BE49-F238E27FC236}">
                <a16:creationId xmlns:a16="http://schemas.microsoft.com/office/drawing/2014/main" id="{E2106E94-BF8A-4463-8921-84368E47125A}"/>
              </a:ext>
            </a:extLst>
          </p:cNvPr>
          <p:cNvCxnSpPr>
            <a:cxnSpLocks/>
          </p:cNvCxnSpPr>
          <p:nvPr/>
        </p:nvCxnSpPr>
        <p:spPr>
          <a:xfrm>
            <a:off x="2878988" y="1743722"/>
            <a:ext cx="1776139" cy="0"/>
          </a:xfrm>
          <a:prstGeom prst="line">
            <a:avLst/>
          </a:prstGeom>
          <a:noFill/>
          <a:ln w="15875" cap="flat" cmpd="sng" algn="ctr">
            <a:solidFill>
              <a:schemeClr val="bg1"/>
            </a:solidFill>
            <a:prstDash val="dash"/>
            <a:miter lim="800000"/>
            <a:headEnd type="oval" w="med" len="med"/>
            <a:tailEnd type="oval" w="med" len="med"/>
          </a:ln>
          <a:effectLst/>
        </p:spPr>
      </p:cxnSp>
      <p:sp>
        <p:nvSpPr>
          <p:cNvPr id="162" name="Текст 20"/>
          <p:cNvSpPr txBox="1">
            <a:spLocks/>
          </p:cNvSpPr>
          <p:nvPr/>
        </p:nvSpPr>
        <p:spPr>
          <a:xfrm>
            <a:off x="1282266" y="5510470"/>
            <a:ext cx="6816160" cy="55399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ru-RU"/>
            </a:defPPr>
            <a:lvl1pPr marL="0" algn="r" defTabSz="716615" rtl="0" eaLnBrk="1" latinLnBrk="0" hangingPunct="1">
              <a:defRPr sz="800" b="0" kern="1200">
                <a:solidFill>
                  <a:schemeClr val="tx1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358308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6615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923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3231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1538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49846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08153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66461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chemeClr val="accent6"/>
                </a:solidFill>
                <a:latin typeface="Cera CY" panose="00000500000000000000" pitchFamily="50" charset="-52"/>
              </a:rPr>
              <a:t>Более 75% нецелевых расходов </a:t>
            </a:r>
            <a:r>
              <a:rPr lang="ru-RU" sz="1800" b="1" dirty="0" smtClean="0">
                <a:solidFill>
                  <a:schemeClr val="accent6"/>
                </a:solidFill>
                <a:latin typeface="Cera CY" panose="00000500000000000000" pitchFamily="50" charset="-52"/>
              </a:rPr>
              <a:t>предотвращается </a:t>
            </a:r>
            <a:r>
              <a:rPr lang="ru-RU" sz="1800" b="1" dirty="0">
                <a:solidFill>
                  <a:schemeClr val="accent6"/>
                </a:solidFill>
                <a:latin typeface="Cera CY" panose="00000500000000000000" pitchFamily="50" charset="-52"/>
              </a:rPr>
              <a:t>на 3-4 уровнях кооперации</a:t>
            </a:r>
          </a:p>
        </p:txBody>
      </p:sp>
      <p:sp>
        <p:nvSpPr>
          <p:cNvPr id="118" name="Текст 2"/>
          <p:cNvSpPr txBox="1">
            <a:spLocks/>
          </p:cNvSpPr>
          <p:nvPr/>
        </p:nvSpPr>
        <p:spPr>
          <a:xfrm>
            <a:off x="-191236" y="666785"/>
            <a:ext cx="830612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None/>
              <a:defRPr lang="ru-RU" sz="3200" b="0" kern="1200">
                <a:solidFill>
                  <a:srgbClr val="00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 smtClean="0">
                <a:solidFill>
                  <a:srgbClr val="C00000"/>
                </a:solidFill>
              </a:rPr>
              <a:t>Выбор оптимальной кооперации остается за Заказчиком  </a:t>
            </a:r>
            <a:endParaRPr lang="ru-RU" sz="2000" dirty="0">
              <a:solidFill>
                <a:srgbClr val="C00000"/>
              </a:solidFill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7499200" y="677941"/>
            <a:ext cx="282856" cy="282856"/>
          </a:xfrm>
          <a:prstGeom prst="ellipse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1" name="Овал 160"/>
          <p:cNvSpPr/>
          <p:nvPr/>
        </p:nvSpPr>
        <p:spPr>
          <a:xfrm>
            <a:off x="2807199" y="3223640"/>
            <a:ext cx="644131" cy="644131"/>
          </a:xfrm>
          <a:prstGeom prst="ellipse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Овал 164"/>
          <p:cNvSpPr/>
          <p:nvPr/>
        </p:nvSpPr>
        <p:spPr>
          <a:xfrm>
            <a:off x="2194634" y="2032343"/>
            <a:ext cx="644131" cy="644131"/>
          </a:xfrm>
          <a:prstGeom prst="ellipse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6" name="Овал 165"/>
          <p:cNvSpPr/>
          <p:nvPr/>
        </p:nvSpPr>
        <p:spPr>
          <a:xfrm>
            <a:off x="2487467" y="2635488"/>
            <a:ext cx="644131" cy="644131"/>
          </a:xfrm>
          <a:prstGeom prst="ellipse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7" name="Овал 166"/>
          <p:cNvSpPr/>
          <p:nvPr/>
        </p:nvSpPr>
        <p:spPr>
          <a:xfrm>
            <a:off x="1605175" y="3236562"/>
            <a:ext cx="644131" cy="644131"/>
          </a:xfrm>
          <a:prstGeom prst="ellipse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8816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63EB72ED-ADAA-4A09-83AF-A85B5C5B541F}"/>
              </a:ext>
            </a:extLst>
          </p:cNvPr>
          <p:cNvSpPr/>
          <p:nvPr/>
        </p:nvSpPr>
        <p:spPr>
          <a:xfrm>
            <a:off x="486197" y="1844675"/>
            <a:ext cx="3449216" cy="3960813"/>
          </a:xfrm>
          <a:prstGeom prst="roundRect">
            <a:avLst>
              <a:gd name="adj" fmla="val 90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85C195A8-737D-4F6E-80A8-DA10F27F54F1}"/>
              </a:ext>
            </a:extLst>
          </p:cNvPr>
          <p:cNvSpPr/>
          <p:nvPr/>
        </p:nvSpPr>
        <p:spPr>
          <a:xfrm>
            <a:off x="4367213" y="1844675"/>
            <a:ext cx="3449216" cy="3960813"/>
          </a:xfrm>
          <a:prstGeom prst="roundRect">
            <a:avLst>
              <a:gd name="adj" fmla="val 90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A2DB0F48-A3C8-496E-A990-EA0EB057A29C}"/>
              </a:ext>
            </a:extLst>
          </p:cNvPr>
          <p:cNvSpPr/>
          <p:nvPr/>
        </p:nvSpPr>
        <p:spPr>
          <a:xfrm>
            <a:off x="8269023" y="1844675"/>
            <a:ext cx="3449216" cy="3960813"/>
          </a:xfrm>
          <a:prstGeom prst="roundRect">
            <a:avLst>
              <a:gd name="adj" fmla="val 90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F7CD33CF-4C5A-4DF3-94B5-4D615448505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914329">
              <a:defRPr/>
            </a:pPr>
            <a:fld id="{58A9CFFD-EE99-4E11-B8BC-23AC5DDB75ED}" type="slidenum">
              <a:rPr lang="ru-RU">
                <a:solidFill>
                  <a:srgbClr val="000000"/>
                </a:solidFill>
              </a:rPr>
              <a:pPr defTabSz="914329">
                <a:defRPr/>
              </a:pPr>
              <a:t>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AFDF9E5-4EDD-42F3-81F0-9F2DF2CD537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6197" y="262556"/>
            <a:ext cx="9119530" cy="800219"/>
          </a:xfrm>
        </p:spPr>
        <p:txBody>
          <a:bodyPr>
            <a:spAutoFit/>
          </a:bodyPr>
          <a:lstStyle/>
          <a:p>
            <a:r>
              <a:rPr lang="ru-RU" sz="2600" b="1" dirty="0"/>
              <a:t>Банковское сопровождение –</a:t>
            </a:r>
            <a:r>
              <a:rPr lang="en-US" sz="2600" b="1" dirty="0"/>
              <a:t> </a:t>
            </a:r>
            <a:r>
              <a:rPr lang="ru-RU" sz="2600" b="1" dirty="0"/>
              <a:t/>
            </a:r>
            <a:br>
              <a:rPr lang="ru-RU" sz="2600" b="1" dirty="0"/>
            </a:br>
            <a:r>
              <a:rPr lang="ru-RU" sz="2600" b="1" dirty="0" smtClean="0"/>
              <a:t>технология </a:t>
            </a:r>
            <a:r>
              <a:rPr lang="ru-RU" sz="2600" b="1" dirty="0"/>
              <a:t>управления </a:t>
            </a:r>
            <a:r>
              <a:rPr lang="ru-RU" sz="2600" b="1" dirty="0" smtClean="0"/>
              <a:t>рисками проекта</a:t>
            </a:r>
            <a:endParaRPr lang="ru-RU" sz="2600" b="1" dirty="0"/>
          </a:p>
        </p:txBody>
      </p:sp>
      <p:sp>
        <p:nvSpPr>
          <p:cNvPr id="10" name="Текст 19"/>
          <p:cNvSpPr txBox="1">
            <a:spLocks/>
          </p:cNvSpPr>
          <p:nvPr/>
        </p:nvSpPr>
        <p:spPr>
          <a:xfrm>
            <a:off x="1303102" y="2086344"/>
            <a:ext cx="2399840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ru-RU" sz="1400" kern="1200" dirty="0" smtClean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>
                <a:latin typeface="Cera CY" panose="00000500000000000000" pitchFamily="50" charset="-52"/>
              </a:rPr>
              <a:t>Мониторинг </a:t>
            </a:r>
            <a:r>
              <a:rPr lang="ru-RU" sz="1800" b="1">
                <a:latin typeface="Cera CY" panose="00000500000000000000" pitchFamily="50" charset="-52"/>
              </a:rPr>
              <a:t>расчетов </a:t>
            </a:r>
            <a:br>
              <a:rPr lang="ru-RU" sz="1800" b="1">
                <a:latin typeface="Cera CY" panose="00000500000000000000" pitchFamily="50" charset="-52"/>
              </a:rPr>
            </a:br>
            <a:r>
              <a:rPr lang="ru-RU" sz="1800" b="1">
                <a:latin typeface="Cera CY" panose="00000500000000000000" pitchFamily="50" charset="-52"/>
              </a:rPr>
              <a:t>при </a:t>
            </a:r>
            <a:r>
              <a:rPr lang="ru-RU" sz="1800" b="1" dirty="0">
                <a:latin typeface="Cera CY" panose="00000500000000000000" pitchFamily="50" charset="-52"/>
              </a:rPr>
              <a:t>исполнении контракта</a:t>
            </a:r>
          </a:p>
        </p:txBody>
      </p:sp>
      <p:sp>
        <p:nvSpPr>
          <p:cNvPr id="11" name="Текст 20"/>
          <p:cNvSpPr txBox="1">
            <a:spLocks/>
          </p:cNvSpPr>
          <p:nvPr/>
        </p:nvSpPr>
        <p:spPr>
          <a:xfrm>
            <a:off x="766934" y="3562238"/>
            <a:ext cx="2830210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marL="0" algn="r" defTabSz="716615" rtl="0" eaLnBrk="1" latinLnBrk="0" hangingPunct="1">
              <a:defRPr sz="800" b="0" kern="1200">
                <a:solidFill>
                  <a:schemeClr val="tx1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358308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6615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923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3231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1538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49846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08153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66461" algn="l" defTabSz="716615" rtl="0" eaLnBrk="1" latinLnBrk="0" hangingPunct="1">
              <a:defRPr sz="14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400" dirty="0">
                <a:latin typeface="Cera CY" panose="00000500000000000000" pitchFamily="50" charset="-52"/>
              </a:rPr>
              <a:t>Использование системы отдельных счетов, открытых </a:t>
            </a:r>
            <a:br>
              <a:rPr lang="ru-RU" sz="1400" dirty="0">
                <a:latin typeface="Cera CY" panose="00000500000000000000" pitchFamily="50" charset="-52"/>
              </a:rPr>
            </a:br>
            <a:r>
              <a:rPr lang="ru-RU" sz="1400" dirty="0">
                <a:latin typeface="Cera CY" panose="00000500000000000000" pitchFamily="50" charset="-52"/>
              </a:rPr>
              <a:t>в Банке ГПБ (АО) участниками исполнения контракта</a:t>
            </a:r>
            <a:r>
              <a:rPr lang="ru-RU" sz="1400" b="1" dirty="0">
                <a:latin typeface="Cera CY" panose="00000500000000000000" pitchFamily="50" charset="-52"/>
              </a:rPr>
              <a:t>, позволяет обеспечивать прозрачность реализации проекта </a:t>
            </a:r>
            <a:r>
              <a:rPr lang="ru-RU" sz="1400" dirty="0">
                <a:latin typeface="Cera CY" panose="00000500000000000000" pitchFamily="50" charset="-52"/>
              </a:rPr>
              <a:t>и отслеживать расчеты внутри кооперации</a:t>
            </a:r>
          </a:p>
        </p:txBody>
      </p:sp>
      <p:sp>
        <p:nvSpPr>
          <p:cNvPr id="12" name="Текст 21"/>
          <p:cNvSpPr txBox="1">
            <a:spLocks/>
          </p:cNvSpPr>
          <p:nvPr/>
        </p:nvSpPr>
        <p:spPr>
          <a:xfrm>
            <a:off x="5184118" y="2086344"/>
            <a:ext cx="2484000" cy="12464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None/>
              <a:defRPr lang="ru-RU" sz="3200" b="0" kern="1200">
                <a:solidFill>
                  <a:srgbClr val="00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ru-RU" sz="1800" b="1" dirty="0">
                <a:solidFill>
                  <a:schemeClr val="tx1"/>
                </a:solidFill>
                <a:latin typeface="Cera CY" panose="00000500000000000000" pitchFamily="50" charset="-52"/>
              </a:rPr>
              <a:t>Контроль целевого </a:t>
            </a:r>
            <a:br>
              <a:rPr lang="ru-RU" sz="1800" b="1" dirty="0">
                <a:solidFill>
                  <a:schemeClr val="tx1"/>
                </a:solidFill>
                <a:latin typeface="Cera CY" panose="00000500000000000000" pitchFamily="50" charset="-52"/>
              </a:rPr>
            </a:br>
            <a:r>
              <a:rPr lang="ru-RU" sz="1800" b="1" dirty="0">
                <a:solidFill>
                  <a:schemeClr val="tx1"/>
                </a:solidFill>
                <a:latin typeface="Cera CY" panose="00000500000000000000" pitchFamily="50" charset="-52"/>
              </a:rPr>
              <a:t>использования денежных средств </a:t>
            </a:r>
            <a:br>
              <a:rPr lang="ru-RU" sz="1800" b="1" dirty="0">
                <a:solidFill>
                  <a:schemeClr val="tx1"/>
                </a:solidFill>
                <a:latin typeface="Cera CY" panose="00000500000000000000" pitchFamily="50" charset="-52"/>
              </a:rPr>
            </a:br>
            <a:r>
              <a:rPr lang="ru-RU" sz="1800" b="1" dirty="0">
                <a:solidFill>
                  <a:schemeClr val="tx1"/>
                </a:solidFill>
                <a:latin typeface="Cera CY" panose="00000500000000000000" pitchFamily="50" charset="-52"/>
              </a:rPr>
              <a:t>по сопровождаемому </a:t>
            </a:r>
            <a:br>
              <a:rPr lang="ru-RU" sz="1800" b="1" dirty="0">
                <a:solidFill>
                  <a:schemeClr val="tx1"/>
                </a:solidFill>
                <a:latin typeface="Cera CY" panose="00000500000000000000" pitchFamily="50" charset="-52"/>
              </a:rPr>
            </a:br>
            <a:r>
              <a:rPr lang="ru-RU" sz="1800" b="1" dirty="0">
                <a:solidFill>
                  <a:schemeClr val="tx1"/>
                </a:solidFill>
                <a:latin typeface="Cera CY" panose="00000500000000000000" pitchFamily="50" charset="-52"/>
              </a:rPr>
              <a:t>контракту </a:t>
            </a:r>
          </a:p>
        </p:txBody>
      </p:sp>
      <p:sp>
        <p:nvSpPr>
          <p:cNvPr id="13" name="Текст 22"/>
          <p:cNvSpPr txBox="1">
            <a:spLocks/>
          </p:cNvSpPr>
          <p:nvPr/>
        </p:nvSpPr>
        <p:spPr>
          <a:xfrm>
            <a:off x="4659749" y="3562238"/>
            <a:ext cx="3071087" cy="193899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>
              <a:defRPr sz="1200" b="0"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1400" dirty="0"/>
              <a:t>Проведение профессиональной экспертизы обосновывающих документов на предмет соответствия платежа принимаемым работам </a:t>
            </a:r>
            <a:endParaRPr lang="ru-RU" sz="1400" dirty="0" smtClean="0"/>
          </a:p>
          <a:p>
            <a:r>
              <a:rPr lang="ru-RU" sz="1400" dirty="0" smtClean="0"/>
              <a:t>(</a:t>
            </a:r>
            <a:r>
              <a:rPr lang="ru-RU" sz="1400" dirty="0"/>
              <a:t>товарам, услугам), а также условиям заключенных договоров способствует </a:t>
            </a:r>
            <a:r>
              <a:rPr lang="ru-RU" sz="1400" b="1" dirty="0"/>
              <a:t>эффективному использованию средств</a:t>
            </a:r>
          </a:p>
        </p:txBody>
      </p:sp>
      <p:sp>
        <p:nvSpPr>
          <p:cNvPr id="14" name="Текст 23"/>
          <p:cNvSpPr txBox="1">
            <a:spLocks/>
          </p:cNvSpPr>
          <p:nvPr/>
        </p:nvSpPr>
        <p:spPr>
          <a:xfrm>
            <a:off x="9129910" y="2086344"/>
            <a:ext cx="2484000" cy="12464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ru-RU" sz="1400" kern="1200" dirty="0" smtClean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>
                <a:latin typeface="Cera CY" panose="00000500000000000000" pitchFamily="50" charset="-52"/>
              </a:rPr>
              <a:t>Информирование </a:t>
            </a:r>
            <a:br>
              <a:rPr lang="ru-RU" sz="1800" b="1" dirty="0">
                <a:latin typeface="Cera CY" panose="00000500000000000000" pitchFamily="50" charset="-52"/>
              </a:rPr>
            </a:br>
            <a:r>
              <a:rPr lang="ru-RU" sz="1800" b="1">
                <a:latin typeface="Cera CY" panose="00000500000000000000" pitchFamily="50" charset="-52"/>
              </a:rPr>
              <a:t>заказчика </a:t>
            </a:r>
            <a:br>
              <a:rPr lang="ru-RU" sz="1800" b="1">
                <a:latin typeface="Cera CY" panose="00000500000000000000" pitchFamily="50" charset="-52"/>
              </a:rPr>
            </a:br>
            <a:r>
              <a:rPr lang="ru-RU" sz="1800" b="1">
                <a:latin typeface="Cera CY" panose="00000500000000000000" pitchFamily="50" charset="-52"/>
              </a:rPr>
              <a:t>о </a:t>
            </a:r>
            <a:r>
              <a:rPr lang="ru-RU" sz="1800" b="1" dirty="0">
                <a:latin typeface="Cera CY" panose="00000500000000000000" pitchFamily="50" charset="-52"/>
              </a:rPr>
              <a:t>результатах банковского сопровождения</a:t>
            </a:r>
          </a:p>
        </p:txBody>
      </p:sp>
      <p:sp>
        <p:nvSpPr>
          <p:cNvPr id="15" name="Текст 24"/>
          <p:cNvSpPr txBox="1">
            <a:spLocks/>
          </p:cNvSpPr>
          <p:nvPr/>
        </p:nvSpPr>
        <p:spPr>
          <a:xfrm>
            <a:off x="8565325" y="3562238"/>
            <a:ext cx="2823112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>
              <a:defRPr sz="1200" b="0">
                <a:latin typeface="Cera CY" panose="00000500000000000000" pitchFamily="50" charset="-52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1400" dirty="0"/>
              <a:t>Предоставление актуальной отчетности в режиме реального времени </a:t>
            </a:r>
            <a:r>
              <a:rPr lang="ru-RU" sz="1400" b="1" dirty="0"/>
              <a:t>для принятия своевременных управленческих решений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886261B3-2A14-C047-9F52-0A11A005F54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7812" y="1998360"/>
            <a:ext cx="576533" cy="576533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23EE3518-7031-5741-A6DD-80E8EAED0C8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4738" y="2058816"/>
            <a:ext cx="576533" cy="576533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D737BBF3-9C88-49A2-8A99-BFABE527642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49049" y="2058816"/>
            <a:ext cx="576533" cy="576533"/>
          </a:xfrm>
          <a:prstGeom prst="rect">
            <a:avLst/>
          </a:prstGeom>
        </p:spPr>
      </p:pic>
      <p:sp>
        <p:nvSpPr>
          <p:cNvPr id="20" name="Freeform 5">
            <a:extLst>
              <a:ext uri="{FF2B5EF4-FFF2-40B4-BE49-F238E27FC236}">
                <a16:creationId xmlns:a16="http://schemas.microsoft.com/office/drawing/2014/main" id="{9D0C0CBD-82A0-D1ED-10CE-3DAFF0FA7472}"/>
              </a:ext>
            </a:extLst>
          </p:cNvPr>
          <p:cNvSpPr>
            <a:spLocks/>
          </p:cNvSpPr>
          <p:nvPr/>
        </p:nvSpPr>
        <p:spPr bwMode="auto">
          <a:xfrm>
            <a:off x="486198" y="1062775"/>
            <a:ext cx="11185544" cy="5531627"/>
          </a:xfrm>
          <a:custGeom>
            <a:avLst/>
            <a:gdLst>
              <a:gd name="T0" fmla="*/ 530 w 952"/>
              <a:gd name="T1" fmla="*/ 0 h 618"/>
              <a:gd name="T2" fmla="*/ 171 w 952"/>
              <a:gd name="T3" fmla="*/ 233 h 618"/>
              <a:gd name="T4" fmla="*/ 0 w 952"/>
              <a:gd name="T5" fmla="*/ 618 h 618"/>
              <a:gd name="T6" fmla="*/ 422 w 952"/>
              <a:gd name="T7" fmla="*/ 618 h 618"/>
              <a:gd name="T8" fmla="*/ 781 w 952"/>
              <a:gd name="T9" fmla="*/ 385 h 618"/>
              <a:gd name="T10" fmla="*/ 952 w 952"/>
              <a:gd name="T11" fmla="*/ 0 h 618"/>
              <a:gd name="T12" fmla="*/ 530 w 952"/>
              <a:gd name="T13" fmla="*/ 0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52" h="618">
                <a:moveTo>
                  <a:pt x="530" y="0"/>
                </a:moveTo>
                <a:cubicBezTo>
                  <a:pt x="374" y="0"/>
                  <a:pt x="235" y="90"/>
                  <a:pt x="171" y="233"/>
                </a:cubicBezTo>
                <a:cubicBezTo>
                  <a:pt x="0" y="618"/>
                  <a:pt x="0" y="618"/>
                  <a:pt x="0" y="618"/>
                </a:cubicBezTo>
                <a:cubicBezTo>
                  <a:pt x="422" y="618"/>
                  <a:pt x="422" y="618"/>
                  <a:pt x="422" y="618"/>
                </a:cubicBezTo>
                <a:cubicBezTo>
                  <a:pt x="578" y="618"/>
                  <a:pt x="717" y="528"/>
                  <a:pt x="781" y="385"/>
                </a:cubicBezTo>
                <a:cubicBezTo>
                  <a:pt x="952" y="0"/>
                  <a:pt x="952" y="0"/>
                  <a:pt x="952" y="0"/>
                </a:cubicBezTo>
                <a:lnTo>
                  <a:pt x="530" y="0"/>
                </a:lnTo>
                <a:close/>
              </a:path>
            </a:pathLst>
          </a:custGeom>
          <a:noFill/>
          <a:ln w="19050">
            <a:solidFill>
              <a:schemeClr val="accent3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3453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Прямоугольник: скругленные углы 37">
            <a:extLst>
              <a:ext uri="{FF2B5EF4-FFF2-40B4-BE49-F238E27FC236}">
                <a16:creationId xmlns:a16="http://schemas.microsoft.com/office/drawing/2014/main" id="{96D6C7DD-23E6-46CF-BBBF-D9D80272AEE5}"/>
              </a:ext>
            </a:extLst>
          </p:cNvPr>
          <p:cNvSpPr/>
          <p:nvPr/>
        </p:nvSpPr>
        <p:spPr>
          <a:xfrm>
            <a:off x="7200960" y="1776928"/>
            <a:ext cx="4511615" cy="4555230"/>
          </a:xfrm>
          <a:prstGeom prst="roundRect">
            <a:avLst>
              <a:gd name="adj" fmla="val 508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>
                <a:solidFill>
                  <a:schemeClr val="tx1"/>
                </a:solidFill>
              </a:rPr>
              <a:t> </a:t>
            </a: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566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F7CD33CF-4C5A-4DF3-94B5-4D615448505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914329">
              <a:defRPr/>
            </a:pPr>
            <a:fld id="{58A9CFFD-EE99-4E11-B8BC-23AC5DDB75ED}" type="slidenum">
              <a:rPr lang="ru-RU">
                <a:solidFill>
                  <a:srgbClr val="000000"/>
                </a:solidFill>
              </a:rPr>
              <a:pPr defTabSz="914329">
                <a:defRPr/>
              </a:pPr>
              <a:t>8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AFDF9E5-4EDD-42F3-81F0-9F2DF2CD537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6197" y="262556"/>
            <a:ext cx="9119530" cy="1600438"/>
          </a:xfrm>
        </p:spPr>
        <p:txBody>
          <a:bodyPr/>
          <a:lstStyle/>
          <a:p>
            <a:r>
              <a:rPr lang="ru-RU" sz="2600" b="1" dirty="0" smtClean="0"/>
              <a:t>Банковское сопровождение – </a:t>
            </a:r>
          </a:p>
          <a:p>
            <a:r>
              <a:rPr lang="ru-RU" sz="2600" b="1" dirty="0" smtClean="0">
                <a:latin typeface="Cera CY" panose="00000500000000000000" pitchFamily="50" charset="-52"/>
                <a:ea typeface="Stem Medium" panose="020B0603020203020204" pitchFamily="34" charset="-52"/>
              </a:rPr>
              <a:t>снижение влияния </a:t>
            </a:r>
            <a:r>
              <a:rPr lang="ru-RU" sz="2600" b="1" dirty="0">
                <a:latin typeface="Cera CY" panose="00000500000000000000" pitchFamily="50" charset="-52"/>
                <a:ea typeface="Stem Medium" panose="020B0603020203020204" pitchFamily="34" charset="-52"/>
              </a:rPr>
              <a:t>негативных факторов на реализацию проекта</a:t>
            </a:r>
            <a:r>
              <a:rPr lang="ru-RU" sz="2600" b="1" dirty="0" smtClean="0"/>
              <a:t> </a:t>
            </a:r>
          </a:p>
          <a:p>
            <a:endParaRPr lang="ru-RU" sz="2600" b="1" dirty="0"/>
          </a:p>
        </p:txBody>
      </p:sp>
      <p:grpSp>
        <p:nvGrpSpPr>
          <p:cNvPr id="23" name="Группа 22"/>
          <p:cNvGrpSpPr/>
          <p:nvPr/>
        </p:nvGrpSpPr>
        <p:grpSpPr>
          <a:xfrm>
            <a:off x="657103" y="1776928"/>
            <a:ext cx="6182891" cy="4246915"/>
            <a:chOff x="98783" y="2082300"/>
            <a:chExt cx="9386211" cy="5674256"/>
          </a:xfrm>
        </p:grpSpPr>
        <p:cxnSp>
          <p:nvCxnSpPr>
            <p:cNvPr id="24" name="Прямая со стрелкой 23"/>
            <p:cNvCxnSpPr>
              <a:cxnSpLocks/>
            </p:cNvCxnSpPr>
            <p:nvPr/>
          </p:nvCxnSpPr>
          <p:spPr>
            <a:xfrm flipV="1">
              <a:off x="1186154" y="2082300"/>
              <a:ext cx="0" cy="5292248"/>
            </a:xfrm>
            <a:prstGeom prst="straightConnector1">
              <a:avLst/>
            </a:prstGeom>
            <a:ln w="127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Прямая со стрелкой 24"/>
            <p:cNvCxnSpPr>
              <a:cxnSpLocks/>
            </p:cNvCxnSpPr>
            <p:nvPr/>
          </p:nvCxnSpPr>
          <p:spPr>
            <a:xfrm flipV="1">
              <a:off x="1180968" y="7360786"/>
              <a:ext cx="8304026" cy="13761"/>
            </a:xfrm>
            <a:prstGeom prst="straightConnector1">
              <a:avLst/>
            </a:prstGeom>
            <a:ln w="127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6" name="Прямоугольник 25"/>
            <p:cNvSpPr/>
            <p:nvPr/>
          </p:nvSpPr>
          <p:spPr>
            <a:xfrm rot="16200000">
              <a:off x="-96653" y="5177497"/>
              <a:ext cx="1567639" cy="3301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29">
                <a:defRPr/>
              </a:pPr>
              <a:r>
                <a:rPr lang="ru-RU" sz="1176" b="1" dirty="0">
                  <a:solidFill>
                    <a:schemeClr val="tx2"/>
                  </a:solidFill>
                  <a:latin typeface="Cera CY" panose="00000500000000000000" pitchFamily="2" charset="-52"/>
                </a:rPr>
                <a:t>Стоимость (С)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6757530" y="7380045"/>
              <a:ext cx="871744" cy="3765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defTabSz="914329">
                <a:defRPr/>
              </a:pPr>
              <a:r>
                <a:rPr lang="ru-RU" sz="1176" b="1" dirty="0">
                  <a:solidFill>
                    <a:schemeClr val="accent1"/>
                  </a:solidFill>
                  <a:latin typeface="Cera CY" panose="00000500000000000000" pitchFamily="2" charset="-52"/>
                </a:rPr>
                <a:t>Т план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4171531" y="7380045"/>
              <a:ext cx="1816001" cy="3765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29">
                <a:defRPr/>
              </a:pPr>
              <a:r>
                <a:rPr lang="ru-RU" sz="1176" b="1" dirty="0">
                  <a:solidFill>
                    <a:schemeClr val="tx2"/>
                  </a:solidFill>
                  <a:latin typeface="Cera CY" panose="00000500000000000000" pitchFamily="2" charset="-52"/>
                </a:rPr>
                <a:t>Время (Т)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8601473" y="7380045"/>
              <a:ext cx="883521" cy="3765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defTabSz="914329">
                <a:defRPr/>
              </a:pPr>
              <a:r>
                <a:rPr lang="ru-RU" sz="1176" b="1" dirty="0">
                  <a:solidFill>
                    <a:schemeClr val="accent6"/>
                  </a:solidFill>
                  <a:latin typeface="Cera CY" panose="00000500000000000000" pitchFamily="2" charset="-52"/>
                </a:rPr>
                <a:t>Т факт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8783" y="3939972"/>
              <a:ext cx="970202" cy="3765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defTabSz="914329">
                <a:defRPr/>
              </a:pPr>
              <a:r>
                <a:rPr lang="ru-RU" sz="1176" b="1" dirty="0">
                  <a:solidFill>
                    <a:schemeClr val="accent1"/>
                  </a:solidFill>
                  <a:latin typeface="Cera CY" panose="00000500000000000000" pitchFamily="2" charset="-52"/>
                </a:rPr>
                <a:t>С план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8783" y="2377877"/>
              <a:ext cx="987549" cy="3765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defTabSz="914329">
                <a:defRPr/>
              </a:pPr>
              <a:r>
                <a:rPr lang="ru-RU" sz="1176" b="1" dirty="0">
                  <a:solidFill>
                    <a:schemeClr val="accent6"/>
                  </a:solidFill>
                  <a:latin typeface="Cera CY" panose="00000500000000000000" pitchFamily="2" charset="-52"/>
                </a:rPr>
                <a:t>С факт</a:t>
              </a:r>
            </a:p>
          </p:txBody>
        </p:sp>
        <p:cxnSp>
          <p:nvCxnSpPr>
            <p:cNvPr id="32" name="Прямая соединительная линия 31"/>
            <p:cNvCxnSpPr>
              <a:cxnSpLocks/>
            </p:cNvCxnSpPr>
            <p:nvPr/>
          </p:nvCxnSpPr>
          <p:spPr>
            <a:xfrm flipV="1">
              <a:off x="9049120" y="2621582"/>
              <a:ext cx="0" cy="4733143"/>
            </a:xfrm>
            <a:prstGeom prst="line">
              <a:avLst/>
            </a:prstGeom>
            <a:ln w="9525" cap="flat" cmpd="sng" algn="ctr">
              <a:solidFill>
                <a:schemeClr val="accent6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3" name="Прямая соединительная линия 32"/>
            <p:cNvCxnSpPr/>
            <p:nvPr/>
          </p:nvCxnSpPr>
          <p:spPr>
            <a:xfrm>
              <a:off x="1191341" y="2594249"/>
              <a:ext cx="7857779" cy="0"/>
            </a:xfrm>
            <a:prstGeom prst="line">
              <a:avLst/>
            </a:prstGeom>
            <a:ln w="9525" cap="flat" cmpd="sng" algn="ctr">
              <a:solidFill>
                <a:schemeClr val="accent6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4" name="Прямоугольник 33"/>
            <p:cNvSpPr/>
            <p:nvPr/>
          </p:nvSpPr>
          <p:spPr>
            <a:xfrm>
              <a:off x="7528096" y="2341545"/>
              <a:ext cx="1274410" cy="38590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29">
                <a:defRPr/>
              </a:pPr>
              <a:r>
                <a:rPr lang="ru-RU" sz="1600" b="1" dirty="0">
                  <a:solidFill>
                    <a:schemeClr val="accent6"/>
                  </a:solidFill>
                  <a:latin typeface="Cera CY" panose="00000500000000000000" pitchFamily="2" charset="-52"/>
                </a:rPr>
                <a:t>Факт</a:t>
              </a:r>
            </a:p>
          </p:txBody>
        </p:sp>
        <p:cxnSp>
          <p:nvCxnSpPr>
            <p:cNvPr id="36" name="Прямая соединительная линия 35"/>
            <p:cNvCxnSpPr/>
            <p:nvPr/>
          </p:nvCxnSpPr>
          <p:spPr>
            <a:xfrm flipV="1">
              <a:off x="1191341" y="4107559"/>
              <a:ext cx="6002062" cy="26628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/>
            <p:cNvCxnSpPr>
              <a:cxnSpLocks/>
            </p:cNvCxnSpPr>
            <p:nvPr/>
          </p:nvCxnSpPr>
          <p:spPr>
            <a:xfrm>
              <a:off x="7193403" y="4087738"/>
              <a:ext cx="1" cy="3266987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8" name="Прямоугольник 37"/>
            <p:cNvSpPr/>
            <p:nvPr/>
          </p:nvSpPr>
          <p:spPr>
            <a:xfrm>
              <a:off x="7402656" y="3941797"/>
              <a:ext cx="1313748" cy="32568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29">
                <a:defRPr/>
              </a:pPr>
              <a:r>
                <a:rPr lang="ru-RU" sz="1600" b="1" dirty="0">
                  <a:solidFill>
                    <a:schemeClr val="accent1"/>
                  </a:solidFill>
                  <a:latin typeface="Cera CY" panose="00000500000000000000" pitchFamily="2" charset="-52"/>
                </a:rPr>
                <a:t>План</a:t>
              </a:r>
            </a:p>
          </p:txBody>
        </p:sp>
        <p:sp>
          <p:nvSpPr>
            <p:cNvPr id="39" name="Полилиния 38"/>
            <p:cNvSpPr/>
            <p:nvPr/>
          </p:nvSpPr>
          <p:spPr>
            <a:xfrm>
              <a:off x="1193312" y="4119576"/>
              <a:ext cx="5996925" cy="3228975"/>
            </a:xfrm>
            <a:custGeom>
              <a:avLst/>
              <a:gdLst>
                <a:gd name="connsiteX0" fmla="*/ 0 w 8829675"/>
                <a:gd name="connsiteY0" fmla="*/ 3228975 h 3228975"/>
                <a:gd name="connsiteX1" fmla="*/ 2676525 w 8829675"/>
                <a:gd name="connsiteY1" fmla="*/ 2524125 h 3228975"/>
                <a:gd name="connsiteX2" fmla="*/ 4810125 w 8829675"/>
                <a:gd name="connsiteY2" fmla="*/ 914400 h 3228975"/>
                <a:gd name="connsiteX3" fmla="*/ 8829675 w 8829675"/>
                <a:gd name="connsiteY3" fmla="*/ 0 h 3228975"/>
                <a:gd name="connsiteX4" fmla="*/ 8829675 w 8829675"/>
                <a:gd name="connsiteY4" fmla="*/ 0 h 322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29675" h="3228975">
                  <a:moveTo>
                    <a:pt x="0" y="3228975"/>
                  </a:moveTo>
                  <a:cubicBezTo>
                    <a:pt x="937419" y="3069431"/>
                    <a:pt x="1874838" y="2909887"/>
                    <a:pt x="2676525" y="2524125"/>
                  </a:cubicBezTo>
                  <a:cubicBezTo>
                    <a:pt x="3478212" y="2138363"/>
                    <a:pt x="3784600" y="1335087"/>
                    <a:pt x="4810125" y="914400"/>
                  </a:cubicBezTo>
                  <a:cubicBezTo>
                    <a:pt x="5835650" y="493713"/>
                    <a:pt x="8829675" y="0"/>
                    <a:pt x="8829675" y="0"/>
                  </a:cubicBezTo>
                  <a:lnTo>
                    <a:pt x="8829675" y="0"/>
                  </a:lnTo>
                </a:path>
              </a:pathLst>
            </a:custGeom>
            <a:noFill/>
            <a:ln w="635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29">
                <a:defRPr/>
              </a:pPr>
              <a:endParaRPr lang="ru-RU" sz="1106" dirty="0">
                <a:solidFill>
                  <a:srgbClr val="FFFFFF"/>
                </a:solidFill>
                <a:latin typeface="Cera CY" panose="00000500000000000000" pitchFamily="2" charset="-52"/>
              </a:endParaRPr>
            </a:p>
          </p:txBody>
        </p:sp>
        <p:sp>
          <p:nvSpPr>
            <p:cNvPr id="40" name="Полилиния 39"/>
            <p:cNvSpPr/>
            <p:nvPr/>
          </p:nvSpPr>
          <p:spPr>
            <a:xfrm>
              <a:off x="1186843" y="2614625"/>
              <a:ext cx="7866517" cy="4743857"/>
            </a:xfrm>
            <a:custGeom>
              <a:avLst/>
              <a:gdLst>
                <a:gd name="connsiteX0" fmla="*/ 0 w 11582400"/>
                <a:gd name="connsiteY0" fmla="*/ 4743450 h 4747660"/>
                <a:gd name="connsiteX1" fmla="*/ 2771775 w 11582400"/>
                <a:gd name="connsiteY1" fmla="*/ 4467225 h 4747660"/>
                <a:gd name="connsiteX2" fmla="*/ 5334000 w 11582400"/>
                <a:gd name="connsiteY2" fmla="*/ 2952750 h 4747660"/>
                <a:gd name="connsiteX3" fmla="*/ 7210425 w 11582400"/>
                <a:gd name="connsiteY3" fmla="*/ 1362075 h 4747660"/>
                <a:gd name="connsiteX4" fmla="*/ 11582400 w 11582400"/>
                <a:gd name="connsiteY4" fmla="*/ 0 h 4747660"/>
                <a:gd name="connsiteX0" fmla="*/ 0 w 11582400"/>
                <a:gd name="connsiteY0" fmla="*/ 4743450 h 4743857"/>
                <a:gd name="connsiteX1" fmla="*/ 2750003 w 11582400"/>
                <a:gd name="connsiteY1" fmla="*/ 4238625 h 4743857"/>
                <a:gd name="connsiteX2" fmla="*/ 5334000 w 11582400"/>
                <a:gd name="connsiteY2" fmla="*/ 2952750 h 4743857"/>
                <a:gd name="connsiteX3" fmla="*/ 7210425 w 11582400"/>
                <a:gd name="connsiteY3" fmla="*/ 1362075 h 4743857"/>
                <a:gd name="connsiteX4" fmla="*/ 11582400 w 11582400"/>
                <a:gd name="connsiteY4" fmla="*/ 0 h 474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82400" h="4743857">
                  <a:moveTo>
                    <a:pt x="0" y="4743450"/>
                  </a:moveTo>
                  <a:cubicBezTo>
                    <a:pt x="941387" y="4754562"/>
                    <a:pt x="1861003" y="4537075"/>
                    <a:pt x="2750003" y="4238625"/>
                  </a:cubicBezTo>
                  <a:cubicBezTo>
                    <a:pt x="3639003" y="3940175"/>
                    <a:pt x="4590596" y="3432175"/>
                    <a:pt x="5334000" y="2952750"/>
                  </a:cubicBezTo>
                  <a:cubicBezTo>
                    <a:pt x="6077404" y="2473325"/>
                    <a:pt x="6169025" y="1854200"/>
                    <a:pt x="7210425" y="1362075"/>
                  </a:cubicBezTo>
                  <a:cubicBezTo>
                    <a:pt x="8251825" y="869950"/>
                    <a:pt x="9917112" y="434975"/>
                    <a:pt x="11582400" y="0"/>
                  </a:cubicBezTo>
                </a:path>
              </a:pathLst>
            </a:custGeom>
            <a:noFill/>
            <a:ln w="635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29">
                <a:defRPr/>
              </a:pPr>
              <a:endParaRPr lang="ru-RU" sz="1106" dirty="0">
                <a:ln>
                  <a:solidFill>
                    <a:srgbClr val="FF0000"/>
                  </a:solidFill>
                </a:ln>
                <a:solidFill>
                  <a:srgbClr val="FFFFFF"/>
                </a:solidFill>
                <a:latin typeface="Cera CY" panose="00000500000000000000" pitchFamily="2" charset="-52"/>
              </a:endParaRPr>
            </a:p>
          </p:txBody>
        </p:sp>
        <p:sp>
          <p:nvSpPr>
            <p:cNvPr id="42" name="Правая фигурная скобка 41"/>
            <p:cNvSpPr/>
            <p:nvPr/>
          </p:nvSpPr>
          <p:spPr>
            <a:xfrm>
              <a:off x="2159425" y="2614626"/>
              <a:ext cx="406150" cy="1519561"/>
            </a:xfrm>
            <a:prstGeom prst="rightBrace">
              <a:avLst>
                <a:gd name="adj1" fmla="val 48469"/>
                <a:gd name="adj2" fmla="val 50000"/>
              </a:avLst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329">
                <a:defRPr/>
              </a:pPr>
              <a:endParaRPr lang="ru-RU" sz="1106" dirty="0">
                <a:solidFill>
                  <a:srgbClr val="000000"/>
                </a:solidFill>
                <a:latin typeface="Cera CY" panose="00000500000000000000" pitchFamily="2" charset="-52"/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2598479" y="3134824"/>
              <a:ext cx="2980828" cy="6180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29">
                <a:defRPr/>
              </a:pPr>
              <a:r>
                <a:rPr lang="ru-RU" sz="1050" dirty="0">
                  <a:solidFill>
                    <a:srgbClr val="000000"/>
                  </a:solidFill>
                  <a:latin typeface="Cera CY" panose="00000500000000000000" pitchFamily="2" charset="-52"/>
                </a:rPr>
                <a:t>Превышение</a:t>
              </a:r>
              <a:r>
                <a:rPr lang="ru-RU" sz="940" dirty="0">
                  <a:solidFill>
                    <a:srgbClr val="000000"/>
                  </a:solidFill>
                  <a:latin typeface="Cera CY" panose="00000500000000000000" pitchFamily="2" charset="-52"/>
                </a:rPr>
                <a:t> плановой  стоимости проекта</a:t>
              </a:r>
            </a:p>
          </p:txBody>
        </p:sp>
        <p:sp>
          <p:nvSpPr>
            <p:cNvPr id="44" name="Правая фигурная скобка 43"/>
            <p:cNvSpPr/>
            <p:nvPr/>
          </p:nvSpPr>
          <p:spPr>
            <a:xfrm rot="16200000">
              <a:off x="7975663" y="5718901"/>
              <a:ext cx="288032" cy="1836247"/>
            </a:xfrm>
            <a:prstGeom prst="rightBrace">
              <a:avLst>
                <a:gd name="adj1" fmla="val 73412"/>
                <a:gd name="adj2" fmla="val 50000"/>
              </a:avLst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329">
                <a:defRPr/>
              </a:pPr>
              <a:endParaRPr lang="ru-RU" sz="1106" dirty="0">
                <a:solidFill>
                  <a:srgbClr val="000000"/>
                </a:solidFill>
                <a:latin typeface="Cera CY" panose="00000500000000000000" pitchFamily="2" charset="-52"/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7292189" y="5718467"/>
              <a:ext cx="1685352" cy="5778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29">
                <a:defRPr/>
              </a:pPr>
              <a:r>
                <a:rPr lang="ru-RU" sz="1050" dirty="0">
                  <a:solidFill>
                    <a:srgbClr val="000000"/>
                  </a:solidFill>
                  <a:latin typeface="Cera CY" panose="00000500000000000000" pitchFamily="2" charset="-52"/>
                </a:rPr>
                <a:t>Превышение плановых сроков</a:t>
              </a:r>
            </a:p>
          </p:txBody>
        </p:sp>
        <p:pic>
          <p:nvPicPr>
            <p:cNvPr id="48" name="Рисунок 47">
              <a:extLst>
                <a:ext uri="{FF2B5EF4-FFF2-40B4-BE49-F238E27FC236}">
                  <a16:creationId xmlns:a16="http://schemas.microsoft.com/office/drawing/2014/main" id="{4BD19FF8-80C9-3F49-B917-D1ECA1C6DDB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3785986" y="2736431"/>
              <a:ext cx="672001" cy="499981"/>
            </a:xfrm>
            <a:prstGeom prst="rect">
              <a:avLst/>
            </a:prstGeom>
          </p:spPr>
        </p:pic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4BD19FF8-80C9-3F49-B917-D1ECA1C6DDB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796091" y="5074216"/>
              <a:ext cx="644009" cy="473297"/>
            </a:xfrm>
            <a:prstGeom prst="rect">
              <a:avLst/>
            </a:prstGeom>
          </p:spPr>
        </p:pic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C943A626-E78E-4584-AF52-A85D3213AB1E}"/>
              </a:ext>
            </a:extLst>
          </p:cNvPr>
          <p:cNvGrpSpPr>
            <a:grpSpLocks noChangeAspect="1"/>
          </p:cNvGrpSpPr>
          <p:nvPr/>
        </p:nvGrpSpPr>
        <p:grpSpPr>
          <a:xfrm>
            <a:off x="6374689" y="1911706"/>
            <a:ext cx="413995" cy="413995"/>
            <a:chOff x="4887202" y="4143631"/>
            <a:chExt cx="612000" cy="612000"/>
          </a:xfrm>
        </p:grpSpPr>
        <p:sp>
          <p:nvSpPr>
            <p:cNvPr id="50" name="Полилиния: фигура 170">
              <a:extLst>
                <a:ext uri="{FF2B5EF4-FFF2-40B4-BE49-F238E27FC236}">
                  <a16:creationId xmlns:a16="http://schemas.microsoft.com/office/drawing/2014/main" id="{D0672A0F-0226-423D-90CD-CD6CD5661A76}"/>
                </a:ext>
              </a:extLst>
            </p:cNvPr>
            <p:cNvSpPr/>
            <p:nvPr/>
          </p:nvSpPr>
          <p:spPr>
            <a:xfrm>
              <a:off x="4887202" y="4143631"/>
              <a:ext cx="612000" cy="612000"/>
            </a:xfrm>
            <a:custGeom>
              <a:avLst/>
              <a:gdLst>
                <a:gd name="connsiteX0" fmla="*/ 612000 w 612000"/>
                <a:gd name="connsiteY0" fmla="*/ 306000 h 612000"/>
                <a:gd name="connsiteX1" fmla="*/ 306000 w 612000"/>
                <a:gd name="connsiteY1" fmla="*/ 612000 h 612000"/>
                <a:gd name="connsiteX2" fmla="*/ 0 w 612000"/>
                <a:gd name="connsiteY2" fmla="*/ 306000 h 612000"/>
                <a:gd name="connsiteX3" fmla="*/ 306000 w 612000"/>
                <a:gd name="connsiteY3" fmla="*/ 0 h 612000"/>
                <a:gd name="connsiteX4" fmla="*/ 612000 w 612000"/>
                <a:gd name="connsiteY4" fmla="*/ 30600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612000">
                  <a:moveTo>
                    <a:pt x="612000" y="306000"/>
                  </a:move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ubicBezTo>
                    <a:pt x="474999" y="0"/>
                    <a:pt x="612000" y="137001"/>
                    <a:pt x="612000" y="306000"/>
                  </a:cubicBezTo>
                  <a:close/>
                </a:path>
              </a:pathLst>
            </a:custGeom>
            <a:solidFill>
              <a:srgbClr val="FF7900"/>
            </a:solidFill>
            <a:ln w="725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 dirty="0"/>
            </a:p>
          </p:txBody>
        </p:sp>
        <p:sp>
          <p:nvSpPr>
            <p:cNvPr id="51" name="Полилиния: фигура 171">
              <a:extLst>
                <a:ext uri="{FF2B5EF4-FFF2-40B4-BE49-F238E27FC236}">
                  <a16:creationId xmlns:a16="http://schemas.microsoft.com/office/drawing/2014/main" id="{F4272ED6-431F-490F-ABB8-860D82A9665E}"/>
                </a:ext>
              </a:extLst>
            </p:cNvPr>
            <p:cNvSpPr/>
            <p:nvPr/>
          </p:nvSpPr>
          <p:spPr>
            <a:xfrm>
              <a:off x="5097904" y="4412692"/>
              <a:ext cx="29725" cy="29725"/>
            </a:xfrm>
            <a:custGeom>
              <a:avLst/>
              <a:gdLst>
                <a:gd name="connsiteX0" fmla="*/ 29726 w 29725"/>
                <a:gd name="connsiteY0" fmla="*/ 14863 h 29725"/>
                <a:gd name="connsiteX1" fmla="*/ 14863 w 29725"/>
                <a:gd name="connsiteY1" fmla="*/ 29726 h 29725"/>
                <a:gd name="connsiteX2" fmla="*/ 0 w 29725"/>
                <a:gd name="connsiteY2" fmla="*/ 14863 h 29725"/>
                <a:gd name="connsiteX3" fmla="*/ 14863 w 29725"/>
                <a:gd name="connsiteY3" fmla="*/ 0 h 29725"/>
                <a:gd name="connsiteX4" fmla="*/ 29726 w 29725"/>
                <a:gd name="connsiteY4" fmla="*/ 14863 h 2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25" h="29725">
                  <a:moveTo>
                    <a:pt x="29726" y="14863"/>
                  </a:moveTo>
                  <a:cubicBezTo>
                    <a:pt x="29726" y="23071"/>
                    <a:pt x="23071" y="29726"/>
                    <a:pt x="14863" y="29726"/>
                  </a:cubicBezTo>
                  <a:cubicBezTo>
                    <a:pt x="6654" y="29726"/>
                    <a:pt x="0" y="23071"/>
                    <a:pt x="0" y="14863"/>
                  </a:cubicBezTo>
                  <a:cubicBezTo>
                    <a:pt x="0" y="6654"/>
                    <a:pt x="6654" y="0"/>
                    <a:pt x="14863" y="0"/>
                  </a:cubicBezTo>
                  <a:cubicBezTo>
                    <a:pt x="23071" y="0"/>
                    <a:pt x="29726" y="6654"/>
                    <a:pt x="29726" y="14863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2" name="Полилиния: фигура 172">
              <a:extLst>
                <a:ext uri="{FF2B5EF4-FFF2-40B4-BE49-F238E27FC236}">
                  <a16:creationId xmlns:a16="http://schemas.microsoft.com/office/drawing/2014/main" id="{2C28B401-C31E-474A-8E27-7F7282EB0635}"/>
                </a:ext>
              </a:extLst>
            </p:cNvPr>
            <p:cNvSpPr/>
            <p:nvPr/>
          </p:nvSpPr>
          <p:spPr>
            <a:xfrm>
              <a:off x="5257972" y="4412692"/>
              <a:ext cx="29725" cy="29725"/>
            </a:xfrm>
            <a:custGeom>
              <a:avLst/>
              <a:gdLst>
                <a:gd name="connsiteX0" fmla="*/ 29726 w 29725"/>
                <a:gd name="connsiteY0" fmla="*/ 14863 h 29725"/>
                <a:gd name="connsiteX1" fmla="*/ 14863 w 29725"/>
                <a:gd name="connsiteY1" fmla="*/ 29726 h 29725"/>
                <a:gd name="connsiteX2" fmla="*/ 0 w 29725"/>
                <a:gd name="connsiteY2" fmla="*/ 14863 h 29725"/>
                <a:gd name="connsiteX3" fmla="*/ 14863 w 29725"/>
                <a:gd name="connsiteY3" fmla="*/ 0 h 29725"/>
                <a:gd name="connsiteX4" fmla="*/ 29726 w 29725"/>
                <a:gd name="connsiteY4" fmla="*/ 14863 h 2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25" h="29725">
                  <a:moveTo>
                    <a:pt x="29726" y="14863"/>
                  </a:moveTo>
                  <a:cubicBezTo>
                    <a:pt x="29726" y="23071"/>
                    <a:pt x="23071" y="29726"/>
                    <a:pt x="14863" y="29726"/>
                  </a:cubicBezTo>
                  <a:cubicBezTo>
                    <a:pt x="6654" y="29726"/>
                    <a:pt x="0" y="23071"/>
                    <a:pt x="0" y="14863"/>
                  </a:cubicBezTo>
                  <a:cubicBezTo>
                    <a:pt x="0" y="6654"/>
                    <a:pt x="6654" y="0"/>
                    <a:pt x="14863" y="0"/>
                  </a:cubicBezTo>
                  <a:cubicBezTo>
                    <a:pt x="23071" y="0"/>
                    <a:pt x="29726" y="6654"/>
                    <a:pt x="29726" y="14863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3" name="Полилиния: фигура 173">
              <a:extLst>
                <a:ext uri="{FF2B5EF4-FFF2-40B4-BE49-F238E27FC236}">
                  <a16:creationId xmlns:a16="http://schemas.microsoft.com/office/drawing/2014/main" id="{9149D7B4-17F3-493E-B901-324A5CD9EE34}"/>
                </a:ext>
              </a:extLst>
            </p:cNvPr>
            <p:cNvSpPr/>
            <p:nvPr/>
          </p:nvSpPr>
          <p:spPr>
            <a:xfrm>
              <a:off x="5003773" y="4260202"/>
              <a:ext cx="378857" cy="378857"/>
            </a:xfrm>
            <a:custGeom>
              <a:avLst/>
              <a:gdLst>
                <a:gd name="connsiteX0" fmla="*/ 189429 w 378857"/>
                <a:gd name="connsiteY0" fmla="*/ 378857 h 378857"/>
                <a:gd name="connsiteX1" fmla="*/ 0 w 378857"/>
                <a:gd name="connsiteY1" fmla="*/ 189429 h 378857"/>
                <a:gd name="connsiteX2" fmla="*/ 189429 w 378857"/>
                <a:gd name="connsiteY2" fmla="*/ 0 h 378857"/>
                <a:gd name="connsiteX3" fmla="*/ 378857 w 378857"/>
                <a:gd name="connsiteY3" fmla="*/ 189429 h 378857"/>
                <a:gd name="connsiteX4" fmla="*/ 189429 w 378857"/>
                <a:gd name="connsiteY4" fmla="*/ 378857 h 378857"/>
                <a:gd name="connsiteX5" fmla="*/ 189429 w 378857"/>
                <a:gd name="connsiteY5" fmla="*/ 14571 h 378857"/>
                <a:gd name="connsiteX6" fmla="*/ 14571 w 378857"/>
                <a:gd name="connsiteY6" fmla="*/ 189429 h 378857"/>
                <a:gd name="connsiteX7" fmla="*/ 189429 w 378857"/>
                <a:gd name="connsiteY7" fmla="*/ 364286 h 378857"/>
                <a:gd name="connsiteX8" fmla="*/ 364286 w 378857"/>
                <a:gd name="connsiteY8" fmla="*/ 189429 h 378857"/>
                <a:gd name="connsiteX9" fmla="*/ 189429 w 378857"/>
                <a:gd name="connsiteY9" fmla="*/ 14571 h 37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857" h="378857">
                  <a:moveTo>
                    <a:pt x="189429" y="378857"/>
                  </a:moveTo>
                  <a:cubicBezTo>
                    <a:pt x="84810" y="378857"/>
                    <a:pt x="0" y="294047"/>
                    <a:pt x="0" y="189429"/>
                  </a:cubicBezTo>
                  <a:cubicBezTo>
                    <a:pt x="0" y="84810"/>
                    <a:pt x="84810" y="0"/>
                    <a:pt x="189429" y="0"/>
                  </a:cubicBezTo>
                  <a:cubicBezTo>
                    <a:pt x="294047" y="0"/>
                    <a:pt x="378857" y="84810"/>
                    <a:pt x="378857" y="189429"/>
                  </a:cubicBezTo>
                  <a:cubicBezTo>
                    <a:pt x="378857" y="294047"/>
                    <a:pt x="294047" y="378857"/>
                    <a:pt x="189429" y="378857"/>
                  </a:cubicBezTo>
                  <a:close/>
                  <a:moveTo>
                    <a:pt x="189429" y="14571"/>
                  </a:moveTo>
                  <a:cubicBezTo>
                    <a:pt x="92858" y="14571"/>
                    <a:pt x="14571" y="92858"/>
                    <a:pt x="14571" y="189429"/>
                  </a:cubicBezTo>
                  <a:cubicBezTo>
                    <a:pt x="14571" y="285999"/>
                    <a:pt x="92858" y="364286"/>
                    <a:pt x="189429" y="364286"/>
                  </a:cubicBezTo>
                  <a:cubicBezTo>
                    <a:pt x="285999" y="364286"/>
                    <a:pt x="364286" y="285999"/>
                    <a:pt x="364286" y="189429"/>
                  </a:cubicBezTo>
                  <a:cubicBezTo>
                    <a:pt x="364286" y="92858"/>
                    <a:pt x="285999" y="14571"/>
                    <a:pt x="189429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4" name="Полилиния: фигура 174">
              <a:extLst>
                <a:ext uri="{FF2B5EF4-FFF2-40B4-BE49-F238E27FC236}">
                  <a16:creationId xmlns:a16="http://schemas.microsoft.com/office/drawing/2014/main" id="{AF9DE395-FEDA-48C9-B951-B8A10B606672}"/>
                </a:ext>
              </a:extLst>
            </p:cNvPr>
            <p:cNvSpPr/>
            <p:nvPr/>
          </p:nvSpPr>
          <p:spPr>
            <a:xfrm>
              <a:off x="5098076" y="4493046"/>
              <a:ext cx="190277" cy="58584"/>
            </a:xfrm>
            <a:custGeom>
              <a:avLst/>
              <a:gdLst>
                <a:gd name="connsiteX0" fmla="*/ 7260 w 190277"/>
                <a:gd name="connsiteY0" fmla="*/ 58584 h 58584"/>
                <a:gd name="connsiteX1" fmla="*/ 2962 w 190277"/>
                <a:gd name="connsiteY1" fmla="*/ 57127 h 58584"/>
                <a:gd name="connsiteX2" fmla="*/ 1423 w 190277"/>
                <a:gd name="connsiteY2" fmla="*/ 46939 h 58584"/>
                <a:gd name="connsiteX3" fmla="*/ 1432 w 190277"/>
                <a:gd name="connsiteY3" fmla="*/ 46927 h 58584"/>
                <a:gd name="connsiteX4" fmla="*/ 165214 w 190277"/>
                <a:gd name="connsiteY4" fmla="*/ 23321 h 58584"/>
                <a:gd name="connsiteX5" fmla="*/ 188820 w 190277"/>
                <a:gd name="connsiteY5" fmla="*/ 46927 h 58584"/>
                <a:gd name="connsiteX6" fmla="*/ 187363 w 190277"/>
                <a:gd name="connsiteY6" fmla="*/ 57127 h 58584"/>
                <a:gd name="connsiteX7" fmla="*/ 177163 w 190277"/>
                <a:gd name="connsiteY7" fmla="*/ 55670 h 58584"/>
                <a:gd name="connsiteX8" fmla="*/ 33889 w 190277"/>
                <a:gd name="connsiteY8" fmla="*/ 34942 h 58584"/>
                <a:gd name="connsiteX9" fmla="*/ 13162 w 190277"/>
                <a:gd name="connsiteY9" fmla="*/ 55670 h 58584"/>
                <a:gd name="connsiteX10" fmla="*/ 7260 w 190277"/>
                <a:gd name="connsiteY10" fmla="*/ 58584 h 58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0277" h="58584">
                  <a:moveTo>
                    <a:pt x="7260" y="58584"/>
                  </a:moveTo>
                  <a:cubicBezTo>
                    <a:pt x="5709" y="58569"/>
                    <a:pt x="4203" y="58058"/>
                    <a:pt x="2962" y="57127"/>
                  </a:cubicBezTo>
                  <a:cubicBezTo>
                    <a:pt x="-277" y="54739"/>
                    <a:pt x="-965" y="50177"/>
                    <a:pt x="1423" y="46939"/>
                  </a:cubicBezTo>
                  <a:cubicBezTo>
                    <a:pt x="1426" y="46935"/>
                    <a:pt x="1429" y="46932"/>
                    <a:pt x="1432" y="46927"/>
                  </a:cubicBezTo>
                  <a:cubicBezTo>
                    <a:pt x="40141" y="-4819"/>
                    <a:pt x="113468" y="-15388"/>
                    <a:pt x="165214" y="23321"/>
                  </a:cubicBezTo>
                  <a:cubicBezTo>
                    <a:pt x="174171" y="30021"/>
                    <a:pt x="182120" y="37971"/>
                    <a:pt x="188820" y="46927"/>
                  </a:cubicBezTo>
                  <a:cubicBezTo>
                    <a:pt x="191235" y="50146"/>
                    <a:pt x="190582" y="54713"/>
                    <a:pt x="187363" y="57127"/>
                  </a:cubicBezTo>
                  <a:cubicBezTo>
                    <a:pt x="184144" y="59542"/>
                    <a:pt x="179577" y="58889"/>
                    <a:pt x="177163" y="55670"/>
                  </a:cubicBezTo>
                  <a:cubicBezTo>
                    <a:pt x="143323" y="10382"/>
                    <a:pt x="79177" y="1102"/>
                    <a:pt x="33889" y="34942"/>
                  </a:cubicBezTo>
                  <a:cubicBezTo>
                    <a:pt x="26022" y="40821"/>
                    <a:pt x="19040" y="47802"/>
                    <a:pt x="13162" y="55670"/>
                  </a:cubicBezTo>
                  <a:cubicBezTo>
                    <a:pt x="11770" y="57525"/>
                    <a:pt x="9579" y="58608"/>
                    <a:pt x="7260" y="58584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8028821" y="2667562"/>
            <a:ext cx="3636652" cy="35548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716560">
              <a:spcAft>
                <a:spcPts val="1700"/>
              </a:spcAft>
              <a:defRPr/>
            </a:pPr>
            <a:r>
              <a:rPr lang="ru-RU" sz="1200" dirty="0"/>
              <a:t>Качество исходно-разрешительной </a:t>
            </a:r>
            <a:br>
              <a:rPr lang="ru-RU" sz="1200" dirty="0"/>
            </a:br>
            <a:r>
              <a:rPr lang="ru-RU" sz="1200" dirty="0"/>
              <a:t>и проектно-сметной </a:t>
            </a:r>
            <a:r>
              <a:rPr lang="ru-RU" sz="1200" dirty="0" smtClean="0"/>
              <a:t>документации;</a:t>
            </a:r>
            <a:endParaRPr lang="ru-RU" sz="1200" dirty="0"/>
          </a:p>
          <a:p>
            <a:pPr defTabSz="716560">
              <a:spcAft>
                <a:spcPts val="1700"/>
              </a:spcAft>
              <a:defRPr/>
            </a:pPr>
            <a:r>
              <a:rPr lang="ru-RU" sz="1200" dirty="0"/>
              <a:t>Качество планирования и организации исполнения строительных </a:t>
            </a:r>
            <a:r>
              <a:rPr lang="ru-RU" sz="1200" dirty="0" smtClean="0"/>
              <a:t>проектов;</a:t>
            </a:r>
            <a:endParaRPr lang="ru-RU" sz="1200" dirty="0"/>
          </a:p>
          <a:p>
            <a:pPr defTabSz="716560">
              <a:spcAft>
                <a:spcPts val="1700"/>
              </a:spcAft>
              <a:defRPr/>
            </a:pPr>
            <a:r>
              <a:rPr lang="ru-RU" sz="1200" dirty="0">
                <a:ea typeface="Stem Medium" panose="020B0603020203020204" pitchFamily="34" charset="-52"/>
              </a:rPr>
              <a:t>Отсутствие надлежащего контроля </a:t>
            </a:r>
            <a:br>
              <a:rPr lang="ru-RU" sz="1200" dirty="0">
                <a:ea typeface="Stem Medium" panose="020B0603020203020204" pitchFamily="34" charset="-52"/>
              </a:rPr>
            </a:br>
            <a:r>
              <a:rPr lang="ru-RU" sz="1200" dirty="0">
                <a:ea typeface="Stem Medium" panose="020B0603020203020204" pitchFamily="34" charset="-52"/>
              </a:rPr>
              <a:t>за соблюдением бюджета </a:t>
            </a:r>
            <a:r>
              <a:rPr lang="ru-RU" sz="1200" dirty="0" smtClean="0">
                <a:ea typeface="Stem Medium" panose="020B0603020203020204" pitchFamily="34" charset="-52"/>
              </a:rPr>
              <a:t>проекта;</a:t>
            </a:r>
            <a:endParaRPr lang="ru-RU" sz="1200" dirty="0">
              <a:ea typeface="Stem Medium" panose="020B0603020203020204" pitchFamily="34" charset="-52"/>
            </a:endParaRPr>
          </a:p>
          <a:p>
            <a:pPr defTabSz="716560">
              <a:spcAft>
                <a:spcPts val="1700"/>
              </a:spcAft>
              <a:defRPr/>
            </a:pPr>
            <a:r>
              <a:rPr lang="ru-RU" sz="1200" dirty="0"/>
              <a:t>Превышение предельно допустимых уровней стоимости ресурсов используемых исполнителями </a:t>
            </a:r>
            <a:r>
              <a:rPr lang="ru-RU" sz="1200" dirty="0" smtClean="0"/>
              <a:t>проекта;</a:t>
            </a:r>
            <a:endParaRPr lang="ru-RU" sz="1200" dirty="0"/>
          </a:p>
          <a:p>
            <a:pPr defTabSz="716560">
              <a:spcAft>
                <a:spcPts val="1700"/>
              </a:spcAft>
              <a:defRPr/>
            </a:pPr>
            <a:r>
              <a:rPr lang="ru-RU" sz="1200" dirty="0">
                <a:ea typeface="Stem Medium" panose="020B0603020203020204" pitchFamily="34" charset="-52"/>
              </a:rPr>
              <a:t>Нецелевое использование денежных средств исполнителями </a:t>
            </a:r>
            <a:r>
              <a:rPr lang="ru-RU" sz="1200" dirty="0" smtClean="0">
                <a:ea typeface="Stem Medium" panose="020B0603020203020204" pitchFamily="34" charset="-52"/>
              </a:rPr>
              <a:t>проектов;</a:t>
            </a:r>
            <a:endParaRPr lang="ru-RU" sz="1200" dirty="0">
              <a:ea typeface="Stem Medium" panose="020B0603020203020204" pitchFamily="34" charset="-52"/>
            </a:endParaRPr>
          </a:p>
          <a:p>
            <a:pPr defTabSz="716560">
              <a:spcAft>
                <a:spcPts val="1700"/>
              </a:spcAft>
              <a:defRPr/>
            </a:pPr>
            <a:r>
              <a:rPr lang="ru-RU" sz="1200" dirty="0">
                <a:ea typeface="Stem Medium" panose="020B0603020203020204" pitchFamily="34" charset="-52"/>
              </a:rPr>
              <a:t>Привлечение к исполнению проектов неблагонадежных </a:t>
            </a:r>
            <a:r>
              <a:rPr lang="ru-RU" sz="1200" dirty="0" smtClean="0">
                <a:ea typeface="Stem Medium" panose="020B0603020203020204" pitchFamily="34" charset="-52"/>
              </a:rPr>
              <a:t>соисполнителей;</a:t>
            </a:r>
            <a:endParaRPr lang="ru-RU" sz="1200" dirty="0">
              <a:ea typeface="Stem Medium" panose="020B0603020203020204" pitchFamily="34" charset="-52"/>
            </a:endParaRPr>
          </a:p>
        </p:txBody>
      </p: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3EFFB641-7E52-4BB1-9BAF-69C52681AD9F}"/>
              </a:ext>
            </a:extLst>
          </p:cNvPr>
          <p:cNvGrpSpPr>
            <a:grpSpLocks noChangeAspect="1"/>
          </p:cNvGrpSpPr>
          <p:nvPr/>
        </p:nvGrpSpPr>
        <p:grpSpPr>
          <a:xfrm>
            <a:off x="5140877" y="3090156"/>
            <a:ext cx="414000" cy="414000"/>
            <a:chOff x="2034523" y="4136700"/>
            <a:chExt cx="612000" cy="612000"/>
          </a:xfrm>
        </p:grpSpPr>
        <p:sp>
          <p:nvSpPr>
            <p:cNvPr id="99" name="Полилиния: фигура 31">
              <a:extLst>
                <a:ext uri="{FF2B5EF4-FFF2-40B4-BE49-F238E27FC236}">
                  <a16:creationId xmlns:a16="http://schemas.microsoft.com/office/drawing/2014/main" id="{F0FD7AE6-C59B-4325-8457-62B2517B3CCC}"/>
                </a:ext>
              </a:extLst>
            </p:cNvPr>
            <p:cNvSpPr/>
            <p:nvPr/>
          </p:nvSpPr>
          <p:spPr>
            <a:xfrm>
              <a:off x="2034523" y="4136700"/>
              <a:ext cx="612000" cy="612000"/>
            </a:xfrm>
            <a:custGeom>
              <a:avLst/>
              <a:gdLst>
                <a:gd name="connsiteX0" fmla="*/ 612000 w 612000"/>
                <a:gd name="connsiteY0" fmla="*/ 306000 h 612000"/>
                <a:gd name="connsiteX1" fmla="*/ 306000 w 612000"/>
                <a:gd name="connsiteY1" fmla="*/ 612000 h 612000"/>
                <a:gd name="connsiteX2" fmla="*/ 0 w 612000"/>
                <a:gd name="connsiteY2" fmla="*/ 306000 h 612000"/>
                <a:gd name="connsiteX3" fmla="*/ 306000 w 612000"/>
                <a:gd name="connsiteY3" fmla="*/ 0 h 612000"/>
                <a:gd name="connsiteX4" fmla="*/ 612000 w 612000"/>
                <a:gd name="connsiteY4" fmla="*/ 30600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612000">
                  <a:moveTo>
                    <a:pt x="612000" y="306000"/>
                  </a:move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ubicBezTo>
                    <a:pt x="474999" y="0"/>
                    <a:pt x="612000" y="137001"/>
                    <a:pt x="612000" y="306000"/>
                  </a:cubicBezTo>
                  <a:close/>
                </a:path>
              </a:pathLst>
            </a:custGeom>
            <a:solidFill>
              <a:srgbClr val="2355D7"/>
            </a:solidFill>
            <a:ln w="725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00" name="Полилиния: фигура 33">
              <a:extLst>
                <a:ext uri="{FF2B5EF4-FFF2-40B4-BE49-F238E27FC236}">
                  <a16:creationId xmlns:a16="http://schemas.microsoft.com/office/drawing/2014/main" id="{A5203642-9811-42B8-AA58-8AB7B78C58A4}"/>
                </a:ext>
              </a:extLst>
            </p:cNvPr>
            <p:cNvSpPr/>
            <p:nvPr/>
          </p:nvSpPr>
          <p:spPr>
            <a:xfrm>
              <a:off x="2151094" y="4435924"/>
              <a:ext cx="58285" cy="14571"/>
            </a:xfrm>
            <a:custGeom>
              <a:avLst/>
              <a:gdLst>
                <a:gd name="connsiteX0" fmla="*/ 50417 w 58285"/>
                <a:gd name="connsiteY0" fmla="*/ 14571 h 14571"/>
                <a:gd name="connsiteX1" fmla="*/ 7286 w 58285"/>
                <a:gd name="connsiteY1" fmla="*/ 14571 h 14571"/>
                <a:gd name="connsiteX2" fmla="*/ 0 w 58285"/>
                <a:gd name="connsiteY2" fmla="*/ 7286 h 14571"/>
                <a:gd name="connsiteX3" fmla="*/ 7286 w 58285"/>
                <a:gd name="connsiteY3" fmla="*/ 0 h 14571"/>
                <a:gd name="connsiteX4" fmla="*/ 51000 w 58285"/>
                <a:gd name="connsiteY4" fmla="*/ 0 h 14571"/>
                <a:gd name="connsiteX5" fmla="*/ 58286 w 58285"/>
                <a:gd name="connsiteY5" fmla="*/ 7286 h 14571"/>
                <a:gd name="connsiteX6" fmla="*/ 51000 w 58285"/>
                <a:gd name="connsiteY6" fmla="*/ 14571 h 1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285" h="14571">
                  <a:moveTo>
                    <a:pt x="50417" y="14571"/>
                  </a:moveTo>
                  <a:lnTo>
                    <a:pt x="7286" y="14571"/>
                  </a:lnTo>
                  <a:cubicBezTo>
                    <a:pt x="3262" y="14571"/>
                    <a:pt x="0" y="11310"/>
                    <a:pt x="0" y="7286"/>
                  </a:cubicBezTo>
                  <a:cubicBezTo>
                    <a:pt x="0" y="3262"/>
                    <a:pt x="3262" y="0"/>
                    <a:pt x="7286" y="0"/>
                  </a:cubicBezTo>
                  <a:lnTo>
                    <a:pt x="51000" y="0"/>
                  </a:lnTo>
                  <a:cubicBezTo>
                    <a:pt x="55024" y="0"/>
                    <a:pt x="58286" y="3262"/>
                    <a:pt x="58286" y="7286"/>
                  </a:cubicBezTo>
                  <a:cubicBezTo>
                    <a:pt x="58286" y="11310"/>
                    <a:pt x="55024" y="14571"/>
                    <a:pt x="51000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Полилиния: фигура 34">
              <a:extLst>
                <a:ext uri="{FF2B5EF4-FFF2-40B4-BE49-F238E27FC236}">
                  <a16:creationId xmlns:a16="http://schemas.microsoft.com/office/drawing/2014/main" id="{E6F4A2B8-98BD-4B3D-A10E-686DD1326F2C}"/>
                </a:ext>
              </a:extLst>
            </p:cNvPr>
            <p:cNvSpPr/>
            <p:nvPr/>
          </p:nvSpPr>
          <p:spPr>
            <a:xfrm>
              <a:off x="2172514" y="4275637"/>
              <a:ext cx="335223" cy="335143"/>
            </a:xfrm>
            <a:custGeom>
              <a:avLst/>
              <a:gdLst>
                <a:gd name="connsiteX0" fmla="*/ 167571 w 335223"/>
                <a:gd name="connsiteY0" fmla="*/ 335144 h 335143"/>
                <a:gd name="connsiteX1" fmla="*/ 0 w 335223"/>
                <a:gd name="connsiteY1" fmla="*/ 167572 h 335143"/>
                <a:gd name="connsiteX2" fmla="*/ 167571 w 335223"/>
                <a:gd name="connsiteY2" fmla="*/ 1 h 335143"/>
                <a:gd name="connsiteX3" fmla="*/ 243853 w 335223"/>
                <a:gd name="connsiteY3" fmla="*/ 18361 h 335143"/>
                <a:gd name="connsiteX4" fmla="*/ 246732 w 335223"/>
                <a:gd name="connsiteY4" fmla="*/ 28254 h 335143"/>
                <a:gd name="connsiteX5" fmla="*/ 237223 w 335223"/>
                <a:gd name="connsiteY5" fmla="*/ 31329 h 335143"/>
                <a:gd name="connsiteX6" fmla="*/ 31326 w 335223"/>
                <a:gd name="connsiteY6" fmla="*/ 97845 h 335143"/>
                <a:gd name="connsiteX7" fmla="*/ 97841 w 335223"/>
                <a:gd name="connsiteY7" fmla="*/ 303742 h 335143"/>
                <a:gd name="connsiteX8" fmla="*/ 303739 w 335223"/>
                <a:gd name="connsiteY8" fmla="*/ 237226 h 335143"/>
                <a:gd name="connsiteX9" fmla="*/ 303814 w 335223"/>
                <a:gd name="connsiteY9" fmla="*/ 97994 h 335143"/>
                <a:gd name="connsiteX10" fmla="*/ 307020 w 335223"/>
                <a:gd name="connsiteY10" fmla="*/ 88158 h 335143"/>
                <a:gd name="connsiteX11" fmla="*/ 316856 w 335223"/>
                <a:gd name="connsiteY11" fmla="*/ 91364 h 335143"/>
                <a:gd name="connsiteX12" fmla="*/ 243824 w 335223"/>
                <a:gd name="connsiteY12" fmla="*/ 316812 h 335143"/>
                <a:gd name="connsiteX13" fmla="*/ 167571 w 335223"/>
                <a:gd name="connsiteY13" fmla="*/ 335144 h 335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5223" h="335143">
                  <a:moveTo>
                    <a:pt x="167571" y="335144"/>
                  </a:moveTo>
                  <a:cubicBezTo>
                    <a:pt x="75024" y="335144"/>
                    <a:pt x="0" y="260119"/>
                    <a:pt x="0" y="167572"/>
                  </a:cubicBezTo>
                  <a:cubicBezTo>
                    <a:pt x="0" y="75025"/>
                    <a:pt x="75024" y="1"/>
                    <a:pt x="167571" y="1"/>
                  </a:cubicBezTo>
                  <a:cubicBezTo>
                    <a:pt x="194102" y="-75"/>
                    <a:pt x="220262" y="6221"/>
                    <a:pt x="243853" y="18361"/>
                  </a:cubicBezTo>
                  <a:cubicBezTo>
                    <a:pt x="247380" y="20297"/>
                    <a:pt x="248669" y="24727"/>
                    <a:pt x="246732" y="28254"/>
                  </a:cubicBezTo>
                  <a:cubicBezTo>
                    <a:pt x="244876" y="31634"/>
                    <a:pt x="240707" y="32982"/>
                    <a:pt x="237223" y="31329"/>
                  </a:cubicBezTo>
                  <a:cubicBezTo>
                    <a:pt x="161998" y="-7160"/>
                    <a:pt x="69815" y="22620"/>
                    <a:pt x="31326" y="97845"/>
                  </a:cubicBezTo>
                  <a:cubicBezTo>
                    <a:pt x="-7164" y="173069"/>
                    <a:pt x="22616" y="265252"/>
                    <a:pt x="97841" y="303742"/>
                  </a:cubicBezTo>
                  <a:cubicBezTo>
                    <a:pt x="173066" y="342231"/>
                    <a:pt x="265249" y="312451"/>
                    <a:pt x="303739" y="237226"/>
                  </a:cubicBezTo>
                  <a:cubicBezTo>
                    <a:pt x="326103" y="193517"/>
                    <a:pt x="326131" y="141728"/>
                    <a:pt x="303814" y="97994"/>
                  </a:cubicBezTo>
                  <a:cubicBezTo>
                    <a:pt x="301983" y="94392"/>
                    <a:pt x="303419" y="89989"/>
                    <a:pt x="307020" y="88158"/>
                  </a:cubicBezTo>
                  <a:cubicBezTo>
                    <a:pt x="310621" y="86327"/>
                    <a:pt x="315025" y="87762"/>
                    <a:pt x="316856" y="91364"/>
                  </a:cubicBezTo>
                  <a:cubicBezTo>
                    <a:pt x="358945" y="173786"/>
                    <a:pt x="326248" y="274723"/>
                    <a:pt x="243824" y="316812"/>
                  </a:cubicBezTo>
                  <a:cubicBezTo>
                    <a:pt x="220215" y="328868"/>
                    <a:pt x="194081" y="335151"/>
                    <a:pt x="167571" y="335144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Полилиния: фигура 35">
              <a:extLst>
                <a:ext uri="{FF2B5EF4-FFF2-40B4-BE49-F238E27FC236}">
                  <a16:creationId xmlns:a16="http://schemas.microsoft.com/office/drawing/2014/main" id="{00602BF4-24AA-4803-9CF5-3C32AABE47E9}"/>
                </a:ext>
              </a:extLst>
            </p:cNvPr>
            <p:cNvSpPr/>
            <p:nvPr/>
          </p:nvSpPr>
          <p:spPr>
            <a:xfrm>
              <a:off x="2239500" y="4341438"/>
              <a:ext cx="203021" cy="203991"/>
            </a:xfrm>
            <a:custGeom>
              <a:avLst/>
              <a:gdLst>
                <a:gd name="connsiteX0" fmla="*/ 100585 w 203022"/>
                <a:gd name="connsiteY0" fmla="*/ 203990 h 203991"/>
                <a:gd name="connsiteX1" fmla="*/ 10 w 203022"/>
                <a:gd name="connsiteY1" fmla="*/ 100585 h 203991"/>
                <a:gd name="connsiteX2" fmla="*/ 103415 w 203022"/>
                <a:gd name="connsiteY2" fmla="*/ 10 h 203991"/>
                <a:gd name="connsiteX3" fmla="*/ 131986 w 203022"/>
                <a:gd name="connsiteY3" fmla="*/ 4507 h 203991"/>
                <a:gd name="connsiteX4" fmla="*/ 136993 w 203022"/>
                <a:gd name="connsiteY4" fmla="*/ 13513 h 203991"/>
                <a:gd name="connsiteX5" fmla="*/ 127987 w 203022"/>
                <a:gd name="connsiteY5" fmla="*/ 18519 h 203991"/>
                <a:gd name="connsiteX6" fmla="*/ 127469 w 203022"/>
                <a:gd name="connsiteY6" fmla="*/ 18350 h 203991"/>
                <a:gd name="connsiteX7" fmla="*/ 17547 w 203022"/>
                <a:gd name="connsiteY7" fmla="*/ 74960 h 203991"/>
                <a:gd name="connsiteX8" fmla="*/ 74157 w 203022"/>
                <a:gd name="connsiteY8" fmla="*/ 184882 h 203991"/>
                <a:gd name="connsiteX9" fmla="*/ 184079 w 203022"/>
                <a:gd name="connsiteY9" fmla="*/ 128272 h 203991"/>
                <a:gd name="connsiteX10" fmla="*/ 184079 w 203022"/>
                <a:gd name="connsiteY10" fmla="*/ 74960 h 203991"/>
                <a:gd name="connsiteX11" fmla="*/ 188451 w 203022"/>
                <a:gd name="connsiteY11" fmla="*/ 65853 h 203991"/>
                <a:gd name="connsiteX12" fmla="*/ 197631 w 203022"/>
                <a:gd name="connsiteY12" fmla="*/ 70516 h 203991"/>
                <a:gd name="connsiteX13" fmla="*/ 203022 w 203022"/>
                <a:gd name="connsiteY13" fmla="*/ 101772 h 203991"/>
                <a:gd name="connsiteX14" fmla="*/ 101242 w 203022"/>
                <a:gd name="connsiteY14" fmla="*/ 203991 h 203991"/>
                <a:gd name="connsiteX15" fmla="*/ 100585 w 203022"/>
                <a:gd name="connsiteY15" fmla="*/ 203990 h 203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3022" h="203991">
                  <a:moveTo>
                    <a:pt x="100585" y="203990"/>
                  </a:moveTo>
                  <a:cubicBezTo>
                    <a:pt x="44258" y="203209"/>
                    <a:pt x="-772" y="156913"/>
                    <a:pt x="10" y="100585"/>
                  </a:cubicBezTo>
                  <a:cubicBezTo>
                    <a:pt x="791" y="44258"/>
                    <a:pt x="47087" y="-772"/>
                    <a:pt x="103415" y="10"/>
                  </a:cubicBezTo>
                  <a:cubicBezTo>
                    <a:pt x="113104" y="144"/>
                    <a:pt x="122725" y="1659"/>
                    <a:pt x="131986" y="4507"/>
                  </a:cubicBezTo>
                  <a:cubicBezTo>
                    <a:pt x="135856" y="5612"/>
                    <a:pt x="138097" y="9644"/>
                    <a:pt x="136993" y="13513"/>
                  </a:cubicBezTo>
                  <a:cubicBezTo>
                    <a:pt x="135889" y="17382"/>
                    <a:pt x="131857" y="19624"/>
                    <a:pt x="127987" y="18519"/>
                  </a:cubicBezTo>
                  <a:cubicBezTo>
                    <a:pt x="127812" y="18470"/>
                    <a:pt x="127640" y="18413"/>
                    <a:pt x="127469" y="18350"/>
                  </a:cubicBezTo>
                  <a:cubicBezTo>
                    <a:pt x="81483" y="3629"/>
                    <a:pt x="32269" y="28974"/>
                    <a:pt x="17547" y="74960"/>
                  </a:cubicBezTo>
                  <a:cubicBezTo>
                    <a:pt x="2826" y="120947"/>
                    <a:pt x="28171" y="170161"/>
                    <a:pt x="74157" y="184882"/>
                  </a:cubicBezTo>
                  <a:cubicBezTo>
                    <a:pt x="120144" y="199604"/>
                    <a:pt x="169358" y="174259"/>
                    <a:pt x="184079" y="128272"/>
                  </a:cubicBezTo>
                  <a:cubicBezTo>
                    <a:pt x="189630" y="110935"/>
                    <a:pt x="189630" y="92297"/>
                    <a:pt x="184079" y="74960"/>
                  </a:cubicBezTo>
                  <a:cubicBezTo>
                    <a:pt x="182854" y="71243"/>
                    <a:pt x="184784" y="67222"/>
                    <a:pt x="188451" y="65853"/>
                  </a:cubicBezTo>
                  <a:cubicBezTo>
                    <a:pt x="192273" y="64609"/>
                    <a:pt x="196381" y="66695"/>
                    <a:pt x="197631" y="70516"/>
                  </a:cubicBezTo>
                  <a:cubicBezTo>
                    <a:pt x="201025" y="80595"/>
                    <a:pt x="202844" y="91138"/>
                    <a:pt x="203022" y="101772"/>
                  </a:cubicBezTo>
                  <a:cubicBezTo>
                    <a:pt x="203143" y="158105"/>
                    <a:pt x="157575" y="203870"/>
                    <a:pt x="101242" y="203991"/>
                  </a:cubicBezTo>
                  <a:cubicBezTo>
                    <a:pt x="101023" y="203992"/>
                    <a:pt x="100804" y="203991"/>
                    <a:pt x="100585" y="203990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Полилиния: фигура 36">
              <a:extLst>
                <a:ext uri="{FF2B5EF4-FFF2-40B4-BE49-F238E27FC236}">
                  <a16:creationId xmlns:a16="http://schemas.microsoft.com/office/drawing/2014/main" id="{25E199A0-AC98-4C9F-9FB9-5A137AEB53DE}"/>
                </a:ext>
              </a:extLst>
            </p:cNvPr>
            <p:cNvSpPr/>
            <p:nvPr/>
          </p:nvSpPr>
          <p:spPr>
            <a:xfrm>
              <a:off x="2332654" y="4253635"/>
              <a:ext cx="14571" cy="58795"/>
            </a:xfrm>
            <a:custGeom>
              <a:avLst/>
              <a:gdLst>
                <a:gd name="connsiteX0" fmla="*/ 7286 w 14571"/>
                <a:gd name="connsiteY0" fmla="*/ 58796 h 58795"/>
                <a:gd name="connsiteX1" fmla="*/ 0 w 14571"/>
                <a:gd name="connsiteY1" fmla="*/ 51510 h 58795"/>
                <a:gd name="connsiteX2" fmla="*/ 0 w 14571"/>
                <a:gd name="connsiteY2" fmla="*/ 7286 h 58795"/>
                <a:gd name="connsiteX3" fmla="*/ 7286 w 14571"/>
                <a:gd name="connsiteY3" fmla="*/ 0 h 58795"/>
                <a:gd name="connsiteX4" fmla="*/ 14571 w 14571"/>
                <a:gd name="connsiteY4" fmla="*/ 7286 h 58795"/>
                <a:gd name="connsiteX5" fmla="*/ 14571 w 14571"/>
                <a:gd name="connsiteY5" fmla="*/ 51437 h 58795"/>
                <a:gd name="connsiteX6" fmla="*/ 7359 w 14571"/>
                <a:gd name="connsiteY6" fmla="*/ 58796 h 58795"/>
                <a:gd name="connsiteX7" fmla="*/ 7286 w 14571"/>
                <a:gd name="connsiteY7" fmla="*/ 58796 h 58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71" h="58795">
                  <a:moveTo>
                    <a:pt x="7286" y="58796"/>
                  </a:moveTo>
                  <a:cubicBezTo>
                    <a:pt x="3262" y="58796"/>
                    <a:pt x="0" y="55534"/>
                    <a:pt x="0" y="51510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51437"/>
                  </a:lnTo>
                  <a:cubicBezTo>
                    <a:pt x="14612" y="55461"/>
                    <a:pt x="11382" y="58755"/>
                    <a:pt x="7359" y="58796"/>
                  </a:cubicBezTo>
                  <a:cubicBezTo>
                    <a:pt x="7335" y="58796"/>
                    <a:pt x="7311" y="58796"/>
                    <a:pt x="7286" y="58796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Полилиния: фигура 62">
              <a:extLst>
                <a:ext uri="{FF2B5EF4-FFF2-40B4-BE49-F238E27FC236}">
                  <a16:creationId xmlns:a16="http://schemas.microsoft.com/office/drawing/2014/main" id="{3D1CFF15-077D-46C2-B397-53BA7A83E568}"/>
                </a:ext>
              </a:extLst>
            </p:cNvPr>
            <p:cNvSpPr/>
            <p:nvPr/>
          </p:nvSpPr>
          <p:spPr>
            <a:xfrm>
              <a:off x="2471082" y="4435924"/>
              <a:ext cx="58285" cy="14571"/>
            </a:xfrm>
            <a:custGeom>
              <a:avLst/>
              <a:gdLst>
                <a:gd name="connsiteX0" fmla="*/ 51000 w 58285"/>
                <a:gd name="connsiteY0" fmla="*/ 14571 h 14571"/>
                <a:gd name="connsiteX1" fmla="*/ 7286 w 58285"/>
                <a:gd name="connsiteY1" fmla="*/ 14571 h 14571"/>
                <a:gd name="connsiteX2" fmla="*/ 0 w 58285"/>
                <a:gd name="connsiteY2" fmla="*/ 7286 h 14571"/>
                <a:gd name="connsiteX3" fmla="*/ 7286 w 58285"/>
                <a:gd name="connsiteY3" fmla="*/ 0 h 14571"/>
                <a:gd name="connsiteX4" fmla="*/ 51000 w 58285"/>
                <a:gd name="connsiteY4" fmla="*/ 0 h 14571"/>
                <a:gd name="connsiteX5" fmla="*/ 58286 w 58285"/>
                <a:gd name="connsiteY5" fmla="*/ 7286 h 14571"/>
                <a:gd name="connsiteX6" fmla="*/ 51000 w 58285"/>
                <a:gd name="connsiteY6" fmla="*/ 14571 h 1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285" h="14571">
                  <a:moveTo>
                    <a:pt x="51000" y="14571"/>
                  </a:moveTo>
                  <a:lnTo>
                    <a:pt x="7286" y="14571"/>
                  </a:lnTo>
                  <a:cubicBezTo>
                    <a:pt x="3262" y="14571"/>
                    <a:pt x="0" y="11310"/>
                    <a:pt x="0" y="7286"/>
                  </a:cubicBezTo>
                  <a:cubicBezTo>
                    <a:pt x="0" y="3262"/>
                    <a:pt x="3262" y="0"/>
                    <a:pt x="7286" y="0"/>
                  </a:cubicBezTo>
                  <a:lnTo>
                    <a:pt x="51000" y="0"/>
                  </a:lnTo>
                  <a:cubicBezTo>
                    <a:pt x="55024" y="0"/>
                    <a:pt x="58286" y="3262"/>
                    <a:pt x="58286" y="7286"/>
                  </a:cubicBezTo>
                  <a:cubicBezTo>
                    <a:pt x="58286" y="11310"/>
                    <a:pt x="55024" y="14571"/>
                    <a:pt x="51000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Полилиния: фигура 255">
              <a:extLst>
                <a:ext uri="{FF2B5EF4-FFF2-40B4-BE49-F238E27FC236}">
                  <a16:creationId xmlns:a16="http://schemas.microsoft.com/office/drawing/2014/main" id="{BD4BD304-6019-468E-984B-AC339B293156}"/>
                </a:ext>
              </a:extLst>
            </p:cNvPr>
            <p:cNvSpPr/>
            <p:nvPr/>
          </p:nvSpPr>
          <p:spPr>
            <a:xfrm>
              <a:off x="2332654" y="4573842"/>
              <a:ext cx="14571" cy="58285"/>
            </a:xfrm>
            <a:custGeom>
              <a:avLst/>
              <a:gdLst>
                <a:gd name="connsiteX0" fmla="*/ 7286 w 14571"/>
                <a:gd name="connsiteY0" fmla="*/ 58286 h 58285"/>
                <a:gd name="connsiteX1" fmla="*/ 0 w 14571"/>
                <a:gd name="connsiteY1" fmla="*/ 51000 h 58285"/>
                <a:gd name="connsiteX2" fmla="*/ 0 w 14571"/>
                <a:gd name="connsiteY2" fmla="*/ 7286 h 58285"/>
                <a:gd name="connsiteX3" fmla="*/ 7286 w 14571"/>
                <a:gd name="connsiteY3" fmla="*/ 0 h 58285"/>
                <a:gd name="connsiteX4" fmla="*/ 14571 w 14571"/>
                <a:gd name="connsiteY4" fmla="*/ 7286 h 58285"/>
                <a:gd name="connsiteX5" fmla="*/ 14571 w 14571"/>
                <a:gd name="connsiteY5" fmla="*/ 51000 h 58285"/>
                <a:gd name="connsiteX6" fmla="*/ 7286 w 14571"/>
                <a:gd name="connsiteY6" fmla="*/ 58286 h 5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58285">
                  <a:moveTo>
                    <a:pt x="7286" y="58286"/>
                  </a:moveTo>
                  <a:cubicBezTo>
                    <a:pt x="3262" y="58286"/>
                    <a:pt x="0" y="55024"/>
                    <a:pt x="0" y="51000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51000"/>
                  </a:lnTo>
                  <a:cubicBezTo>
                    <a:pt x="14571" y="55024"/>
                    <a:pt x="11310" y="58286"/>
                    <a:pt x="7286" y="58286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Полилиния: фигура 256">
              <a:extLst>
                <a:ext uri="{FF2B5EF4-FFF2-40B4-BE49-F238E27FC236}">
                  <a16:creationId xmlns:a16="http://schemas.microsoft.com/office/drawing/2014/main" id="{6D4242EA-939D-4CC1-9F9E-A71AB5BA6273}"/>
                </a:ext>
              </a:extLst>
            </p:cNvPr>
            <p:cNvSpPr/>
            <p:nvPr/>
          </p:nvSpPr>
          <p:spPr>
            <a:xfrm>
              <a:off x="2448570" y="4253082"/>
              <a:ext cx="81420" cy="81642"/>
            </a:xfrm>
            <a:custGeom>
              <a:avLst/>
              <a:gdLst>
                <a:gd name="connsiteX0" fmla="*/ 38250 w 81420"/>
                <a:gd name="connsiteY0" fmla="*/ 81643 h 81642"/>
                <a:gd name="connsiteX1" fmla="*/ 7286 w 81420"/>
                <a:gd name="connsiteY1" fmla="*/ 81643 h 81642"/>
                <a:gd name="connsiteX2" fmla="*/ 2113 w 81420"/>
                <a:gd name="connsiteY2" fmla="*/ 79457 h 81642"/>
                <a:gd name="connsiteX3" fmla="*/ 0 w 81420"/>
                <a:gd name="connsiteY3" fmla="*/ 74284 h 81642"/>
                <a:gd name="connsiteX4" fmla="*/ 0 w 81420"/>
                <a:gd name="connsiteY4" fmla="*/ 43101 h 81642"/>
                <a:gd name="connsiteX5" fmla="*/ 2113 w 81420"/>
                <a:gd name="connsiteY5" fmla="*/ 38001 h 81642"/>
                <a:gd name="connsiteX6" fmla="*/ 38032 w 81420"/>
                <a:gd name="connsiteY6" fmla="*/ 2083 h 81642"/>
                <a:gd name="connsiteX7" fmla="*/ 48334 w 81420"/>
                <a:gd name="connsiteY7" fmla="*/ 2186 h 81642"/>
                <a:gd name="connsiteX8" fmla="*/ 50417 w 81420"/>
                <a:gd name="connsiteY8" fmla="*/ 7256 h 81642"/>
                <a:gd name="connsiteX9" fmla="*/ 50417 w 81420"/>
                <a:gd name="connsiteY9" fmla="*/ 30861 h 81642"/>
                <a:gd name="connsiteX10" fmla="*/ 74096 w 81420"/>
                <a:gd name="connsiteY10" fmla="*/ 30861 h 81642"/>
                <a:gd name="connsiteX11" fmla="*/ 80872 w 81420"/>
                <a:gd name="connsiteY11" fmla="*/ 35379 h 81642"/>
                <a:gd name="connsiteX12" fmla="*/ 79269 w 81420"/>
                <a:gd name="connsiteY12" fmla="*/ 43320 h 81642"/>
                <a:gd name="connsiteX13" fmla="*/ 42840 w 81420"/>
                <a:gd name="connsiteY13" fmla="*/ 79749 h 81642"/>
                <a:gd name="connsiteX14" fmla="*/ 38250 w 81420"/>
                <a:gd name="connsiteY14" fmla="*/ 81643 h 81642"/>
                <a:gd name="connsiteX15" fmla="*/ 14644 w 81420"/>
                <a:gd name="connsiteY15" fmla="*/ 67071 h 81642"/>
                <a:gd name="connsiteX16" fmla="*/ 35190 w 81420"/>
                <a:gd name="connsiteY16" fmla="*/ 67071 h 81642"/>
                <a:gd name="connsiteX17" fmla="*/ 57047 w 81420"/>
                <a:gd name="connsiteY17" fmla="*/ 45214 h 81642"/>
                <a:gd name="connsiteX18" fmla="*/ 43350 w 81420"/>
                <a:gd name="connsiteY18" fmla="*/ 45214 h 81642"/>
                <a:gd name="connsiteX19" fmla="*/ 36064 w 81420"/>
                <a:gd name="connsiteY19" fmla="*/ 37929 h 81642"/>
                <a:gd name="connsiteX20" fmla="*/ 36064 w 81420"/>
                <a:gd name="connsiteY20" fmla="*/ 24814 h 81642"/>
                <a:gd name="connsiteX21" fmla="*/ 14717 w 81420"/>
                <a:gd name="connsiteY21" fmla="*/ 46161 h 8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1420" h="81642">
                  <a:moveTo>
                    <a:pt x="38250" y="81643"/>
                  </a:moveTo>
                  <a:lnTo>
                    <a:pt x="7286" y="81643"/>
                  </a:lnTo>
                  <a:cubicBezTo>
                    <a:pt x="5339" y="81635"/>
                    <a:pt x="3476" y="80848"/>
                    <a:pt x="2113" y="79457"/>
                  </a:cubicBezTo>
                  <a:cubicBezTo>
                    <a:pt x="749" y="78082"/>
                    <a:pt x="-11" y="76221"/>
                    <a:pt x="0" y="74284"/>
                  </a:cubicBezTo>
                  <a:lnTo>
                    <a:pt x="0" y="43101"/>
                  </a:lnTo>
                  <a:cubicBezTo>
                    <a:pt x="8" y="41190"/>
                    <a:pt x="767" y="39359"/>
                    <a:pt x="2113" y="38001"/>
                  </a:cubicBezTo>
                  <a:lnTo>
                    <a:pt x="38032" y="2083"/>
                  </a:lnTo>
                  <a:cubicBezTo>
                    <a:pt x="40905" y="-734"/>
                    <a:pt x="45518" y="-688"/>
                    <a:pt x="48334" y="2186"/>
                  </a:cubicBezTo>
                  <a:cubicBezTo>
                    <a:pt x="49662" y="3540"/>
                    <a:pt x="50409" y="5359"/>
                    <a:pt x="50417" y="7256"/>
                  </a:cubicBezTo>
                  <a:lnTo>
                    <a:pt x="50417" y="30861"/>
                  </a:lnTo>
                  <a:lnTo>
                    <a:pt x="74096" y="30861"/>
                  </a:lnTo>
                  <a:cubicBezTo>
                    <a:pt x="77063" y="30847"/>
                    <a:pt x="79744" y="32633"/>
                    <a:pt x="80872" y="35379"/>
                  </a:cubicBezTo>
                  <a:cubicBezTo>
                    <a:pt x="81994" y="38106"/>
                    <a:pt x="81361" y="41241"/>
                    <a:pt x="79269" y="43320"/>
                  </a:cubicBezTo>
                  <a:lnTo>
                    <a:pt x="42840" y="79749"/>
                  </a:lnTo>
                  <a:cubicBezTo>
                    <a:pt x="41579" y="80898"/>
                    <a:pt x="39955" y="81568"/>
                    <a:pt x="38250" y="81643"/>
                  </a:cubicBezTo>
                  <a:close/>
                  <a:moveTo>
                    <a:pt x="14644" y="67071"/>
                  </a:moveTo>
                  <a:lnTo>
                    <a:pt x="35190" y="67071"/>
                  </a:lnTo>
                  <a:lnTo>
                    <a:pt x="57047" y="45214"/>
                  </a:lnTo>
                  <a:lnTo>
                    <a:pt x="43350" y="45214"/>
                  </a:lnTo>
                  <a:cubicBezTo>
                    <a:pt x="39326" y="45214"/>
                    <a:pt x="36064" y="41952"/>
                    <a:pt x="36064" y="37929"/>
                  </a:cubicBezTo>
                  <a:lnTo>
                    <a:pt x="36064" y="24814"/>
                  </a:lnTo>
                  <a:lnTo>
                    <a:pt x="14717" y="46161"/>
                  </a:ln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Полилиния: фигура 257">
              <a:extLst>
                <a:ext uri="{FF2B5EF4-FFF2-40B4-BE49-F238E27FC236}">
                  <a16:creationId xmlns:a16="http://schemas.microsoft.com/office/drawing/2014/main" id="{CA7CA144-B45B-45FF-A8DB-AFE47735B2BB}"/>
                </a:ext>
              </a:extLst>
            </p:cNvPr>
            <p:cNvSpPr/>
            <p:nvPr/>
          </p:nvSpPr>
          <p:spPr>
            <a:xfrm>
              <a:off x="2332794" y="4319428"/>
              <a:ext cx="131072" cy="131066"/>
            </a:xfrm>
            <a:custGeom>
              <a:avLst/>
              <a:gdLst>
                <a:gd name="connsiteX0" fmla="*/ 7291 w 131072"/>
                <a:gd name="connsiteY0" fmla="*/ 131067 h 131066"/>
                <a:gd name="connsiteX1" fmla="*/ 2118 w 131072"/>
                <a:gd name="connsiteY1" fmla="*/ 128954 h 131066"/>
                <a:gd name="connsiteX2" fmla="*/ 2118 w 131072"/>
                <a:gd name="connsiteY2" fmla="*/ 118681 h 131066"/>
                <a:gd name="connsiteX3" fmla="*/ 118253 w 131072"/>
                <a:gd name="connsiteY3" fmla="*/ 2547 h 131066"/>
                <a:gd name="connsiteX4" fmla="*/ 128526 w 131072"/>
                <a:gd name="connsiteY4" fmla="*/ 1752 h 131066"/>
                <a:gd name="connsiteX5" fmla="*/ 129321 w 131072"/>
                <a:gd name="connsiteY5" fmla="*/ 12025 h 131066"/>
                <a:gd name="connsiteX6" fmla="*/ 128526 w 131072"/>
                <a:gd name="connsiteY6" fmla="*/ 12820 h 131066"/>
                <a:gd name="connsiteX7" fmla="*/ 12464 w 131072"/>
                <a:gd name="connsiteY7" fmla="*/ 128954 h 131066"/>
                <a:gd name="connsiteX8" fmla="*/ 7291 w 131072"/>
                <a:gd name="connsiteY8" fmla="*/ 131067 h 131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072" h="131066">
                  <a:moveTo>
                    <a:pt x="7291" y="131067"/>
                  </a:moveTo>
                  <a:cubicBezTo>
                    <a:pt x="5355" y="131078"/>
                    <a:pt x="3493" y="130318"/>
                    <a:pt x="2118" y="128954"/>
                  </a:cubicBezTo>
                  <a:cubicBezTo>
                    <a:pt x="-706" y="126113"/>
                    <a:pt x="-706" y="121522"/>
                    <a:pt x="2118" y="118681"/>
                  </a:cubicBezTo>
                  <a:lnTo>
                    <a:pt x="118253" y="2547"/>
                  </a:lnTo>
                  <a:cubicBezTo>
                    <a:pt x="120870" y="-510"/>
                    <a:pt x="125469" y="-865"/>
                    <a:pt x="128526" y="1752"/>
                  </a:cubicBezTo>
                  <a:cubicBezTo>
                    <a:pt x="131582" y="4370"/>
                    <a:pt x="131938" y="8968"/>
                    <a:pt x="129321" y="12025"/>
                  </a:cubicBezTo>
                  <a:cubicBezTo>
                    <a:pt x="129076" y="12310"/>
                    <a:pt x="128811" y="12576"/>
                    <a:pt x="128526" y="12820"/>
                  </a:cubicBezTo>
                  <a:lnTo>
                    <a:pt x="12464" y="128954"/>
                  </a:lnTo>
                  <a:cubicBezTo>
                    <a:pt x="11089" y="130318"/>
                    <a:pt x="9228" y="131078"/>
                    <a:pt x="7291" y="131067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Полилиния: фигура 258">
              <a:extLst>
                <a:ext uri="{FF2B5EF4-FFF2-40B4-BE49-F238E27FC236}">
                  <a16:creationId xmlns:a16="http://schemas.microsoft.com/office/drawing/2014/main" id="{19056810-00DD-4E58-A5C3-DD2A1B54FB3B}"/>
                </a:ext>
              </a:extLst>
            </p:cNvPr>
            <p:cNvSpPr/>
            <p:nvPr/>
          </p:nvSpPr>
          <p:spPr>
            <a:xfrm>
              <a:off x="2296371" y="4399714"/>
              <a:ext cx="87428" cy="87428"/>
            </a:xfrm>
            <a:custGeom>
              <a:avLst/>
              <a:gdLst>
                <a:gd name="connsiteX0" fmla="*/ 43714 w 87428"/>
                <a:gd name="connsiteY0" fmla="*/ 87429 h 87428"/>
                <a:gd name="connsiteX1" fmla="*/ 0 w 87428"/>
                <a:gd name="connsiteY1" fmla="*/ 43714 h 87428"/>
                <a:gd name="connsiteX2" fmla="*/ 43714 w 87428"/>
                <a:gd name="connsiteY2" fmla="*/ 0 h 87428"/>
                <a:gd name="connsiteX3" fmla="*/ 87429 w 87428"/>
                <a:gd name="connsiteY3" fmla="*/ 43714 h 87428"/>
                <a:gd name="connsiteX4" fmla="*/ 43714 w 87428"/>
                <a:gd name="connsiteY4" fmla="*/ 87429 h 87428"/>
                <a:gd name="connsiteX5" fmla="*/ 43714 w 87428"/>
                <a:gd name="connsiteY5" fmla="*/ 14134 h 87428"/>
                <a:gd name="connsiteX6" fmla="*/ 14571 w 87428"/>
                <a:gd name="connsiteY6" fmla="*/ 43277 h 87428"/>
                <a:gd name="connsiteX7" fmla="*/ 43714 w 87428"/>
                <a:gd name="connsiteY7" fmla="*/ 72420 h 87428"/>
                <a:gd name="connsiteX8" fmla="*/ 72857 w 87428"/>
                <a:gd name="connsiteY8" fmla="*/ 43277 h 87428"/>
                <a:gd name="connsiteX9" fmla="*/ 44007 w 87428"/>
                <a:gd name="connsiteY9" fmla="*/ 13844 h 87428"/>
                <a:gd name="connsiteX10" fmla="*/ 43714 w 87428"/>
                <a:gd name="connsiteY10" fmla="*/ 13843 h 8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428" h="87428">
                  <a:moveTo>
                    <a:pt x="43714" y="87429"/>
                  </a:moveTo>
                  <a:cubicBezTo>
                    <a:pt x="19572" y="87429"/>
                    <a:pt x="0" y="67857"/>
                    <a:pt x="0" y="43714"/>
                  </a:cubicBezTo>
                  <a:cubicBezTo>
                    <a:pt x="0" y="19572"/>
                    <a:pt x="19572" y="0"/>
                    <a:pt x="43714" y="0"/>
                  </a:cubicBezTo>
                  <a:cubicBezTo>
                    <a:pt x="67857" y="0"/>
                    <a:pt x="87429" y="19572"/>
                    <a:pt x="87429" y="43714"/>
                  </a:cubicBezTo>
                  <a:cubicBezTo>
                    <a:pt x="87429" y="67857"/>
                    <a:pt x="67857" y="87429"/>
                    <a:pt x="43714" y="87429"/>
                  </a:cubicBezTo>
                  <a:close/>
                  <a:moveTo>
                    <a:pt x="43714" y="14134"/>
                  </a:moveTo>
                  <a:cubicBezTo>
                    <a:pt x="27619" y="14134"/>
                    <a:pt x="14571" y="27182"/>
                    <a:pt x="14571" y="43277"/>
                  </a:cubicBezTo>
                  <a:cubicBezTo>
                    <a:pt x="14571" y="59372"/>
                    <a:pt x="27619" y="72420"/>
                    <a:pt x="43714" y="72420"/>
                  </a:cubicBezTo>
                  <a:cubicBezTo>
                    <a:pt x="59809" y="72420"/>
                    <a:pt x="72857" y="59372"/>
                    <a:pt x="72857" y="43277"/>
                  </a:cubicBezTo>
                  <a:cubicBezTo>
                    <a:pt x="73018" y="27183"/>
                    <a:pt x="60101" y="14005"/>
                    <a:pt x="44007" y="13844"/>
                  </a:cubicBezTo>
                  <a:cubicBezTo>
                    <a:pt x="43910" y="13844"/>
                    <a:pt x="43812" y="13843"/>
                    <a:pt x="43714" y="13843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4E2F86F3-1E2B-4333-A011-EF8CE6358788}"/>
              </a:ext>
            </a:extLst>
          </p:cNvPr>
          <p:cNvSpPr txBox="1"/>
          <p:nvPr/>
        </p:nvSpPr>
        <p:spPr>
          <a:xfrm>
            <a:off x="7398681" y="1911706"/>
            <a:ext cx="4065326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716560">
              <a:defRPr/>
            </a:pPr>
            <a:r>
              <a:rPr lang="ru-RU" sz="1800" b="1">
                <a:latin typeface="Cera CY" panose="00000500000000000000" pitchFamily="50" charset="-52"/>
              </a:rPr>
              <a:t>Основные факторы, влияющие </a:t>
            </a:r>
            <a:br>
              <a:rPr lang="ru-RU" sz="1800" b="1">
                <a:latin typeface="Cera CY" panose="00000500000000000000" pitchFamily="50" charset="-52"/>
              </a:rPr>
            </a:br>
            <a:r>
              <a:rPr lang="ru-RU" sz="1800" b="1">
                <a:latin typeface="Cera CY" panose="00000500000000000000" pitchFamily="50" charset="-52"/>
              </a:rPr>
              <a:t>на увеличение сроков и бюджета:</a:t>
            </a:r>
            <a:endParaRPr lang="ru-RU" sz="1800" b="1" dirty="0">
              <a:latin typeface="Cera CY" panose="00000500000000000000" pitchFamily="50" charset="-52"/>
            </a:endParaRPr>
          </a:p>
        </p:txBody>
      </p:sp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CEE1BF33-552E-49D9-AF52-39BE6867BB2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7361117" y="2614136"/>
            <a:ext cx="476779" cy="476779"/>
          </a:xfrm>
          <a:prstGeom prst="rect">
            <a:avLst/>
          </a:prstGeom>
        </p:spPr>
      </p:pic>
      <p:pic>
        <p:nvPicPr>
          <p:cNvPr id="76" name="Рисунок 75">
            <a:extLst>
              <a:ext uri="{FF2B5EF4-FFF2-40B4-BE49-F238E27FC236}">
                <a16:creationId xmlns:a16="http://schemas.microsoft.com/office/drawing/2014/main" id="{8C7A588A-652C-4CC6-8445-24C06F6EA4B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7398902" y="3169149"/>
            <a:ext cx="476779" cy="476779"/>
          </a:xfrm>
          <a:prstGeom prst="rect">
            <a:avLst/>
          </a:prstGeom>
        </p:spPr>
      </p:pic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88A05181-E609-4D72-B155-9F43DEFA237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7398681" y="3752865"/>
            <a:ext cx="477220" cy="477220"/>
          </a:xfrm>
          <a:prstGeom prst="rect">
            <a:avLst/>
          </a:prstGeom>
        </p:spPr>
      </p:pic>
      <p:pic>
        <p:nvPicPr>
          <p:cNvPr id="109" name="Рисунок 108">
            <a:extLst>
              <a:ext uri="{FF2B5EF4-FFF2-40B4-BE49-F238E27FC236}">
                <a16:creationId xmlns:a16="http://schemas.microsoft.com/office/drawing/2014/main" id="{FFCC0ABE-1B89-417B-B291-4C5AEB83F070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7398902" y="4431940"/>
            <a:ext cx="476779" cy="476779"/>
          </a:xfrm>
          <a:prstGeom prst="rect">
            <a:avLst/>
          </a:prstGeom>
        </p:spPr>
      </p:pic>
      <p:pic>
        <p:nvPicPr>
          <p:cNvPr id="110" name="Рисунок 109">
            <a:extLst>
              <a:ext uri="{FF2B5EF4-FFF2-40B4-BE49-F238E27FC236}">
                <a16:creationId xmlns:a16="http://schemas.microsoft.com/office/drawing/2014/main" id="{1EB7B352-72C6-4F97-A77B-E72C88A3337A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7398902" y="5120526"/>
            <a:ext cx="476779" cy="476779"/>
          </a:xfrm>
          <a:prstGeom prst="rect">
            <a:avLst/>
          </a:prstGeom>
        </p:spPr>
      </p:pic>
      <p:pic>
        <p:nvPicPr>
          <p:cNvPr id="111" name="Рисунок 110">
            <a:extLst>
              <a:ext uri="{FF2B5EF4-FFF2-40B4-BE49-F238E27FC236}">
                <a16:creationId xmlns:a16="http://schemas.microsoft.com/office/drawing/2014/main" id="{2990EB81-735A-414D-833E-B2263E34CB6B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7398902" y="5683320"/>
            <a:ext cx="476779" cy="476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69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622524"/>
              </p:ext>
            </p:extLst>
          </p:nvPr>
        </p:nvGraphicFramePr>
        <p:xfrm>
          <a:off x="1314" y="1244"/>
          <a:ext cx="1245" cy="12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04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14" y="1244"/>
                        <a:ext cx="1245" cy="12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: скругленные углы 17">
            <a:extLst>
              <a:ext uri="{FF2B5EF4-FFF2-40B4-BE49-F238E27FC236}">
                <a16:creationId xmlns:a16="http://schemas.microsoft.com/office/drawing/2014/main" id="{D792EEC8-3482-4EE1-8A3A-60B8C56D08BD}"/>
              </a:ext>
            </a:extLst>
          </p:cNvPr>
          <p:cNvSpPr/>
          <p:nvPr/>
        </p:nvSpPr>
        <p:spPr>
          <a:xfrm>
            <a:off x="479223" y="1466503"/>
            <a:ext cx="2484000" cy="4808106"/>
          </a:xfrm>
          <a:prstGeom prst="roundRect">
            <a:avLst>
              <a:gd name="adj" fmla="val 7920"/>
            </a:avLst>
          </a:prstGeom>
          <a:solidFill>
            <a:schemeClr val="accent3">
              <a:alpha val="90000"/>
            </a:schemeClr>
          </a:solidFill>
          <a:ln w="12700">
            <a:noFill/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Прямоугольник: скругленные углы 17">
            <a:extLst>
              <a:ext uri="{FF2B5EF4-FFF2-40B4-BE49-F238E27FC236}">
                <a16:creationId xmlns:a16="http://schemas.microsoft.com/office/drawing/2014/main" id="{0DEF5FD0-4F91-4B74-B9C1-51F2A4FC36C7}"/>
              </a:ext>
            </a:extLst>
          </p:cNvPr>
          <p:cNvSpPr/>
          <p:nvPr/>
        </p:nvSpPr>
        <p:spPr>
          <a:xfrm>
            <a:off x="3408052" y="1427324"/>
            <a:ext cx="2484000" cy="4808106"/>
          </a:xfrm>
          <a:prstGeom prst="roundRect">
            <a:avLst>
              <a:gd name="adj" fmla="val 7920"/>
            </a:avLst>
          </a:prstGeom>
          <a:solidFill>
            <a:schemeClr val="accent3">
              <a:alpha val="90000"/>
            </a:schemeClr>
          </a:solidFill>
          <a:ln w="12700">
            <a:noFill/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Прямоугольник: скругленные углы 17">
            <a:extLst>
              <a:ext uri="{FF2B5EF4-FFF2-40B4-BE49-F238E27FC236}">
                <a16:creationId xmlns:a16="http://schemas.microsoft.com/office/drawing/2014/main" id="{CD70A905-FE40-4F9A-AD44-8EBC4999DC23}"/>
              </a:ext>
            </a:extLst>
          </p:cNvPr>
          <p:cNvSpPr/>
          <p:nvPr/>
        </p:nvSpPr>
        <p:spPr>
          <a:xfrm>
            <a:off x="6313140" y="1436378"/>
            <a:ext cx="2484000" cy="4808106"/>
          </a:xfrm>
          <a:prstGeom prst="roundRect">
            <a:avLst>
              <a:gd name="adj" fmla="val 7920"/>
            </a:avLst>
          </a:prstGeom>
          <a:solidFill>
            <a:schemeClr val="accent3">
              <a:alpha val="90000"/>
            </a:schemeClr>
          </a:solidFill>
          <a:ln w="12700">
            <a:noFill/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Прямоугольник: скругленные углы 17">
            <a:extLst>
              <a:ext uri="{FF2B5EF4-FFF2-40B4-BE49-F238E27FC236}">
                <a16:creationId xmlns:a16="http://schemas.microsoft.com/office/drawing/2014/main" id="{CA358589-A601-4654-A721-1D009DAAD287}"/>
              </a:ext>
            </a:extLst>
          </p:cNvPr>
          <p:cNvSpPr/>
          <p:nvPr/>
        </p:nvSpPr>
        <p:spPr>
          <a:xfrm>
            <a:off x="9251762" y="1427324"/>
            <a:ext cx="2484000" cy="4808106"/>
          </a:xfrm>
          <a:prstGeom prst="roundRect">
            <a:avLst>
              <a:gd name="adj" fmla="val 7920"/>
            </a:avLst>
          </a:prstGeom>
          <a:solidFill>
            <a:schemeClr val="accent3">
              <a:alpha val="90000"/>
            </a:schemeClr>
          </a:solidFill>
          <a:ln w="12700">
            <a:noFill/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D305767-3F88-43C4-8881-D063C8D8B0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6197" y="262556"/>
            <a:ext cx="9844577" cy="800219"/>
          </a:xfrm>
        </p:spPr>
        <p:txBody>
          <a:bodyPr/>
          <a:lstStyle/>
          <a:p>
            <a:pPr lvl="0">
              <a:buClr>
                <a:srgbClr val="FF7900"/>
              </a:buClr>
            </a:pPr>
            <a:r>
              <a:rPr lang="ru-RU" sz="2600" b="1" dirty="0"/>
              <a:t>Банковское сопровождение – </a:t>
            </a:r>
          </a:p>
          <a:p>
            <a:pPr defTabSz="716615">
              <a:buClr>
                <a:srgbClr val="FF7900"/>
              </a:buClr>
            </a:pPr>
            <a:r>
              <a:rPr lang="ru-RU" sz="2600" b="1" dirty="0" smtClean="0"/>
              <a:t>повышение э</a:t>
            </a:r>
            <a:r>
              <a:rPr lang="en-US" sz="2600" b="1" dirty="0" smtClean="0"/>
              <a:t>кономическ</a:t>
            </a:r>
            <a:r>
              <a:rPr lang="ru-RU" sz="2600" b="1" dirty="0" smtClean="0"/>
              <a:t>ой</a:t>
            </a:r>
            <a:r>
              <a:rPr lang="en-US" sz="2600" b="1" dirty="0" smtClean="0"/>
              <a:t> </a:t>
            </a:r>
            <a:r>
              <a:rPr lang="en-US" sz="2600" b="1" dirty="0" err="1" smtClean="0"/>
              <a:t>эффект</a:t>
            </a:r>
            <a:r>
              <a:rPr lang="ru-RU" sz="2600" b="1" dirty="0" err="1" smtClean="0"/>
              <a:t>ивности</a:t>
            </a:r>
            <a:endParaRPr lang="ru-RU" sz="2600" b="1" dirty="0"/>
          </a:p>
        </p:txBody>
      </p:sp>
      <p:sp>
        <p:nvSpPr>
          <p:cNvPr id="53" name="Номер слайда 1"/>
          <p:cNvSpPr txBox="1">
            <a:spLocks/>
          </p:cNvSpPr>
          <p:nvPr/>
        </p:nvSpPr>
        <p:spPr>
          <a:xfrm>
            <a:off x="11126416" y="6471291"/>
            <a:ext cx="545326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defPPr>
              <a:defRPr lang="ru-RU"/>
            </a:defPPr>
            <a:lvl1pPr algn="r">
              <a:defRPr sz="800" b="0"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B6F15528-21DE-4FAA-801E-634DDDAF4B2B}" type="slidenum">
              <a:rPr lang="ru-RU"/>
              <a:pPr/>
              <a:t>9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449235" y="4307646"/>
            <a:ext cx="2147219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4307"/>
            <a:r>
              <a:rPr lang="ru-RU" sz="1400" dirty="0" smtClean="0"/>
              <a:t>Возможность обоснованного  применения механизма «финансирование под потребность» </a:t>
            </a:r>
            <a:endParaRPr lang="ru-RU" sz="14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615341" y="4321760"/>
            <a:ext cx="2108367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defTabSz="914400">
              <a:defRPr/>
            </a:pPr>
            <a:r>
              <a:rPr lang="ru-RU" sz="1400" dirty="0" smtClean="0"/>
              <a:t>Снижение стоимости проекта / контракта </a:t>
            </a:r>
            <a:r>
              <a:rPr lang="ru-RU" sz="1400" dirty="0"/>
              <a:t>за счет </a:t>
            </a:r>
            <a:r>
              <a:rPr lang="ru-RU" sz="1400" dirty="0" smtClean="0"/>
              <a:t>замены банковской гарантии на банковское сопровождение</a:t>
            </a:r>
            <a:endParaRPr lang="ru-RU" sz="1400" dirty="0"/>
          </a:p>
          <a:p>
            <a:pPr algn="ctr" defTabSz="914307"/>
            <a:endParaRPr lang="ru-RU" sz="1800" b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682635" y="2156904"/>
            <a:ext cx="209006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defTabSz="914400">
              <a:defRPr/>
            </a:pPr>
            <a:r>
              <a:rPr lang="ru-RU" sz="1400" dirty="0" smtClean="0"/>
              <a:t>Система раннего предупреждения риска в рамках реализации проекта</a:t>
            </a:r>
            <a:endParaRPr lang="ru-RU" sz="1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82635" y="4407659"/>
            <a:ext cx="215903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defTabSz="914400">
              <a:defRPr/>
            </a:pPr>
            <a:r>
              <a:rPr lang="ru-RU" sz="1400" dirty="0" smtClean="0"/>
              <a:t>Снижение риска участия неблагонадежных Исполнителей в проекте</a:t>
            </a:r>
            <a:endParaRPr lang="ru-RU" sz="14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3615342" y="2156904"/>
            <a:ext cx="2108367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defTabSz="914400">
              <a:defRPr/>
            </a:pPr>
            <a:r>
              <a:rPr lang="ru-RU" sz="1400" dirty="0" smtClean="0"/>
              <a:t>Оптимизация расходов на обслуживание банковских гарантий</a:t>
            </a:r>
            <a:endParaRPr lang="ru-RU" sz="14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6534263" y="2156904"/>
            <a:ext cx="208013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defTabSz="914400">
              <a:defRPr/>
            </a:pPr>
            <a:r>
              <a:rPr lang="ru-RU" sz="1400" dirty="0" smtClean="0"/>
              <a:t>Минимизация случаев нецелевого использования средств в проекте</a:t>
            </a:r>
            <a:endParaRPr lang="ru-RU" sz="14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9449236" y="2167537"/>
            <a:ext cx="2147219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defTabSz="914400">
              <a:defRPr/>
            </a:pPr>
            <a:r>
              <a:rPr lang="ru-RU" sz="1400" dirty="0" smtClean="0"/>
              <a:t>Оптимизация использования финансовых ресурсов в проекте</a:t>
            </a:r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529791" y="4321760"/>
            <a:ext cx="2212647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defTabSz="914400">
              <a:defRPr/>
            </a:pPr>
            <a:r>
              <a:rPr lang="ru-RU" sz="1400" dirty="0" smtClean="0"/>
              <a:t>Реализация проектов в рамках утвержденных лимитов</a:t>
            </a:r>
            <a:endParaRPr lang="ru-RU" sz="1400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51D2FF4C-C2F0-4AAC-B9F0-CE81785857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276018" y="3370216"/>
            <a:ext cx="609600" cy="60960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B4217316-795A-4E40-B70B-582001BE01F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186654" y="3370216"/>
            <a:ext cx="609600" cy="609600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C73239B6-47D6-4449-B5C6-4B4AD32026A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7274432" y="3370216"/>
            <a:ext cx="609600" cy="6096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2EFF88E5-C050-4463-81DE-D8D42D682EE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4298364" y="3369016"/>
            <a:ext cx="612000" cy="612000"/>
          </a:xfrm>
          <a:prstGeom prst="rect">
            <a:avLst/>
          </a:prstGeom>
        </p:spPr>
      </p:pic>
      <p:sp>
        <p:nvSpPr>
          <p:cNvPr id="61" name="Freeform 5">
            <a:extLst>
              <a:ext uri="{FF2B5EF4-FFF2-40B4-BE49-F238E27FC236}">
                <a16:creationId xmlns:a16="http://schemas.microsoft.com/office/drawing/2014/main" id="{9D0C0CBD-82A0-D1ED-10CE-3DAFF0FA7472}"/>
              </a:ext>
            </a:extLst>
          </p:cNvPr>
          <p:cNvSpPr>
            <a:spLocks/>
          </p:cNvSpPr>
          <p:nvPr/>
        </p:nvSpPr>
        <p:spPr bwMode="auto">
          <a:xfrm>
            <a:off x="486198" y="1062775"/>
            <a:ext cx="11185544" cy="5531627"/>
          </a:xfrm>
          <a:custGeom>
            <a:avLst/>
            <a:gdLst>
              <a:gd name="T0" fmla="*/ 530 w 952"/>
              <a:gd name="T1" fmla="*/ 0 h 618"/>
              <a:gd name="T2" fmla="*/ 171 w 952"/>
              <a:gd name="T3" fmla="*/ 233 h 618"/>
              <a:gd name="T4" fmla="*/ 0 w 952"/>
              <a:gd name="T5" fmla="*/ 618 h 618"/>
              <a:gd name="T6" fmla="*/ 422 w 952"/>
              <a:gd name="T7" fmla="*/ 618 h 618"/>
              <a:gd name="T8" fmla="*/ 781 w 952"/>
              <a:gd name="T9" fmla="*/ 385 h 618"/>
              <a:gd name="T10" fmla="*/ 952 w 952"/>
              <a:gd name="T11" fmla="*/ 0 h 618"/>
              <a:gd name="T12" fmla="*/ 530 w 952"/>
              <a:gd name="T13" fmla="*/ 0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52" h="618">
                <a:moveTo>
                  <a:pt x="530" y="0"/>
                </a:moveTo>
                <a:cubicBezTo>
                  <a:pt x="374" y="0"/>
                  <a:pt x="235" y="90"/>
                  <a:pt x="171" y="233"/>
                </a:cubicBezTo>
                <a:cubicBezTo>
                  <a:pt x="0" y="618"/>
                  <a:pt x="0" y="618"/>
                  <a:pt x="0" y="618"/>
                </a:cubicBezTo>
                <a:cubicBezTo>
                  <a:pt x="422" y="618"/>
                  <a:pt x="422" y="618"/>
                  <a:pt x="422" y="618"/>
                </a:cubicBezTo>
                <a:cubicBezTo>
                  <a:pt x="578" y="618"/>
                  <a:pt x="717" y="528"/>
                  <a:pt x="781" y="385"/>
                </a:cubicBezTo>
                <a:cubicBezTo>
                  <a:pt x="952" y="0"/>
                  <a:pt x="952" y="0"/>
                  <a:pt x="952" y="0"/>
                </a:cubicBezTo>
                <a:lnTo>
                  <a:pt x="530" y="0"/>
                </a:lnTo>
                <a:close/>
              </a:path>
            </a:pathLst>
          </a:custGeom>
          <a:noFill/>
          <a:ln w="19050">
            <a:solidFill>
              <a:schemeClr val="accent3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8693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9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otmvkqRSmkJPgmGjmv1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otmvkqRSmkJPgmGjmv1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lSw2D1mR3QfLVVuVNLf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ywBQXnTJghlcwp3r_N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7s_zl80kWAKs9Ajt7R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Другая 157">
      <a:dk1>
        <a:srgbClr val="000000"/>
      </a:dk1>
      <a:lt1>
        <a:srgbClr val="FFFFFF"/>
      </a:lt1>
      <a:dk2>
        <a:srgbClr val="696E82"/>
      </a:dk2>
      <a:lt2>
        <a:srgbClr val="EDEEF2"/>
      </a:lt2>
      <a:accent1>
        <a:srgbClr val="2354D6"/>
      </a:accent1>
      <a:accent2>
        <a:srgbClr val="4478FF"/>
      </a:accent2>
      <a:accent3>
        <a:srgbClr val="D1E5FF"/>
      </a:accent3>
      <a:accent4>
        <a:srgbClr val="F4F6FA"/>
      </a:accent4>
      <a:accent5>
        <a:srgbClr val="FFA066"/>
      </a:accent5>
      <a:accent6>
        <a:srgbClr val="FF7900"/>
      </a:accent6>
      <a:hlink>
        <a:srgbClr val="4478FF"/>
      </a:hlink>
      <a:folHlink>
        <a:srgbClr val="FFA066"/>
      </a:folHlink>
    </a:clrScheme>
    <a:fontScheme name="Другая 1">
      <a:majorFont>
        <a:latin typeface="Cera CY"/>
        <a:ea typeface=""/>
        <a:cs typeface=""/>
      </a:majorFont>
      <a:minorFont>
        <a:latin typeface="Cera C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Слайды 3.2">
  <a:themeElements>
    <a:clrScheme name="Другая 157">
      <a:dk1>
        <a:srgbClr val="000000"/>
      </a:dk1>
      <a:lt1>
        <a:srgbClr val="FFFFFF"/>
      </a:lt1>
      <a:dk2>
        <a:srgbClr val="696E82"/>
      </a:dk2>
      <a:lt2>
        <a:srgbClr val="EDEEF2"/>
      </a:lt2>
      <a:accent1>
        <a:srgbClr val="2354D6"/>
      </a:accent1>
      <a:accent2>
        <a:srgbClr val="4478FF"/>
      </a:accent2>
      <a:accent3>
        <a:srgbClr val="D1E5FF"/>
      </a:accent3>
      <a:accent4>
        <a:srgbClr val="F4F6FA"/>
      </a:accent4>
      <a:accent5>
        <a:srgbClr val="FFA066"/>
      </a:accent5>
      <a:accent6>
        <a:srgbClr val="FF7900"/>
      </a:accent6>
      <a:hlink>
        <a:srgbClr val="4478FF"/>
      </a:hlink>
      <a:folHlink>
        <a:srgbClr val="FFA066"/>
      </a:folHlink>
    </a:clrScheme>
    <a:fontScheme name="Другая 1">
      <a:majorFont>
        <a:latin typeface="Cera CY"/>
        <a:ea typeface=""/>
        <a:cs typeface=""/>
      </a:majorFont>
      <a:minorFont>
        <a:latin typeface="Cera C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Слайды 3.2">
  <a:themeElements>
    <a:clrScheme name="Другая 157">
      <a:dk1>
        <a:srgbClr val="000000"/>
      </a:dk1>
      <a:lt1>
        <a:srgbClr val="FFFFFF"/>
      </a:lt1>
      <a:dk2>
        <a:srgbClr val="696E82"/>
      </a:dk2>
      <a:lt2>
        <a:srgbClr val="EDEEF2"/>
      </a:lt2>
      <a:accent1>
        <a:srgbClr val="2354D6"/>
      </a:accent1>
      <a:accent2>
        <a:srgbClr val="4478FF"/>
      </a:accent2>
      <a:accent3>
        <a:srgbClr val="D1E5FF"/>
      </a:accent3>
      <a:accent4>
        <a:srgbClr val="F4F6FA"/>
      </a:accent4>
      <a:accent5>
        <a:srgbClr val="FFA066"/>
      </a:accent5>
      <a:accent6>
        <a:srgbClr val="FF7900"/>
      </a:accent6>
      <a:hlink>
        <a:srgbClr val="4478FF"/>
      </a:hlink>
      <a:folHlink>
        <a:srgbClr val="FFA066"/>
      </a:folHlink>
    </a:clrScheme>
    <a:fontScheme name="Другая 1">
      <a:majorFont>
        <a:latin typeface="Cera CY"/>
        <a:ea typeface=""/>
        <a:cs typeface=""/>
      </a:majorFont>
      <a:minorFont>
        <a:latin typeface="Cera C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Слайды 3.2">
  <a:themeElements>
    <a:clrScheme name="Другая 157">
      <a:dk1>
        <a:srgbClr val="000000"/>
      </a:dk1>
      <a:lt1>
        <a:srgbClr val="FFFFFF"/>
      </a:lt1>
      <a:dk2>
        <a:srgbClr val="696E82"/>
      </a:dk2>
      <a:lt2>
        <a:srgbClr val="EDEEF2"/>
      </a:lt2>
      <a:accent1>
        <a:srgbClr val="2354D6"/>
      </a:accent1>
      <a:accent2>
        <a:srgbClr val="4478FF"/>
      </a:accent2>
      <a:accent3>
        <a:srgbClr val="D1E5FF"/>
      </a:accent3>
      <a:accent4>
        <a:srgbClr val="F4F6FA"/>
      </a:accent4>
      <a:accent5>
        <a:srgbClr val="FFA066"/>
      </a:accent5>
      <a:accent6>
        <a:srgbClr val="FF7900"/>
      </a:accent6>
      <a:hlink>
        <a:srgbClr val="4478FF"/>
      </a:hlink>
      <a:folHlink>
        <a:srgbClr val="FFA066"/>
      </a:folHlink>
    </a:clrScheme>
    <a:fontScheme name="Другая 1">
      <a:majorFont>
        <a:latin typeface="Cera CY"/>
        <a:ea typeface=""/>
        <a:cs typeface=""/>
      </a:majorFont>
      <a:minorFont>
        <a:latin typeface="Cera C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Слайды 3.2">
  <a:themeElements>
    <a:clrScheme name="Другая 157">
      <a:dk1>
        <a:srgbClr val="000000"/>
      </a:dk1>
      <a:lt1>
        <a:srgbClr val="FFFFFF"/>
      </a:lt1>
      <a:dk2>
        <a:srgbClr val="696E82"/>
      </a:dk2>
      <a:lt2>
        <a:srgbClr val="EDEEF2"/>
      </a:lt2>
      <a:accent1>
        <a:srgbClr val="2354D6"/>
      </a:accent1>
      <a:accent2>
        <a:srgbClr val="4478FF"/>
      </a:accent2>
      <a:accent3>
        <a:srgbClr val="D1E5FF"/>
      </a:accent3>
      <a:accent4>
        <a:srgbClr val="F4F6FA"/>
      </a:accent4>
      <a:accent5>
        <a:srgbClr val="FFA066"/>
      </a:accent5>
      <a:accent6>
        <a:srgbClr val="FF7900"/>
      </a:accent6>
      <a:hlink>
        <a:srgbClr val="4478FF"/>
      </a:hlink>
      <a:folHlink>
        <a:srgbClr val="FFA066"/>
      </a:folHlink>
    </a:clrScheme>
    <a:fontScheme name="Другая 1">
      <a:majorFont>
        <a:latin typeface="Cera CY"/>
        <a:ea typeface=""/>
        <a:cs typeface=""/>
      </a:majorFont>
      <a:minorFont>
        <a:latin typeface="Cera C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Слайды 3.2">
  <a:themeElements>
    <a:clrScheme name="Другая 157">
      <a:dk1>
        <a:srgbClr val="000000"/>
      </a:dk1>
      <a:lt1>
        <a:srgbClr val="FFFFFF"/>
      </a:lt1>
      <a:dk2>
        <a:srgbClr val="696E82"/>
      </a:dk2>
      <a:lt2>
        <a:srgbClr val="EDEEF2"/>
      </a:lt2>
      <a:accent1>
        <a:srgbClr val="2354D6"/>
      </a:accent1>
      <a:accent2>
        <a:srgbClr val="4478FF"/>
      </a:accent2>
      <a:accent3>
        <a:srgbClr val="D1E5FF"/>
      </a:accent3>
      <a:accent4>
        <a:srgbClr val="F4F6FA"/>
      </a:accent4>
      <a:accent5>
        <a:srgbClr val="FFA066"/>
      </a:accent5>
      <a:accent6>
        <a:srgbClr val="FF7900"/>
      </a:accent6>
      <a:hlink>
        <a:srgbClr val="4478FF"/>
      </a:hlink>
      <a:folHlink>
        <a:srgbClr val="FFA066"/>
      </a:folHlink>
    </a:clrScheme>
    <a:fontScheme name="Другая 1">
      <a:majorFont>
        <a:latin typeface="Cera CY"/>
        <a:ea typeface=""/>
        <a:cs typeface=""/>
      </a:majorFont>
      <a:minorFont>
        <a:latin typeface="Cera C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Тема Office">
  <a:themeElements>
    <a:clrScheme name="Другая 157">
      <a:dk1>
        <a:srgbClr val="000000"/>
      </a:dk1>
      <a:lt1>
        <a:srgbClr val="FFFFFF"/>
      </a:lt1>
      <a:dk2>
        <a:srgbClr val="696E82"/>
      </a:dk2>
      <a:lt2>
        <a:srgbClr val="EDEEF2"/>
      </a:lt2>
      <a:accent1>
        <a:srgbClr val="2354D6"/>
      </a:accent1>
      <a:accent2>
        <a:srgbClr val="4478FF"/>
      </a:accent2>
      <a:accent3>
        <a:srgbClr val="D1E5FF"/>
      </a:accent3>
      <a:accent4>
        <a:srgbClr val="F4F6FA"/>
      </a:accent4>
      <a:accent5>
        <a:srgbClr val="FFA066"/>
      </a:accent5>
      <a:accent6>
        <a:srgbClr val="FF7900"/>
      </a:accent6>
      <a:hlink>
        <a:srgbClr val="4478FF"/>
      </a:hlink>
      <a:folHlink>
        <a:srgbClr val="FFA066"/>
      </a:folHlink>
    </a:clrScheme>
    <a:fontScheme name="Другая 1">
      <a:majorFont>
        <a:latin typeface="Cera CY"/>
        <a:ea typeface=""/>
        <a:cs typeface=""/>
      </a:majorFont>
      <a:minorFont>
        <a:latin typeface="Cera C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213</TotalTime>
  <Words>1220</Words>
  <Application>Microsoft Office PowerPoint</Application>
  <PresentationFormat>Широкоэкранный</PresentationFormat>
  <Paragraphs>243</Paragraphs>
  <Slides>15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8" baseType="lpstr">
      <vt:lpstr>Aileron</vt:lpstr>
      <vt:lpstr>Arial</vt:lpstr>
      <vt:lpstr>Bliss Pro ExtraLight</vt:lpstr>
      <vt:lpstr>Bliss Pro Light</vt:lpstr>
      <vt:lpstr>Calibri</vt:lpstr>
      <vt:lpstr>Calibri Light</vt:lpstr>
      <vt:lpstr>Cera CY</vt:lpstr>
      <vt:lpstr>DINPro-Medium</vt:lpstr>
      <vt:lpstr>Helvetica</vt:lpstr>
      <vt:lpstr>Stem Bold</vt:lpstr>
      <vt:lpstr>Stem Medium</vt:lpstr>
      <vt:lpstr>Stem Thin</vt:lpstr>
      <vt:lpstr>Tahoma</vt:lpstr>
      <vt:lpstr>Wingdings</vt:lpstr>
      <vt:lpstr>1_Тема Office</vt:lpstr>
      <vt:lpstr>Тема Office</vt:lpstr>
      <vt:lpstr>Слайды 3.2</vt:lpstr>
      <vt:lpstr>1_Слайды 3.2</vt:lpstr>
      <vt:lpstr>2_Слайды 3.2</vt:lpstr>
      <vt:lpstr>3_Слайды 3.2</vt:lpstr>
      <vt:lpstr>4_Слайды 3.2</vt:lpstr>
      <vt:lpstr>2_Тема Office</vt:lpstr>
      <vt:lpstr>Слайд think-cell</vt:lpstr>
      <vt:lpstr>Презентация PowerPoint</vt:lpstr>
      <vt:lpstr>2025: новая экономическая реальность </vt:lpstr>
      <vt:lpstr>2025: дефицит оборотных средств</vt:lpstr>
      <vt:lpstr>2025: растущий риск банкротств </vt:lpstr>
      <vt:lpstr>2025: инструмент успешной реализации проектов</vt:lpstr>
      <vt:lpstr>Презентация PowerPoint</vt:lpstr>
      <vt:lpstr>Презентация PowerPoint</vt:lpstr>
      <vt:lpstr>Презентация PowerPoint</vt:lpstr>
      <vt:lpstr>Презентация PowerPoint</vt:lpstr>
      <vt:lpstr>Этапы развития цифровых сервисов БС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PowerPoint</dc:title>
  <dc:creator>erik.m.muratov@gazprombank.ru;andrey.y.lukshin@gazprombank.ru;kirill.e.frolov@gazprombank.ru</dc:creator>
  <cp:lastModifiedBy>Беликова Светлана Викторовна</cp:lastModifiedBy>
  <cp:revision>1985</cp:revision>
  <cp:lastPrinted>2024-11-05T14:48:14Z</cp:lastPrinted>
  <dcterms:modified xsi:type="dcterms:W3CDTF">2025-05-27T13:22:09Z</dcterms:modified>
</cp:coreProperties>
</file>